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5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6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8"/>
  </p:notesMasterIdLst>
  <p:handoutMasterIdLst>
    <p:handoutMasterId r:id="rId19"/>
  </p:handoutMasterIdLst>
  <p:sldIdLst>
    <p:sldId id="290" r:id="rId5"/>
    <p:sldId id="272" r:id="rId6"/>
    <p:sldId id="284" r:id="rId7"/>
    <p:sldId id="285" r:id="rId8"/>
    <p:sldId id="279" r:id="rId9"/>
    <p:sldId id="286" r:id="rId10"/>
    <p:sldId id="288" r:id="rId11"/>
    <p:sldId id="277" r:id="rId12"/>
    <p:sldId id="287" r:id="rId13"/>
    <p:sldId id="280" r:id="rId14"/>
    <p:sldId id="267" r:id="rId15"/>
    <p:sldId id="289" r:id="rId16"/>
    <p:sldId id="270" r:id="rId17"/>
  </p:sldIdLst>
  <p:sldSz cx="12192000" cy="6858000"/>
  <p:notesSz cx="7099300" cy="10234613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AA7871F-EF79-E351-671A-7ED60DBF0856}" name="Peter, Tatjana" initials="PT" userId="S::peterta4@novartis.net::498cdb32-93ae-473f-a913-3db738834ba6" providerId="AD"/>
  <p188:author id="{DC142758-FB17-1287-A244-84BEC572847B}" name="Martina Reitz" initials="MR" userId="S::mreitz@kwmedipoint.de::272dc1e8-bd5c-4b95-b1d7-2bf95c102acf" providerId="AD"/>
  <p188:author id="{0637A764-C677-5C2A-379A-B503C6387C09}" name="mreitz-kwmedipoint.de" initials="mk" userId="mreitz-kwmedipoint.de" providerId="None"/>
  <p188:author id="{B0127184-0F00-C23E-79F0-543ED6C869A7}" name="Tagari, Eleni" initials="ET" userId="S::TAGAREL1@novartis.net::698b4a75-4965-49df-b4c2-d2566eb8ce59" providerId="AD"/>
  <p188:author id="{9C49F5BF-6A0D-1646-E8E8-970C9387729C}" name="Barbara Knapp" initials="BK" userId="S::bknapp@kwmedipoint.de::4f0281da-259f-4bb5-b86a-8d73f35d4d6d" providerId="AD"/>
  <p188:author id="{710D53CA-70D4-3CE1-9158-E44BEF2D826C}" name="Peter, Tatjana" initials="" userId="S::PETERTA4@novartis.net::498cdb32-93ae-473f-a913-3db738834ba6" providerId="AD"/>
  <p188:author id="{29ABE8E5-1F1C-004E-6600-F34607C094CF}" name="Feldmann, Melanie" initials="MF" userId="S::ZEHACME1@novartis.net::54421fe6-56b6-4786-befb-04cd5f47f1e2" providerId="AD"/>
  <p188:author id="{1611A7F6-52DA-55C1-3072-E4B0572853E1}" name="Christian Adler" initials="CA" userId="S::cadler@kwmedipoint.de::cee0bd82-541c-49f9-a0c3-e539f9fd496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60A9"/>
    <a:srgbClr val="002068"/>
    <a:srgbClr val="FFC100"/>
    <a:srgbClr val="F2F2F2"/>
    <a:srgbClr val="D0D0D0"/>
    <a:srgbClr val="A7A8AA"/>
    <a:srgbClr val="50E2D0"/>
    <a:srgbClr val="8F2DDE"/>
    <a:srgbClr val="0000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7757098-B001-491A-B993-73B88816857D}" v="8" dt="2025-11-04T09:29:39.15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82092" autoAdjust="0"/>
  </p:normalViewPr>
  <p:slideViewPr>
    <p:cSldViewPr snapToGrid="0" showGuides="1">
      <p:cViewPr varScale="1">
        <p:scale>
          <a:sx n="59" d="100"/>
          <a:sy n="59" d="100"/>
        </p:scale>
        <p:origin x="1618" y="27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howGuides="1">
      <p:cViewPr varScale="1">
        <p:scale>
          <a:sx n="75" d="100"/>
          <a:sy n="75" d="100"/>
        </p:scale>
        <p:origin x="4032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Relationship Id="rId27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agari, Eleni" userId="698b4a75-4965-49df-b4c2-d2566eb8ce59" providerId="ADAL" clId="{B276388F-9943-4657-AF88-DBB76478A514}"/>
    <pc:docChg chg="undo redo custSel addSld delSld modSld modNotesMaster modHandout">
      <pc:chgData name="Tagari, Eleni" userId="698b4a75-4965-49df-b4c2-d2566eb8ce59" providerId="ADAL" clId="{B276388F-9943-4657-AF88-DBB76478A514}" dt="2025-10-31T15:25:53.538" v="15364" actId="20577"/>
      <pc:docMkLst>
        <pc:docMk/>
      </pc:docMkLst>
      <pc:sldChg chg="modSp del mod modNotesTx">
        <pc:chgData name="Tagari, Eleni" userId="698b4a75-4965-49df-b4c2-d2566eb8ce59" providerId="ADAL" clId="{B276388F-9943-4657-AF88-DBB76478A514}" dt="2025-10-31T11:36:13.249" v="10110" actId="47"/>
        <pc:sldMkLst>
          <pc:docMk/>
          <pc:sldMk cId="3061513073" sldId="265"/>
        </pc:sldMkLst>
      </pc:sldChg>
      <pc:sldChg chg="modSp del mod modNotesTx">
        <pc:chgData name="Tagari, Eleni" userId="698b4a75-4965-49df-b4c2-d2566eb8ce59" providerId="ADAL" clId="{B276388F-9943-4657-AF88-DBB76478A514}" dt="2025-10-31T11:41:13.646" v="10372" actId="47"/>
        <pc:sldMkLst>
          <pc:docMk/>
          <pc:sldMk cId="1880749022" sldId="266"/>
        </pc:sldMkLst>
      </pc:sldChg>
      <pc:sldChg chg="delSp modSp mod modNotesTx">
        <pc:chgData name="Tagari, Eleni" userId="698b4a75-4965-49df-b4c2-d2566eb8ce59" providerId="ADAL" clId="{B276388F-9943-4657-AF88-DBB76478A514}" dt="2025-10-31T15:04:27.302" v="14476" actId="6549"/>
        <pc:sldMkLst>
          <pc:docMk/>
          <pc:sldMk cId="1274829488" sldId="267"/>
        </pc:sldMkLst>
        <pc:spChg chg="mod">
          <ac:chgData name="Tagari, Eleni" userId="698b4a75-4965-49df-b4c2-d2566eb8ce59" providerId="ADAL" clId="{B276388F-9943-4657-AF88-DBB76478A514}" dt="2025-10-31T13:43:47.305" v="11450" actId="1037"/>
          <ac:spMkLst>
            <pc:docMk/>
            <pc:sldMk cId="1274829488" sldId="267"/>
            <ac:spMk id="4" creationId="{47380E76-EA22-B454-CB0B-96587E12E588}"/>
          </ac:spMkLst>
        </pc:spChg>
        <pc:spChg chg="mod">
          <ac:chgData name="Tagari, Eleni" userId="698b4a75-4965-49df-b4c2-d2566eb8ce59" providerId="ADAL" clId="{B276388F-9943-4657-AF88-DBB76478A514}" dt="2025-10-31T15:04:27.302" v="14476" actId="6549"/>
          <ac:spMkLst>
            <pc:docMk/>
            <pc:sldMk cId="1274829488" sldId="267"/>
            <ac:spMk id="8" creationId="{0B89DF3C-83B5-88DE-EA92-600984C9E237}"/>
          </ac:spMkLst>
        </pc:spChg>
        <pc:spChg chg="mod">
          <ac:chgData name="Tagari, Eleni" userId="698b4a75-4965-49df-b4c2-d2566eb8ce59" providerId="ADAL" clId="{B276388F-9943-4657-AF88-DBB76478A514}" dt="2025-10-31T14:52:22.952" v="14451" actId="14100"/>
          <ac:spMkLst>
            <pc:docMk/>
            <pc:sldMk cId="1274829488" sldId="267"/>
            <ac:spMk id="16" creationId="{8DBF6CC3-B502-1DCB-2767-1F2525B8C3D6}"/>
          </ac:spMkLst>
        </pc:spChg>
        <pc:spChg chg="mod">
          <ac:chgData name="Tagari, Eleni" userId="698b4a75-4965-49df-b4c2-d2566eb8ce59" providerId="ADAL" clId="{B276388F-9943-4657-AF88-DBB76478A514}" dt="2025-10-28T12:31:22.321" v="5104" actId="1037"/>
          <ac:spMkLst>
            <pc:docMk/>
            <pc:sldMk cId="1274829488" sldId="267"/>
            <ac:spMk id="39" creationId="{C69837FD-C02A-AB42-B2A6-FD99FE5D5039}"/>
          </ac:spMkLst>
        </pc:spChg>
        <pc:spChg chg="mod">
          <ac:chgData name="Tagari, Eleni" userId="698b4a75-4965-49df-b4c2-d2566eb8ce59" providerId="ADAL" clId="{B276388F-9943-4657-AF88-DBB76478A514}" dt="2025-10-28T12:32:09.454" v="5173" actId="1038"/>
          <ac:spMkLst>
            <pc:docMk/>
            <pc:sldMk cId="1274829488" sldId="267"/>
            <ac:spMk id="41" creationId="{A9501F0C-EE69-B49F-40F8-9A0B80B0D346}"/>
          </ac:spMkLst>
        </pc:spChg>
        <pc:grpChg chg="mod">
          <ac:chgData name="Tagari, Eleni" userId="698b4a75-4965-49df-b4c2-d2566eb8ce59" providerId="ADAL" clId="{B276388F-9943-4657-AF88-DBB76478A514}" dt="2025-10-28T12:32:09.454" v="5173" actId="1038"/>
          <ac:grpSpMkLst>
            <pc:docMk/>
            <pc:sldMk cId="1274829488" sldId="267"/>
            <ac:grpSpMk id="27" creationId="{ABBA50E3-2DC8-3DD5-BACA-9F6C8511CBE8}"/>
          </ac:grpSpMkLst>
        </pc:grpChg>
        <pc:picChg chg="mod">
          <ac:chgData name="Tagari, Eleni" userId="698b4a75-4965-49df-b4c2-d2566eb8ce59" providerId="ADAL" clId="{B276388F-9943-4657-AF88-DBB76478A514}" dt="2025-10-31T13:43:47.305" v="11450" actId="1037"/>
          <ac:picMkLst>
            <pc:docMk/>
            <pc:sldMk cId="1274829488" sldId="267"/>
            <ac:picMk id="3" creationId="{F8E0A6A4-E130-23A5-B317-24F696BC11EB}"/>
          </ac:picMkLst>
        </pc:picChg>
        <pc:cxnChg chg="mod">
          <ac:chgData name="Tagari, Eleni" userId="698b4a75-4965-49df-b4c2-d2566eb8ce59" providerId="ADAL" clId="{B276388F-9943-4657-AF88-DBB76478A514}" dt="2025-10-31T14:52:28.343" v="14453" actId="1038"/>
          <ac:cxnSpMkLst>
            <pc:docMk/>
            <pc:sldMk cId="1274829488" sldId="267"/>
            <ac:cxnSpMk id="9" creationId="{80F405BD-0456-1CFD-5271-742DB67D94E6}"/>
          </ac:cxnSpMkLst>
        </pc:cxnChg>
        <pc:cxnChg chg="mod">
          <ac:chgData name="Tagari, Eleni" userId="698b4a75-4965-49df-b4c2-d2566eb8ce59" providerId="ADAL" clId="{B276388F-9943-4657-AF88-DBB76478A514}" dt="2025-10-31T13:43:52.148" v="11453" actId="1037"/>
          <ac:cxnSpMkLst>
            <pc:docMk/>
            <pc:sldMk cId="1274829488" sldId="267"/>
            <ac:cxnSpMk id="22" creationId="{E64983E3-8992-4C4C-8840-D61412EB3264}"/>
          </ac:cxnSpMkLst>
        </pc:cxnChg>
        <pc:cxnChg chg="mod">
          <ac:chgData name="Tagari, Eleni" userId="698b4a75-4965-49df-b4c2-d2566eb8ce59" providerId="ADAL" clId="{B276388F-9943-4657-AF88-DBB76478A514}" dt="2025-10-28T12:31:51.862" v="5161" actId="1035"/>
          <ac:cxnSpMkLst>
            <pc:docMk/>
            <pc:sldMk cId="1274829488" sldId="267"/>
            <ac:cxnSpMk id="32" creationId="{19C098F0-E521-0CB1-8114-8635D1439F8B}"/>
          </ac:cxnSpMkLst>
        </pc:cxnChg>
        <pc:cxnChg chg="mod">
          <ac:chgData name="Tagari, Eleni" userId="698b4a75-4965-49df-b4c2-d2566eb8ce59" providerId="ADAL" clId="{B276388F-9943-4657-AF88-DBB76478A514}" dt="2025-10-28T12:31:14.661" v="5093" actId="1036"/>
          <ac:cxnSpMkLst>
            <pc:docMk/>
            <pc:sldMk cId="1274829488" sldId="267"/>
            <ac:cxnSpMk id="33" creationId="{5A357FB1-52D9-F754-7F56-6535BFBB9AD1}"/>
          </ac:cxnSpMkLst>
        </pc:cxnChg>
      </pc:sldChg>
      <pc:sldChg chg="delSp modSp del mod modNotesTx">
        <pc:chgData name="Tagari, Eleni" userId="698b4a75-4965-49df-b4c2-d2566eb8ce59" providerId="ADAL" clId="{B276388F-9943-4657-AF88-DBB76478A514}" dt="2025-10-31T13:48:35.678" v="11708" actId="47"/>
        <pc:sldMkLst>
          <pc:docMk/>
          <pc:sldMk cId="2933686809" sldId="269"/>
        </pc:sldMkLst>
      </pc:sldChg>
      <pc:sldChg chg="delSp modSp mod modNotesTx">
        <pc:chgData name="Tagari, Eleni" userId="698b4a75-4965-49df-b4c2-d2566eb8ce59" providerId="ADAL" clId="{B276388F-9943-4657-AF88-DBB76478A514}" dt="2025-10-31T15:25:53.538" v="15364" actId="20577"/>
        <pc:sldMkLst>
          <pc:docMk/>
          <pc:sldMk cId="3022108075" sldId="270"/>
        </pc:sldMkLst>
        <pc:spChg chg="mod">
          <ac:chgData name="Tagari, Eleni" userId="698b4a75-4965-49df-b4c2-d2566eb8ce59" providerId="ADAL" clId="{B276388F-9943-4657-AF88-DBB76478A514}" dt="2025-10-28T12:41:52.530" v="6455" actId="1037"/>
          <ac:spMkLst>
            <pc:docMk/>
            <pc:sldMk cId="3022108075" sldId="270"/>
            <ac:spMk id="13" creationId="{0D3A81A5-19C9-555F-96C8-27BF88C4FFFA}"/>
          </ac:spMkLst>
        </pc:spChg>
        <pc:spChg chg="mod">
          <ac:chgData name="Tagari, Eleni" userId="698b4a75-4965-49df-b4c2-d2566eb8ce59" providerId="ADAL" clId="{B276388F-9943-4657-AF88-DBB76478A514}" dt="2025-10-28T12:41:52.530" v="6455" actId="1037"/>
          <ac:spMkLst>
            <pc:docMk/>
            <pc:sldMk cId="3022108075" sldId="270"/>
            <ac:spMk id="15" creationId="{6DEB4964-C3DC-0D49-882E-3E05EE6DBE87}"/>
          </ac:spMkLst>
        </pc:spChg>
        <pc:spChg chg="mod">
          <ac:chgData name="Tagari, Eleni" userId="698b4a75-4965-49df-b4c2-d2566eb8ce59" providerId="ADAL" clId="{B276388F-9943-4657-AF88-DBB76478A514}" dt="2025-10-28T12:41:52.530" v="6455" actId="1037"/>
          <ac:spMkLst>
            <pc:docMk/>
            <pc:sldMk cId="3022108075" sldId="270"/>
            <ac:spMk id="17" creationId="{02ECE581-9481-0E49-5E45-70190C43436C}"/>
          </ac:spMkLst>
        </pc:spChg>
        <pc:picChg chg="mod">
          <ac:chgData name="Tagari, Eleni" userId="698b4a75-4965-49df-b4c2-d2566eb8ce59" providerId="ADAL" clId="{B276388F-9943-4657-AF88-DBB76478A514}" dt="2025-10-28T12:41:58.837" v="6480" actId="1038"/>
          <ac:picMkLst>
            <pc:docMk/>
            <pc:sldMk cId="3022108075" sldId="270"/>
            <ac:picMk id="6" creationId="{765B2F5D-29AF-E4D0-65A4-6AA9E62FAD66}"/>
          </ac:picMkLst>
        </pc:picChg>
        <pc:picChg chg="mod">
          <ac:chgData name="Tagari, Eleni" userId="698b4a75-4965-49df-b4c2-d2566eb8ce59" providerId="ADAL" clId="{B276388F-9943-4657-AF88-DBB76478A514}" dt="2025-10-28T12:42:31.856" v="6530" actId="1036"/>
          <ac:picMkLst>
            <pc:docMk/>
            <pc:sldMk cId="3022108075" sldId="270"/>
            <ac:picMk id="10" creationId="{A7712015-53B7-88D1-8A99-695EAA4E8C29}"/>
          </ac:picMkLst>
        </pc:picChg>
        <pc:picChg chg="mod">
          <ac:chgData name="Tagari, Eleni" userId="698b4a75-4965-49df-b4c2-d2566eb8ce59" providerId="ADAL" clId="{B276388F-9943-4657-AF88-DBB76478A514}" dt="2025-10-28T12:42:20.624" v="6519" actId="1035"/>
          <ac:picMkLst>
            <pc:docMk/>
            <pc:sldMk cId="3022108075" sldId="270"/>
            <ac:picMk id="11" creationId="{6E564AF4-858D-C65F-3641-A4F8D7433B32}"/>
          </ac:picMkLst>
        </pc:picChg>
      </pc:sldChg>
      <pc:sldChg chg="modNotesTx">
        <pc:chgData name="Tagari, Eleni" userId="698b4a75-4965-49df-b4c2-d2566eb8ce59" providerId="ADAL" clId="{B276388F-9943-4657-AF88-DBB76478A514}" dt="2025-10-31T14:06:16.908" v="12799" actId="6549"/>
        <pc:sldMkLst>
          <pc:docMk/>
          <pc:sldMk cId="2633637586" sldId="272"/>
        </pc:sldMkLst>
      </pc:sldChg>
      <pc:sldChg chg="addSp delSp modSp add mod modNotesTx">
        <pc:chgData name="Tagari, Eleni" userId="698b4a75-4965-49df-b4c2-d2566eb8ce59" providerId="ADAL" clId="{B276388F-9943-4657-AF88-DBB76478A514}" dt="2025-10-31T14:14:03.717" v="13153" actId="20577"/>
        <pc:sldMkLst>
          <pc:docMk/>
          <pc:sldMk cId="1703462039" sldId="277"/>
        </pc:sldMkLst>
        <pc:spChg chg="mod">
          <ac:chgData name="Tagari, Eleni" userId="698b4a75-4965-49df-b4c2-d2566eb8ce59" providerId="ADAL" clId="{B276388F-9943-4657-AF88-DBB76478A514}" dt="2025-10-31T13:35:45.218" v="11382" actId="1037"/>
          <ac:spMkLst>
            <pc:docMk/>
            <pc:sldMk cId="1703462039" sldId="277"/>
            <ac:spMk id="5" creationId="{D927C340-5633-2A31-0246-E129463EB958}"/>
          </ac:spMkLst>
        </pc:spChg>
        <pc:spChg chg="mod">
          <ac:chgData name="Tagari, Eleni" userId="698b4a75-4965-49df-b4c2-d2566eb8ce59" providerId="ADAL" clId="{B276388F-9943-4657-AF88-DBB76478A514}" dt="2025-10-31T13:35:45.218" v="11382" actId="1037"/>
          <ac:spMkLst>
            <pc:docMk/>
            <pc:sldMk cId="1703462039" sldId="277"/>
            <ac:spMk id="6" creationId="{03BA87E2-4C69-D45B-FD2E-6423F6A62BA3}"/>
          </ac:spMkLst>
        </pc:spChg>
        <pc:spChg chg="mod">
          <ac:chgData name="Tagari, Eleni" userId="698b4a75-4965-49df-b4c2-d2566eb8ce59" providerId="ADAL" clId="{B276388F-9943-4657-AF88-DBB76478A514}" dt="2025-10-31T13:35:45.218" v="11382" actId="1037"/>
          <ac:spMkLst>
            <pc:docMk/>
            <pc:sldMk cId="1703462039" sldId="277"/>
            <ac:spMk id="8" creationId="{F79BCAD9-BFBA-721A-8440-BE6379BC4953}"/>
          </ac:spMkLst>
        </pc:spChg>
        <pc:spChg chg="mod">
          <ac:chgData name="Tagari, Eleni" userId="698b4a75-4965-49df-b4c2-d2566eb8ce59" providerId="ADAL" clId="{B276388F-9943-4657-AF88-DBB76478A514}" dt="2025-10-31T13:36:39.678" v="11387" actId="1076"/>
          <ac:spMkLst>
            <pc:docMk/>
            <pc:sldMk cId="1703462039" sldId="277"/>
            <ac:spMk id="9" creationId="{C2A32E7C-9FAA-4595-1AB7-BA40906E4E0F}"/>
          </ac:spMkLst>
        </pc:spChg>
        <pc:graphicFrameChg chg="mod">
          <ac:chgData name="Tagari, Eleni" userId="698b4a75-4965-49df-b4c2-d2566eb8ce59" providerId="ADAL" clId="{B276388F-9943-4657-AF88-DBB76478A514}" dt="2025-10-31T13:35:45.218" v="11382" actId="1037"/>
          <ac:graphicFrameMkLst>
            <pc:docMk/>
            <pc:sldMk cId="1703462039" sldId="277"/>
            <ac:graphicFrameMk id="4" creationId="{5E1E7C59-0BFD-799C-C206-B64636F2B75E}"/>
          </ac:graphicFrameMkLst>
        </pc:graphicFrameChg>
      </pc:sldChg>
      <pc:sldChg chg="addSp delSp modSp mod modNotesTx">
        <pc:chgData name="Tagari, Eleni" userId="698b4a75-4965-49df-b4c2-d2566eb8ce59" providerId="ADAL" clId="{B276388F-9943-4657-AF88-DBB76478A514}" dt="2025-10-31T14:48:49.359" v="14448" actId="20577"/>
        <pc:sldMkLst>
          <pc:docMk/>
          <pc:sldMk cId="2224535306" sldId="279"/>
        </pc:sldMkLst>
      </pc:sldChg>
      <pc:sldChg chg="addSp delSp modSp mod modNotesTx">
        <pc:chgData name="Tagari, Eleni" userId="698b4a75-4965-49df-b4c2-d2566eb8ce59" providerId="ADAL" clId="{B276388F-9943-4657-AF88-DBB76478A514}" dt="2025-10-31T14:46:48.970" v="14394"/>
        <pc:sldMkLst>
          <pc:docMk/>
          <pc:sldMk cId="1792709487" sldId="280"/>
        </pc:sldMkLst>
      </pc:sldChg>
      <pc:sldChg chg="modSp del mod modNotesTx">
        <pc:chgData name="Tagari, Eleni" userId="698b4a75-4965-49df-b4c2-d2566eb8ce59" providerId="ADAL" clId="{B276388F-9943-4657-AF88-DBB76478A514}" dt="2025-10-31T11:17:24.290" v="8374" actId="47"/>
        <pc:sldMkLst>
          <pc:docMk/>
          <pc:sldMk cId="1751373084" sldId="281"/>
        </pc:sldMkLst>
      </pc:sldChg>
      <pc:sldChg chg="modSp del mod modNotesTx">
        <pc:chgData name="Tagari, Eleni" userId="698b4a75-4965-49df-b4c2-d2566eb8ce59" providerId="ADAL" clId="{B276388F-9943-4657-AF88-DBB76478A514}" dt="2025-10-31T11:28:00.278" v="9335" actId="47"/>
        <pc:sldMkLst>
          <pc:docMk/>
          <pc:sldMk cId="264708148" sldId="282"/>
        </pc:sldMkLst>
      </pc:sldChg>
      <pc:sldChg chg="modSp mod modNotesTx">
        <pc:chgData name="Tagari, Eleni" userId="698b4a75-4965-49df-b4c2-d2566eb8ce59" providerId="ADAL" clId="{B276388F-9943-4657-AF88-DBB76478A514}" dt="2025-10-31T14:01:25.284" v="12676" actId="20577"/>
        <pc:sldMkLst>
          <pc:docMk/>
          <pc:sldMk cId="3459958964" sldId="283"/>
        </pc:sldMkLst>
        <pc:spChg chg="mod">
          <ac:chgData name="Tagari, Eleni" userId="698b4a75-4965-49df-b4c2-d2566eb8ce59" providerId="ADAL" clId="{B276388F-9943-4657-AF88-DBB76478A514}" dt="2025-10-31T14:00:33.265" v="12620" actId="20577"/>
          <ac:spMkLst>
            <pc:docMk/>
            <pc:sldMk cId="3459958964" sldId="283"/>
            <ac:spMk id="12" creationId="{32FB3BB4-45FE-E6F2-69A8-83BFDDAE6AF3}"/>
          </ac:spMkLst>
        </pc:spChg>
      </pc:sldChg>
      <pc:sldChg chg="addSp delSp modSp add mod modNotesTx">
        <pc:chgData name="Tagari, Eleni" userId="698b4a75-4965-49df-b4c2-d2566eb8ce59" providerId="ADAL" clId="{B276388F-9943-4657-AF88-DBB76478A514}" dt="2025-10-31T11:27:15.341" v="9332" actId="6549"/>
        <pc:sldMkLst>
          <pc:docMk/>
          <pc:sldMk cId="4276351962" sldId="284"/>
        </pc:sldMkLst>
        <pc:spChg chg="mod">
          <ac:chgData name="Tagari, Eleni" userId="698b4a75-4965-49df-b4c2-d2566eb8ce59" providerId="ADAL" clId="{B276388F-9943-4657-AF88-DBB76478A514}" dt="2025-10-31T11:23:40.180" v="8802" actId="1038"/>
          <ac:spMkLst>
            <pc:docMk/>
            <pc:sldMk cId="4276351962" sldId="284"/>
            <ac:spMk id="9" creationId="{ED5B7AE8-45DA-205D-F381-BA1AFA0AAF69}"/>
          </ac:spMkLst>
        </pc:spChg>
        <pc:spChg chg="mod">
          <ac:chgData name="Tagari, Eleni" userId="698b4a75-4965-49df-b4c2-d2566eb8ce59" providerId="ADAL" clId="{B276388F-9943-4657-AF88-DBB76478A514}" dt="2025-10-31T11:18:58.408" v="8514" actId="1037"/>
          <ac:spMkLst>
            <pc:docMk/>
            <pc:sldMk cId="4276351962" sldId="284"/>
            <ac:spMk id="39" creationId="{142AE5B1-609B-10B1-D39A-B8E3818F2E49}"/>
          </ac:spMkLst>
        </pc:spChg>
        <pc:spChg chg="mod">
          <ac:chgData name="Tagari, Eleni" userId="698b4a75-4965-49df-b4c2-d2566eb8ce59" providerId="ADAL" clId="{B276388F-9943-4657-AF88-DBB76478A514}" dt="2025-10-31T11:23:40.180" v="8802" actId="1038"/>
          <ac:spMkLst>
            <pc:docMk/>
            <pc:sldMk cId="4276351962" sldId="284"/>
            <ac:spMk id="41" creationId="{96689C2D-5A77-DCE4-746D-F717651A201A}"/>
          </ac:spMkLst>
        </pc:spChg>
        <pc:spChg chg="mod">
          <ac:chgData name="Tagari, Eleni" userId="698b4a75-4965-49df-b4c2-d2566eb8ce59" providerId="ADAL" clId="{B276388F-9943-4657-AF88-DBB76478A514}" dt="2025-10-31T11:23:40.180" v="8802" actId="1038"/>
          <ac:spMkLst>
            <pc:docMk/>
            <pc:sldMk cId="4276351962" sldId="284"/>
            <ac:spMk id="45" creationId="{0B2C1218-417C-79EF-AF26-A6879D016906}"/>
          </ac:spMkLst>
        </pc:spChg>
        <pc:grpChg chg="mod">
          <ac:chgData name="Tagari, Eleni" userId="698b4a75-4965-49df-b4c2-d2566eb8ce59" providerId="ADAL" clId="{B276388F-9943-4657-AF88-DBB76478A514}" dt="2025-10-31T11:23:40.180" v="8802" actId="1038"/>
          <ac:grpSpMkLst>
            <pc:docMk/>
            <pc:sldMk cId="4276351962" sldId="284"/>
            <ac:grpSpMk id="27" creationId="{8F7E14CD-107B-EB6F-13A3-4B68082828D0}"/>
          </ac:grpSpMkLst>
        </pc:grpChg>
        <pc:picChg chg="mod">
          <ac:chgData name="Tagari, Eleni" userId="698b4a75-4965-49df-b4c2-d2566eb8ce59" providerId="ADAL" clId="{B276388F-9943-4657-AF88-DBB76478A514}" dt="2025-10-31T11:23:40.180" v="8802" actId="1038"/>
          <ac:picMkLst>
            <pc:docMk/>
            <pc:sldMk cId="4276351962" sldId="284"/>
            <ac:picMk id="6" creationId="{D6D97680-AA80-3EB8-6A3B-E137B3348B40}"/>
          </ac:picMkLst>
        </pc:picChg>
        <pc:cxnChg chg="mod">
          <ac:chgData name="Tagari, Eleni" userId="698b4a75-4965-49df-b4c2-d2566eb8ce59" providerId="ADAL" clId="{B276388F-9943-4657-AF88-DBB76478A514}" dt="2025-10-31T11:23:40.180" v="8802" actId="1038"/>
          <ac:cxnSpMkLst>
            <pc:docMk/>
            <pc:sldMk cId="4276351962" sldId="284"/>
            <ac:cxnSpMk id="4" creationId="{5231C42F-8F38-A225-5A93-E0A456B8D7AA}"/>
          </ac:cxnSpMkLst>
        </pc:cxnChg>
        <pc:cxnChg chg="mod">
          <ac:chgData name="Tagari, Eleni" userId="698b4a75-4965-49df-b4c2-d2566eb8ce59" providerId="ADAL" clId="{B276388F-9943-4657-AF88-DBB76478A514}" dt="2025-10-31T11:18:44.111" v="8480" actId="1035"/>
          <ac:cxnSpMkLst>
            <pc:docMk/>
            <pc:sldMk cId="4276351962" sldId="284"/>
            <ac:cxnSpMk id="32" creationId="{09451077-98B4-B478-3F5E-83C6600EC114}"/>
          </ac:cxnSpMkLst>
        </pc:cxnChg>
        <pc:cxnChg chg="mod">
          <ac:chgData name="Tagari, Eleni" userId="698b4a75-4965-49df-b4c2-d2566eb8ce59" providerId="ADAL" clId="{B276388F-9943-4657-AF88-DBB76478A514}" dt="2025-10-31T11:18:22.497" v="8465" actId="1035"/>
          <ac:cxnSpMkLst>
            <pc:docMk/>
            <pc:sldMk cId="4276351962" sldId="284"/>
            <ac:cxnSpMk id="33" creationId="{B85A03B7-5653-FD11-8A0A-913B3780423E}"/>
          </ac:cxnSpMkLst>
        </pc:cxnChg>
        <pc:cxnChg chg="mod">
          <ac:chgData name="Tagari, Eleni" userId="698b4a75-4965-49df-b4c2-d2566eb8ce59" providerId="ADAL" clId="{B276388F-9943-4657-AF88-DBB76478A514}" dt="2025-10-31T11:23:40.180" v="8802" actId="1038"/>
          <ac:cxnSpMkLst>
            <pc:docMk/>
            <pc:sldMk cId="4276351962" sldId="284"/>
            <ac:cxnSpMk id="47" creationId="{5EFFA204-A135-5330-0D0A-9A5DA1C755C0}"/>
          </ac:cxnSpMkLst>
        </pc:cxnChg>
      </pc:sldChg>
      <pc:sldChg chg="addSp delSp modSp add mod modNotesTx">
        <pc:chgData name="Tagari, Eleni" userId="698b4a75-4965-49df-b4c2-d2566eb8ce59" providerId="ADAL" clId="{B276388F-9943-4657-AF88-DBB76478A514}" dt="2025-10-31T14:46:28.392" v="14392" actId="1035"/>
        <pc:sldMkLst>
          <pc:docMk/>
          <pc:sldMk cId="1697892583" sldId="285"/>
        </pc:sldMkLst>
        <pc:spChg chg="mod">
          <ac:chgData name="Tagari, Eleni" userId="698b4a75-4965-49df-b4c2-d2566eb8ce59" providerId="ADAL" clId="{B276388F-9943-4657-AF88-DBB76478A514}" dt="2025-10-31T14:46:20.762" v="14359" actId="948"/>
          <ac:spMkLst>
            <pc:docMk/>
            <pc:sldMk cId="1697892583" sldId="285"/>
            <ac:spMk id="2" creationId="{3CE88953-8F80-ABA5-4D28-196120D81AA6}"/>
          </ac:spMkLst>
        </pc:spChg>
        <pc:spChg chg="mod">
          <ac:chgData name="Tagari, Eleni" userId="698b4a75-4965-49df-b4c2-d2566eb8ce59" providerId="ADAL" clId="{B276388F-9943-4657-AF88-DBB76478A514}" dt="2025-10-31T14:46:28.392" v="14392" actId="1035"/>
          <ac:spMkLst>
            <pc:docMk/>
            <pc:sldMk cId="1697892583" sldId="285"/>
            <ac:spMk id="6" creationId="{6669FCAD-6E39-8A67-AA79-88B8E5D2C8C3}"/>
          </ac:spMkLst>
        </pc:spChg>
        <pc:spChg chg="mod">
          <ac:chgData name="Tagari, Eleni" userId="698b4a75-4965-49df-b4c2-d2566eb8ce59" providerId="ADAL" clId="{B276388F-9943-4657-AF88-DBB76478A514}" dt="2025-10-31T14:46:28.392" v="14392" actId="1035"/>
          <ac:spMkLst>
            <pc:docMk/>
            <pc:sldMk cId="1697892583" sldId="285"/>
            <ac:spMk id="9" creationId="{A0E55183-7D6B-984F-A092-6006521D3A5D}"/>
          </ac:spMkLst>
        </pc:spChg>
        <pc:spChg chg="mod">
          <ac:chgData name="Tagari, Eleni" userId="698b4a75-4965-49df-b4c2-d2566eb8ce59" providerId="ADAL" clId="{B276388F-9943-4657-AF88-DBB76478A514}" dt="2025-10-31T14:46:28.392" v="14392" actId="1035"/>
          <ac:spMkLst>
            <pc:docMk/>
            <pc:sldMk cId="1697892583" sldId="285"/>
            <ac:spMk id="11" creationId="{ECF88FE9-2EA2-7BD7-9855-B34B3076097E}"/>
          </ac:spMkLst>
        </pc:spChg>
        <pc:spChg chg="mod">
          <ac:chgData name="Tagari, Eleni" userId="698b4a75-4965-49df-b4c2-d2566eb8ce59" providerId="ADAL" clId="{B276388F-9943-4657-AF88-DBB76478A514}" dt="2025-10-31T14:46:28.392" v="14392" actId="1035"/>
          <ac:spMkLst>
            <pc:docMk/>
            <pc:sldMk cId="1697892583" sldId="285"/>
            <ac:spMk id="21" creationId="{EA43701A-D7C4-7CDB-1BD5-E2F1C6451318}"/>
          </ac:spMkLst>
        </pc:spChg>
        <pc:spChg chg="mod">
          <ac:chgData name="Tagari, Eleni" userId="698b4a75-4965-49df-b4c2-d2566eb8ce59" providerId="ADAL" clId="{B276388F-9943-4657-AF88-DBB76478A514}" dt="2025-10-31T14:46:28.392" v="14392" actId="1035"/>
          <ac:spMkLst>
            <pc:docMk/>
            <pc:sldMk cId="1697892583" sldId="285"/>
            <ac:spMk id="57" creationId="{226AC46B-DBF3-C7C3-0909-C3A7D9E1AE1A}"/>
          </ac:spMkLst>
        </pc:spChg>
        <pc:spChg chg="mod">
          <ac:chgData name="Tagari, Eleni" userId="698b4a75-4965-49df-b4c2-d2566eb8ce59" providerId="ADAL" clId="{B276388F-9943-4657-AF88-DBB76478A514}" dt="2025-10-31T14:46:28.392" v="14392" actId="1035"/>
          <ac:spMkLst>
            <pc:docMk/>
            <pc:sldMk cId="1697892583" sldId="285"/>
            <ac:spMk id="58" creationId="{3E644288-0988-E2AA-556D-C1EA45D5EAEC}"/>
          </ac:spMkLst>
        </pc:spChg>
        <pc:spChg chg="mod">
          <ac:chgData name="Tagari, Eleni" userId="698b4a75-4965-49df-b4c2-d2566eb8ce59" providerId="ADAL" clId="{B276388F-9943-4657-AF88-DBB76478A514}" dt="2025-10-31T14:45:54.578" v="14319" actId="14100"/>
          <ac:spMkLst>
            <pc:docMk/>
            <pc:sldMk cId="1697892583" sldId="285"/>
            <ac:spMk id="331" creationId="{610C0579-0EC2-FF4A-9A63-54C3952C5B99}"/>
          </ac:spMkLst>
        </pc:spChg>
        <pc:spChg chg="mod">
          <ac:chgData name="Tagari, Eleni" userId="698b4a75-4965-49df-b4c2-d2566eb8ce59" providerId="ADAL" clId="{B276388F-9943-4657-AF88-DBB76478A514}" dt="2025-10-31T14:46:28.392" v="14392" actId="1035"/>
          <ac:spMkLst>
            <pc:docMk/>
            <pc:sldMk cId="1697892583" sldId="285"/>
            <ac:spMk id="333" creationId="{9BC4AE10-18B4-0D02-A3E9-5455755B6F91}"/>
          </ac:spMkLst>
        </pc:spChg>
        <pc:spChg chg="mod">
          <ac:chgData name="Tagari, Eleni" userId="698b4a75-4965-49df-b4c2-d2566eb8ce59" providerId="ADAL" clId="{B276388F-9943-4657-AF88-DBB76478A514}" dt="2025-10-31T14:46:28.392" v="14392" actId="1035"/>
          <ac:spMkLst>
            <pc:docMk/>
            <pc:sldMk cId="1697892583" sldId="285"/>
            <ac:spMk id="334" creationId="{8944338B-2609-3D58-41F7-FF2B322330B0}"/>
          </ac:spMkLst>
        </pc:spChg>
        <pc:spChg chg="mod">
          <ac:chgData name="Tagari, Eleni" userId="698b4a75-4965-49df-b4c2-d2566eb8ce59" providerId="ADAL" clId="{B276388F-9943-4657-AF88-DBB76478A514}" dt="2025-10-31T14:46:28.392" v="14392" actId="1035"/>
          <ac:spMkLst>
            <pc:docMk/>
            <pc:sldMk cId="1697892583" sldId="285"/>
            <ac:spMk id="335" creationId="{7B0CF231-6844-57CA-220E-87B8BC332C3D}"/>
          </ac:spMkLst>
        </pc:spChg>
        <pc:spChg chg="mod">
          <ac:chgData name="Tagari, Eleni" userId="698b4a75-4965-49df-b4c2-d2566eb8ce59" providerId="ADAL" clId="{B276388F-9943-4657-AF88-DBB76478A514}" dt="2025-10-31T14:46:28.392" v="14392" actId="1035"/>
          <ac:spMkLst>
            <pc:docMk/>
            <pc:sldMk cId="1697892583" sldId="285"/>
            <ac:spMk id="432" creationId="{2088558B-62DE-2C66-B790-38EC5B2BC602}"/>
          </ac:spMkLst>
        </pc:spChg>
        <pc:graphicFrameChg chg="add mod ord modVis">
          <ac:chgData name="Tagari, Eleni" userId="698b4a75-4965-49df-b4c2-d2566eb8ce59" providerId="ADAL" clId="{B276388F-9943-4657-AF88-DBB76478A514}" dt="2025-10-31T14:46:20.786" v="14383"/>
          <ac:graphicFrameMkLst>
            <pc:docMk/>
            <pc:sldMk cId="1697892583" sldId="285"/>
            <ac:graphicFrameMk id="336" creationId="{4AE2C422-0AD5-EFDF-221A-2B8192026A31}"/>
          </ac:graphicFrameMkLst>
        </pc:graphicFrameChg>
      </pc:sldChg>
      <pc:sldChg chg="addSp delSp modSp add mod modNotesTx">
        <pc:chgData name="Tagari, Eleni" userId="698b4a75-4965-49df-b4c2-d2566eb8ce59" providerId="ADAL" clId="{B276388F-9943-4657-AF88-DBB76478A514}" dt="2025-10-31T14:11:05.038" v="13003" actId="20577"/>
        <pc:sldMkLst>
          <pc:docMk/>
          <pc:sldMk cId="40660502" sldId="286"/>
        </pc:sldMkLst>
        <pc:spChg chg="mod">
          <ac:chgData name="Tagari, Eleni" userId="698b4a75-4965-49df-b4c2-d2566eb8ce59" providerId="ADAL" clId="{B276388F-9943-4657-AF88-DBB76478A514}" dt="2025-10-31T13:33:24.722" v="11232" actId="14100"/>
          <ac:spMkLst>
            <pc:docMk/>
            <pc:sldMk cId="40660502" sldId="286"/>
            <ac:spMk id="8" creationId="{212B861C-AFBF-8DF9-365C-9E4D18B02A33}"/>
          </ac:spMkLst>
        </pc:spChg>
        <pc:picChg chg="mod">
          <ac:chgData name="Tagari, Eleni" userId="698b4a75-4965-49df-b4c2-d2566eb8ce59" providerId="ADAL" clId="{B276388F-9943-4657-AF88-DBB76478A514}" dt="2025-10-31T13:33:30.120" v="11246" actId="1035"/>
          <ac:picMkLst>
            <pc:docMk/>
            <pc:sldMk cId="40660502" sldId="286"/>
            <ac:picMk id="6" creationId="{873EF3A2-4CBF-F6BD-22C3-468A931F1C04}"/>
          </ac:picMkLst>
        </pc:picChg>
        <pc:picChg chg="mod">
          <ac:chgData name="Tagari, Eleni" userId="698b4a75-4965-49df-b4c2-d2566eb8ce59" providerId="ADAL" clId="{B276388F-9943-4657-AF88-DBB76478A514}" dt="2025-10-31T13:33:30.120" v="11246" actId="1035"/>
          <ac:picMkLst>
            <pc:docMk/>
            <pc:sldMk cId="40660502" sldId="286"/>
            <ac:picMk id="11" creationId="{8B680B70-1252-ECF8-E657-3563C6B91808}"/>
          </ac:picMkLst>
        </pc:picChg>
      </pc:sldChg>
      <pc:sldChg chg="addSp delSp modSp add mod modNotesTx">
        <pc:chgData name="Tagari, Eleni" userId="698b4a75-4965-49df-b4c2-d2566eb8ce59" providerId="ADAL" clId="{B276388F-9943-4657-AF88-DBB76478A514}" dt="2025-10-31T15:17:05.044" v="15318" actId="1035"/>
        <pc:sldMkLst>
          <pc:docMk/>
          <pc:sldMk cId="57947043" sldId="287"/>
        </pc:sldMkLst>
        <pc:spChg chg="mod">
          <ac:chgData name="Tagari, Eleni" userId="698b4a75-4965-49df-b4c2-d2566eb8ce59" providerId="ADAL" clId="{B276388F-9943-4657-AF88-DBB76478A514}" dt="2025-10-31T15:16:02.289" v="15258"/>
          <ac:spMkLst>
            <pc:docMk/>
            <pc:sldMk cId="57947043" sldId="287"/>
            <ac:spMk id="5" creationId="{CE34D370-A1C9-9FB6-6C11-7048BD0A4BF7}"/>
          </ac:spMkLst>
        </pc:spChg>
        <pc:spChg chg="mod">
          <ac:chgData name="Tagari, Eleni" userId="698b4a75-4965-49df-b4c2-d2566eb8ce59" providerId="ADAL" clId="{B276388F-9943-4657-AF88-DBB76478A514}" dt="2025-10-31T15:16:02.289" v="15258"/>
          <ac:spMkLst>
            <pc:docMk/>
            <pc:sldMk cId="57947043" sldId="287"/>
            <ac:spMk id="7" creationId="{7F46A85D-C9FD-715F-E0AB-6B2B4EE8E0BE}"/>
          </ac:spMkLst>
        </pc:spChg>
        <pc:spChg chg="mod">
          <ac:chgData name="Tagari, Eleni" userId="698b4a75-4965-49df-b4c2-d2566eb8ce59" providerId="ADAL" clId="{B276388F-9943-4657-AF88-DBB76478A514}" dt="2025-10-31T15:17:05.044" v="15318" actId="1035"/>
          <ac:spMkLst>
            <pc:docMk/>
            <pc:sldMk cId="57947043" sldId="287"/>
            <ac:spMk id="10" creationId="{83757E82-6F10-206E-3C4D-8D07808DDC64}"/>
          </ac:spMkLst>
        </pc:spChg>
        <pc:spChg chg="mod">
          <ac:chgData name="Tagari, Eleni" userId="698b4a75-4965-49df-b4c2-d2566eb8ce59" providerId="ADAL" clId="{B276388F-9943-4657-AF88-DBB76478A514}" dt="2025-10-31T15:16:54.603" v="15309" actId="6549"/>
          <ac:spMkLst>
            <pc:docMk/>
            <pc:sldMk cId="57947043" sldId="287"/>
            <ac:spMk id="11" creationId="{0D62543A-F000-A10F-F2D9-F9876389D19F}"/>
          </ac:spMkLst>
        </pc:spChg>
        <pc:spChg chg="mod">
          <ac:chgData name="Tagari, Eleni" userId="698b4a75-4965-49df-b4c2-d2566eb8ce59" providerId="ADAL" clId="{B276388F-9943-4657-AF88-DBB76478A514}" dt="2025-10-31T15:15:04.404" v="15231" actId="1035"/>
          <ac:spMkLst>
            <pc:docMk/>
            <pc:sldMk cId="57947043" sldId="287"/>
            <ac:spMk id="46" creationId="{4C5EF10C-D8B3-6386-1ACD-5334CE777658}"/>
          </ac:spMkLst>
        </pc:spChg>
        <pc:spChg chg="mod">
          <ac:chgData name="Tagari, Eleni" userId="698b4a75-4965-49df-b4c2-d2566eb8ce59" providerId="ADAL" clId="{B276388F-9943-4657-AF88-DBB76478A514}" dt="2025-10-31T15:15:04.404" v="15231" actId="1035"/>
          <ac:spMkLst>
            <pc:docMk/>
            <pc:sldMk cId="57947043" sldId="287"/>
            <ac:spMk id="47" creationId="{EDE9C635-27F2-FD1C-E205-9DAE64DBAE4C}"/>
          </ac:spMkLst>
        </pc:spChg>
        <pc:spChg chg="mod">
          <ac:chgData name="Tagari, Eleni" userId="698b4a75-4965-49df-b4c2-d2566eb8ce59" providerId="ADAL" clId="{B276388F-9943-4657-AF88-DBB76478A514}" dt="2025-10-31T15:15:04.404" v="15231" actId="1035"/>
          <ac:spMkLst>
            <pc:docMk/>
            <pc:sldMk cId="57947043" sldId="287"/>
            <ac:spMk id="48" creationId="{2A7B7FF7-D52A-7AE4-2BF6-BC41CB34873F}"/>
          </ac:spMkLst>
        </pc:spChg>
        <pc:spChg chg="mod">
          <ac:chgData name="Tagari, Eleni" userId="698b4a75-4965-49df-b4c2-d2566eb8ce59" providerId="ADAL" clId="{B276388F-9943-4657-AF88-DBB76478A514}" dt="2025-10-31T15:15:04.404" v="15231" actId="1035"/>
          <ac:spMkLst>
            <pc:docMk/>
            <pc:sldMk cId="57947043" sldId="287"/>
            <ac:spMk id="49" creationId="{38B7BB2E-ABB8-9A6B-5B1E-3E9B1946A969}"/>
          </ac:spMkLst>
        </pc:spChg>
        <pc:spChg chg="mod">
          <ac:chgData name="Tagari, Eleni" userId="698b4a75-4965-49df-b4c2-d2566eb8ce59" providerId="ADAL" clId="{B276388F-9943-4657-AF88-DBB76478A514}" dt="2025-10-31T15:15:04.404" v="15231" actId="1035"/>
          <ac:spMkLst>
            <pc:docMk/>
            <pc:sldMk cId="57947043" sldId="287"/>
            <ac:spMk id="53" creationId="{34D76793-7080-2835-68FB-3827304239F8}"/>
          </ac:spMkLst>
        </pc:spChg>
        <pc:spChg chg="mod">
          <ac:chgData name="Tagari, Eleni" userId="698b4a75-4965-49df-b4c2-d2566eb8ce59" providerId="ADAL" clId="{B276388F-9943-4657-AF88-DBB76478A514}" dt="2025-10-31T15:15:04.404" v="15231" actId="1035"/>
          <ac:spMkLst>
            <pc:docMk/>
            <pc:sldMk cId="57947043" sldId="287"/>
            <ac:spMk id="54" creationId="{CF4969B4-53FD-C198-7ACA-82FE414A0E2F}"/>
          </ac:spMkLst>
        </pc:spChg>
        <pc:grpChg chg="mod">
          <ac:chgData name="Tagari, Eleni" userId="698b4a75-4965-49df-b4c2-d2566eb8ce59" providerId="ADAL" clId="{B276388F-9943-4657-AF88-DBB76478A514}" dt="2025-10-31T15:16:02.289" v="15258"/>
          <ac:grpSpMkLst>
            <pc:docMk/>
            <pc:sldMk cId="57947043" sldId="287"/>
            <ac:grpSpMk id="12" creationId="{49442899-F89B-E1CB-8A5D-DD0AF1A0B973}"/>
          </ac:grpSpMkLst>
        </pc:grpChg>
        <pc:graphicFrameChg chg="mod">
          <ac:chgData name="Tagari, Eleni" userId="698b4a75-4965-49df-b4c2-d2566eb8ce59" providerId="ADAL" clId="{B276388F-9943-4657-AF88-DBB76478A514}" dt="2025-10-31T15:15:04.404" v="15231" actId="1035"/>
          <ac:graphicFrameMkLst>
            <pc:docMk/>
            <pc:sldMk cId="57947043" sldId="287"/>
            <ac:graphicFrameMk id="45" creationId="{6F426AFF-750C-8603-388F-EA304D1F844F}"/>
          </ac:graphicFrameMkLst>
        </pc:graphicFrameChg>
        <pc:graphicFrameChg chg="mod">
          <ac:chgData name="Tagari, Eleni" userId="698b4a75-4965-49df-b4c2-d2566eb8ce59" providerId="ADAL" clId="{B276388F-9943-4657-AF88-DBB76478A514}" dt="2025-10-31T15:15:04.404" v="15231" actId="1035"/>
          <ac:graphicFrameMkLst>
            <pc:docMk/>
            <pc:sldMk cId="57947043" sldId="287"/>
            <ac:graphicFrameMk id="50" creationId="{5A2178B7-8A50-1CCE-5250-9B6FB963AADF}"/>
          </ac:graphicFrameMkLst>
        </pc:graphicFrameChg>
        <pc:picChg chg="mod">
          <ac:chgData name="Tagari, Eleni" userId="698b4a75-4965-49df-b4c2-d2566eb8ce59" providerId="ADAL" clId="{B276388F-9943-4657-AF88-DBB76478A514}" dt="2025-10-31T15:15:04.404" v="15231" actId="1035"/>
          <ac:picMkLst>
            <pc:docMk/>
            <pc:sldMk cId="57947043" sldId="287"/>
            <ac:picMk id="6" creationId="{053E7A1A-3A99-A1A9-37DD-E234448AE0F8}"/>
          </ac:picMkLst>
        </pc:picChg>
        <pc:picChg chg="mod">
          <ac:chgData name="Tagari, Eleni" userId="698b4a75-4965-49df-b4c2-d2566eb8ce59" providerId="ADAL" clId="{B276388F-9943-4657-AF88-DBB76478A514}" dt="2025-10-31T15:15:04.404" v="15231" actId="1035"/>
          <ac:picMkLst>
            <pc:docMk/>
            <pc:sldMk cId="57947043" sldId="287"/>
            <ac:picMk id="9" creationId="{BFD859F0-4B07-987D-4B04-765FE1F089CA}"/>
          </ac:picMkLst>
        </pc:picChg>
      </pc:sldChg>
      <pc:sldChg chg="addSp delSp modSp add mod modNotesTx">
        <pc:chgData name="Tagari, Eleni" userId="698b4a75-4965-49df-b4c2-d2566eb8ce59" providerId="ADAL" clId="{B276388F-9943-4657-AF88-DBB76478A514}" dt="2025-10-31T13:34:32.445" v="11345"/>
        <pc:sldMkLst>
          <pc:docMk/>
          <pc:sldMk cId="1177845808" sldId="288"/>
        </pc:sldMkLst>
        <pc:spChg chg="mod">
          <ac:chgData name="Tagari, Eleni" userId="698b4a75-4965-49df-b4c2-d2566eb8ce59" providerId="ADAL" clId="{B276388F-9943-4657-AF88-DBB76478A514}" dt="2025-10-31T13:34:23.065" v="11343" actId="403"/>
          <ac:spMkLst>
            <pc:docMk/>
            <pc:sldMk cId="1177845808" sldId="288"/>
            <ac:spMk id="3" creationId="{93D7492B-8443-D13C-817A-61870ADA5549}"/>
          </ac:spMkLst>
        </pc:spChg>
        <pc:spChg chg="mod">
          <ac:chgData name="Tagari, Eleni" userId="698b4a75-4965-49df-b4c2-d2566eb8ce59" providerId="ADAL" clId="{B276388F-9943-4657-AF88-DBB76478A514}" dt="2025-10-31T13:34:25.170" v="11344" actId="403"/>
          <ac:spMkLst>
            <pc:docMk/>
            <pc:sldMk cId="1177845808" sldId="288"/>
            <ac:spMk id="26" creationId="{E69D2E04-4729-D43E-775E-B02DC1FAC356}"/>
          </ac:spMkLst>
        </pc:spChg>
        <pc:spChg chg="mod">
          <ac:chgData name="Tagari, Eleni" userId="698b4a75-4965-49df-b4c2-d2566eb8ce59" providerId="ADAL" clId="{B276388F-9943-4657-AF88-DBB76478A514}" dt="2025-10-31T13:34:25.170" v="11344" actId="403"/>
          <ac:spMkLst>
            <pc:docMk/>
            <pc:sldMk cId="1177845808" sldId="288"/>
            <ac:spMk id="27" creationId="{C58AF106-CDC1-5609-5984-53315080C929}"/>
          </ac:spMkLst>
        </pc:spChg>
        <pc:spChg chg="mod">
          <ac:chgData name="Tagari, Eleni" userId="698b4a75-4965-49df-b4c2-d2566eb8ce59" providerId="ADAL" clId="{B276388F-9943-4657-AF88-DBB76478A514}" dt="2025-10-31T13:34:25.170" v="11344" actId="403"/>
          <ac:spMkLst>
            <pc:docMk/>
            <pc:sldMk cId="1177845808" sldId="288"/>
            <ac:spMk id="29" creationId="{A8137E58-81EF-962B-1B3C-A7B76C78AF7E}"/>
          </ac:spMkLst>
        </pc:spChg>
        <pc:spChg chg="mod">
          <ac:chgData name="Tagari, Eleni" userId="698b4a75-4965-49df-b4c2-d2566eb8ce59" providerId="ADAL" clId="{B276388F-9943-4657-AF88-DBB76478A514}" dt="2025-10-31T13:34:25.170" v="11344" actId="403"/>
          <ac:spMkLst>
            <pc:docMk/>
            <pc:sldMk cId="1177845808" sldId="288"/>
            <ac:spMk id="30" creationId="{8E99E65C-69A8-ACF4-2F9E-BD7462BECA10}"/>
          </ac:spMkLst>
        </pc:spChg>
        <pc:spChg chg="mod">
          <ac:chgData name="Tagari, Eleni" userId="698b4a75-4965-49df-b4c2-d2566eb8ce59" providerId="ADAL" clId="{B276388F-9943-4657-AF88-DBB76478A514}" dt="2025-10-31T13:34:25.170" v="11344" actId="403"/>
          <ac:spMkLst>
            <pc:docMk/>
            <pc:sldMk cId="1177845808" sldId="288"/>
            <ac:spMk id="31" creationId="{A7ACA49F-A8E0-9F85-B667-1FE87CF8EF22}"/>
          </ac:spMkLst>
        </pc:spChg>
        <pc:spChg chg="mod">
          <ac:chgData name="Tagari, Eleni" userId="698b4a75-4965-49df-b4c2-d2566eb8ce59" providerId="ADAL" clId="{B276388F-9943-4657-AF88-DBB76478A514}" dt="2025-10-31T13:34:23.065" v="11343" actId="403"/>
          <ac:spMkLst>
            <pc:docMk/>
            <pc:sldMk cId="1177845808" sldId="288"/>
            <ac:spMk id="32" creationId="{F5D59CFE-C706-96BA-827D-5D5C410B8E31}"/>
          </ac:spMkLst>
        </pc:spChg>
        <pc:spChg chg="mod">
          <ac:chgData name="Tagari, Eleni" userId="698b4a75-4965-49df-b4c2-d2566eb8ce59" providerId="ADAL" clId="{B276388F-9943-4657-AF88-DBB76478A514}" dt="2025-10-31T13:34:25.170" v="11344" actId="403"/>
          <ac:spMkLst>
            <pc:docMk/>
            <pc:sldMk cId="1177845808" sldId="288"/>
            <ac:spMk id="33" creationId="{D46AF59B-272B-C829-BC74-D5CEF393A70B}"/>
          </ac:spMkLst>
        </pc:spChg>
        <pc:spChg chg="mod">
          <ac:chgData name="Tagari, Eleni" userId="698b4a75-4965-49df-b4c2-d2566eb8ce59" providerId="ADAL" clId="{B276388F-9943-4657-AF88-DBB76478A514}" dt="2025-10-31T13:34:23.065" v="11343" actId="403"/>
          <ac:spMkLst>
            <pc:docMk/>
            <pc:sldMk cId="1177845808" sldId="288"/>
            <ac:spMk id="34" creationId="{53D37B18-5217-95D5-001A-32B7A2534776}"/>
          </ac:spMkLst>
        </pc:spChg>
        <pc:spChg chg="mod">
          <ac:chgData name="Tagari, Eleni" userId="698b4a75-4965-49df-b4c2-d2566eb8ce59" providerId="ADAL" clId="{B276388F-9943-4657-AF88-DBB76478A514}" dt="2025-10-31T13:34:23.065" v="11343" actId="403"/>
          <ac:spMkLst>
            <pc:docMk/>
            <pc:sldMk cId="1177845808" sldId="288"/>
            <ac:spMk id="40" creationId="{7CAA279F-BF4B-52E6-0D71-CE733826DC5E}"/>
          </ac:spMkLst>
        </pc:spChg>
        <pc:spChg chg="mod">
          <ac:chgData name="Tagari, Eleni" userId="698b4a75-4965-49df-b4c2-d2566eb8ce59" providerId="ADAL" clId="{B276388F-9943-4657-AF88-DBB76478A514}" dt="2025-10-31T13:34:25.170" v="11344" actId="403"/>
          <ac:spMkLst>
            <pc:docMk/>
            <pc:sldMk cId="1177845808" sldId="288"/>
            <ac:spMk id="41" creationId="{E7B2858A-C8FA-1898-E3AE-DB9661848FA1}"/>
          </ac:spMkLst>
        </pc:spChg>
        <pc:spChg chg="mod">
          <ac:chgData name="Tagari, Eleni" userId="698b4a75-4965-49df-b4c2-d2566eb8ce59" providerId="ADAL" clId="{B276388F-9943-4657-AF88-DBB76478A514}" dt="2025-10-31T13:34:25.170" v="11344" actId="403"/>
          <ac:spMkLst>
            <pc:docMk/>
            <pc:sldMk cId="1177845808" sldId="288"/>
            <ac:spMk id="44" creationId="{2FFDD630-10A8-03C7-BA7F-E6F57CB65B81}"/>
          </ac:spMkLst>
        </pc:spChg>
        <pc:spChg chg="mod">
          <ac:chgData name="Tagari, Eleni" userId="698b4a75-4965-49df-b4c2-d2566eb8ce59" providerId="ADAL" clId="{B276388F-9943-4657-AF88-DBB76478A514}" dt="2025-10-31T13:34:25.170" v="11344" actId="403"/>
          <ac:spMkLst>
            <pc:docMk/>
            <pc:sldMk cId="1177845808" sldId="288"/>
            <ac:spMk id="62" creationId="{54D66079-F5CF-A236-9F18-6CFF24C00650}"/>
          </ac:spMkLst>
        </pc:spChg>
        <pc:spChg chg="mod">
          <ac:chgData name="Tagari, Eleni" userId="698b4a75-4965-49df-b4c2-d2566eb8ce59" providerId="ADAL" clId="{B276388F-9943-4657-AF88-DBB76478A514}" dt="2025-10-31T13:34:23.065" v="11343" actId="403"/>
          <ac:spMkLst>
            <pc:docMk/>
            <pc:sldMk cId="1177845808" sldId="288"/>
            <ac:spMk id="66" creationId="{07E1CC86-CAFC-CF1D-AE8E-908A181FDA4F}"/>
          </ac:spMkLst>
        </pc:spChg>
        <pc:spChg chg="mod">
          <ac:chgData name="Tagari, Eleni" userId="698b4a75-4965-49df-b4c2-d2566eb8ce59" providerId="ADAL" clId="{B276388F-9943-4657-AF88-DBB76478A514}" dt="2025-10-31T13:34:23.065" v="11343" actId="403"/>
          <ac:spMkLst>
            <pc:docMk/>
            <pc:sldMk cId="1177845808" sldId="288"/>
            <ac:spMk id="67" creationId="{AAF707D2-F2F3-9A6D-0E52-295725D350CC}"/>
          </ac:spMkLst>
        </pc:spChg>
        <pc:spChg chg="mod">
          <ac:chgData name="Tagari, Eleni" userId="698b4a75-4965-49df-b4c2-d2566eb8ce59" providerId="ADAL" clId="{B276388F-9943-4657-AF88-DBB76478A514}" dt="2025-10-31T13:34:25.170" v="11344" actId="403"/>
          <ac:spMkLst>
            <pc:docMk/>
            <pc:sldMk cId="1177845808" sldId="288"/>
            <ac:spMk id="73" creationId="{9348C471-9C50-5A3F-D220-DD5CEF5492C2}"/>
          </ac:spMkLst>
        </pc:spChg>
        <pc:grpChg chg="mod">
          <ac:chgData name="Tagari, Eleni" userId="698b4a75-4965-49df-b4c2-d2566eb8ce59" providerId="ADAL" clId="{B276388F-9943-4657-AF88-DBB76478A514}" dt="2025-10-31T13:34:20.519" v="11342" actId="1038"/>
          <ac:grpSpMkLst>
            <pc:docMk/>
            <pc:sldMk cId="1177845808" sldId="288"/>
            <ac:grpSpMk id="69" creationId="{49A8023B-B95B-1493-43EE-38D6C378E399}"/>
          </ac:grpSpMkLst>
        </pc:grpChg>
      </pc:sldChg>
      <pc:sldChg chg="addSp delSp modSp add mod modNotesTx">
        <pc:chgData name="Tagari, Eleni" userId="698b4a75-4965-49df-b4c2-d2566eb8ce59" providerId="ADAL" clId="{B276388F-9943-4657-AF88-DBB76478A514}" dt="2025-10-31T14:28:30.284" v="13866" actId="20577"/>
        <pc:sldMkLst>
          <pc:docMk/>
          <pc:sldMk cId="3452311783" sldId="289"/>
        </pc:sldMkLst>
        <pc:spChg chg="mod">
          <ac:chgData name="Tagari, Eleni" userId="698b4a75-4965-49df-b4c2-d2566eb8ce59" providerId="ADAL" clId="{B276388F-9943-4657-AF88-DBB76478A514}" dt="2025-10-31T13:50:49.866" v="11899" actId="6549"/>
          <ac:spMkLst>
            <pc:docMk/>
            <pc:sldMk cId="3452311783" sldId="289"/>
            <ac:spMk id="17" creationId="{9C276A61-F3D6-99D8-A038-9306B34B483D}"/>
          </ac:spMkLst>
        </pc:spChg>
      </pc:sldChg>
    </pc:docChg>
  </pc:docChgLst>
  <pc:docChgLst>
    <pc:chgData name="Tagari, Eleni" userId="698b4a75-4965-49df-b4c2-d2566eb8ce59" providerId="ADAL" clId="{54441B8A-4281-4ED0-99EE-C9FE5ECC52A1}"/>
    <pc:docChg chg="undo custSel addSld delSld modSld">
      <pc:chgData name="Tagari, Eleni" userId="698b4a75-4965-49df-b4c2-d2566eb8ce59" providerId="ADAL" clId="{54441B8A-4281-4ED0-99EE-C9FE5ECC52A1}" dt="2025-11-04T09:29:49.832" v="55" actId="47"/>
      <pc:docMkLst>
        <pc:docMk/>
      </pc:docMkLst>
      <pc:sldChg chg="delSp mod modNotesTx">
        <pc:chgData name="Tagari, Eleni" userId="698b4a75-4965-49df-b4c2-d2566eb8ce59" providerId="ADAL" clId="{54441B8A-4281-4ED0-99EE-C9FE5ECC52A1}" dt="2025-11-04T09:28:51.710" v="33" actId="6549"/>
        <pc:sldMkLst>
          <pc:docMk/>
          <pc:sldMk cId="1274829488" sldId="267"/>
        </pc:sldMkLst>
        <pc:picChg chg="del">
          <ac:chgData name="Tagari, Eleni" userId="698b4a75-4965-49df-b4c2-d2566eb8ce59" providerId="ADAL" clId="{54441B8A-4281-4ED0-99EE-C9FE5ECC52A1}" dt="2025-11-04T09:25:55.048" v="11" actId="478"/>
          <ac:picMkLst>
            <pc:docMk/>
            <pc:sldMk cId="1274829488" sldId="267"/>
            <ac:picMk id="10" creationId="{EE6F0601-08E1-85C5-82DD-62014B29C5D4}"/>
          </ac:picMkLst>
        </pc:picChg>
      </pc:sldChg>
      <pc:sldChg chg="delSp mod modNotesTx">
        <pc:chgData name="Tagari, Eleni" userId="698b4a75-4965-49df-b4c2-d2566eb8ce59" providerId="ADAL" clId="{54441B8A-4281-4ED0-99EE-C9FE5ECC52A1}" dt="2025-11-04T09:28:58.361" v="35" actId="6549"/>
        <pc:sldMkLst>
          <pc:docMk/>
          <pc:sldMk cId="3022108075" sldId="270"/>
        </pc:sldMkLst>
        <pc:picChg chg="del">
          <ac:chgData name="Tagari, Eleni" userId="698b4a75-4965-49df-b4c2-d2566eb8ce59" providerId="ADAL" clId="{54441B8A-4281-4ED0-99EE-C9FE5ECC52A1}" dt="2025-11-04T09:25:59.524" v="13" actId="478"/>
          <ac:picMkLst>
            <pc:docMk/>
            <pc:sldMk cId="3022108075" sldId="270"/>
            <ac:picMk id="18" creationId="{956908E7-E4FF-5BAD-399F-080575996623}"/>
          </ac:picMkLst>
        </pc:picChg>
      </pc:sldChg>
      <pc:sldChg chg="delSp mod modNotesTx">
        <pc:chgData name="Tagari, Eleni" userId="698b4a75-4965-49df-b4c2-d2566eb8ce59" providerId="ADAL" clId="{54441B8A-4281-4ED0-99EE-C9FE5ECC52A1}" dt="2025-11-04T09:28:14.681" v="22" actId="6549"/>
        <pc:sldMkLst>
          <pc:docMk/>
          <pc:sldMk cId="2633637586" sldId="272"/>
        </pc:sldMkLst>
        <pc:picChg chg="del">
          <ac:chgData name="Tagari, Eleni" userId="698b4a75-4965-49df-b4c2-d2566eb8ce59" providerId="ADAL" clId="{54441B8A-4281-4ED0-99EE-C9FE5ECC52A1}" dt="2025-11-04T09:25:20.766" v="2" actId="478"/>
          <ac:picMkLst>
            <pc:docMk/>
            <pc:sldMk cId="2633637586" sldId="272"/>
            <ac:picMk id="5" creationId="{FFB1ACF2-6E26-C12F-33E2-640EF9FE77FC}"/>
          </ac:picMkLst>
        </pc:picChg>
      </pc:sldChg>
      <pc:sldChg chg="delSp mod modNotesTx">
        <pc:chgData name="Tagari, Eleni" userId="698b4a75-4965-49df-b4c2-d2566eb8ce59" providerId="ADAL" clId="{54441B8A-4281-4ED0-99EE-C9FE5ECC52A1}" dt="2025-11-04T09:28:41.205" v="30" actId="6549"/>
        <pc:sldMkLst>
          <pc:docMk/>
          <pc:sldMk cId="1703462039" sldId="277"/>
        </pc:sldMkLst>
        <pc:picChg chg="del">
          <ac:chgData name="Tagari, Eleni" userId="698b4a75-4965-49df-b4c2-d2566eb8ce59" providerId="ADAL" clId="{54441B8A-4281-4ED0-99EE-C9FE5ECC52A1}" dt="2025-11-04T09:25:47.685" v="8" actId="478"/>
          <ac:picMkLst>
            <pc:docMk/>
            <pc:sldMk cId="1703462039" sldId="277"/>
            <ac:picMk id="14" creationId="{89018DCE-25AA-1E22-29A8-2C32EC72F02F}"/>
          </ac:picMkLst>
        </pc:picChg>
      </pc:sldChg>
      <pc:sldChg chg="delSp mod modNotesTx">
        <pc:chgData name="Tagari, Eleni" userId="698b4a75-4965-49df-b4c2-d2566eb8ce59" providerId="ADAL" clId="{54441B8A-4281-4ED0-99EE-C9FE5ECC52A1}" dt="2025-11-04T09:28:23.150" v="25" actId="6549"/>
        <pc:sldMkLst>
          <pc:docMk/>
          <pc:sldMk cId="2224535306" sldId="279"/>
        </pc:sldMkLst>
        <pc:picChg chg="del">
          <ac:chgData name="Tagari, Eleni" userId="698b4a75-4965-49df-b4c2-d2566eb8ce59" providerId="ADAL" clId="{54441B8A-4281-4ED0-99EE-C9FE5ECC52A1}" dt="2025-11-04T09:25:28.161" v="5" actId="478"/>
          <ac:picMkLst>
            <pc:docMk/>
            <pc:sldMk cId="2224535306" sldId="279"/>
            <ac:picMk id="2" creationId="{2EE6FB89-73A6-D3EE-9203-3C384D13F69A}"/>
          </ac:picMkLst>
        </pc:picChg>
      </pc:sldChg>
      <pc:sldChg chg="delSp mod modNotesTx">
        <pc:chgData name="Tagari, Eleni" userId="698b4a75-4965-49df-b4c2-d2566eb8ce59" providerId="ADAL" clId="{54441B8A-4281-4ED0-99EE-C9FE5ECC52A1}" dt="2025-11-04T09:28:48.121" v="32" actId="6549"/>
        <pc:sldMkLst>
          <pc:docMk/>
          <pc:sldMk cId="1792709487" sldId="280"/>
        </pc:sldMkLst>
        <pc:picChg chg="del">
          <ac:chgData name="Tagari, Eleni" userId="698b4a75-4965-49df-b4c2-d2566eb8ce59" providerId="ADAL" clId="{54441B8A-4281-4ED0-99EE-C9FE5ECC52A1}" dt="2025-11-04T09:25:52.402" v="10" actId="478"/>
          <ac:picMkLst>
            <pc:docMk/>
            <pc:sldMk cId="1792709487" sldId="280"/>
            <ac:picMk id="5" creationId="{64F6FCE7-6071-9D14-52ED-B4375CAD3F3C}"/>
          </ac:picMkLst>
        </pc:picChg>
      </pc:sldChg>
      <pc:sldChg chg="delSp del mod modNotesTx">
        <pc:chgData name="Tagari, Eleni" userId="698b4a75-4965-49df-b4c2-d2566eb8ce59" providerId="ADAL" clId="{54441B8A-4281-4ED0-99EE-C9FE5ECC52A1}" dt="2025-11-04T09:29:49.832" v="55" actId="47"/>
        <pc:sldMkLst>
          <pc:docMk/>
          <pc:sldMk cId="3459958964" sldId="283"/>
        </pc:sldMkLst>
        <pc:picChg chg="del">
          <ac:chgData name="Tagari, Eleni" userId="698b4a75-4965-49df-b4c2-d2566eb8ce59" providerId="ADAL" clId="{54441B8A-4281-4ED0-99EE-C9FE5ECC52A1}" dt="2025-11-04T09:24:58.237" v="0" actId="478"/>
          <ac:picMkLst>
            <pc:docMk/>
            <pc:sldMk cId="3459958964" sldId="283"/>
            <ac:picMk id="13" creationId="{5ECEA93A-E79F-203A-DA96-18208B00F513}"/>
          </ac:picMkLst>
        </pc:picChg>
      </pc:sldChg>
      <pc:sldChg chg="delSp mod modNotesTx">
        <pc:chgData name="Tagari, Eleni" userId="698b4a75-4965-49df-b4c2-d2566eb8ce59" providerId="ADAL" clId="{54441B8A-4281-4ED0-99EE-C9FE5ECC52A1}" dt="2025-11-04T09:28:17.446" v="23" actId="6549"/>
        <pc:sldMkLst>
          <pc:docMk/>
          <pc:sldMk cId="4276351962" sldId="284"/>
        </pc:sldMkLst>
        <pc:picChg chg="del">
          <ac:chgData name="Tagari, Eleni" userId="698b4a75-4965-49df-b4c2-d2566eb8ce59" providerId="ADAL" clId="{54441B8A-4281-4ED0-99EE-C9FE5ECC52A1}" dt="2025-11-04T09:25:23.011" v="3" actId="478"/>
          <ac:picMkLst>
            <pc:docMk/>
            <pc:sldMk cId="4276351962" sldId="284"/>
            <ac:picMk id="12" creationId="{EB6CB0C1-B282-7F8F-9A75-39B626F822BD}"/>
          </ac:picMkLst>
        </pc:picChg>
      </pc:sldChg>
      <pc:sldChg chg="delSp mod modNotesTx">
        <pc:chgData name="Tagari, Eleni" userId="698b4a75-4965-49df-b4c2-d2566eb8ce59" providerId="ADAL" clId="{54441B8A-4281-4ED0-99EE-C9FE5ECC52A1}" dt="2025-11-04T09:28:20.217" v="24" actId="6549"/>
        <pc:sldMkLst>
          <pc:docMk/>
          <pc:sldMk cId="1697892583" sldId="285"/>
        </pc:sldMkLst>
        <pc:picChg chg="del">
          <ac:chgData name="Tagari, Eleni" userId="698b4a75-4965-49df-b4c2-d2566eb8ce59" providerId="ADAL" clId="{54441B8A-4281-4ED0-99EE-C9FE5ECC52A1}" dt="2025-11-04T09:25:25.892" v="4" actId="478"/>
          <ac:picMkLst>
            <pc:docMk/>
            <pc:sldMk cId="1697892583" sldId="285"/>
            <ac:picMk id="15" creationId="{63921270-1F57-9FF4-F8E8-0E99AC90A24F}"/>
          </ac:picMkLst>
        </pc:picChg>
      </pc:sldChg>
      <pc:sldChg chg="delSp mod modNotesTx">
        <pc:chgData name="Tagari, Eleni" userId="698b4a75-4965-49df-b4c2-d2566eb8ce59" providerId="ADAL" clId="{54441B8A-4281-4ED0-99EE-C9FE5ECC52A1}" dt="2025-11-04T09:28:26.769" v="26" actId="6549"/>
        <pc:sldMkLst>
          <pc:docMk/>
          <pc:sldMk cId="40660502" sldId="286"/>
        </pc:sldMkLst>
        <pc:picChg chg="del">
          <ac:chgData name="Tagari, Eleni" userId="698b4a75-4965-49df-b4c2-d2566eb8ce59" providerId="ADAL" clId="{54441B8A-4281-4ED0-99EE-C9FE5ECC52A1}" dt="2025-11-04T09:25:31.508" v="6" actId="478"/>
          <ac:picMkLst>
            <pc:docMk/>
            <pc:sldMk cId="40660502" sldId="286"/>
            <ac:picMk id="7" creationId="{DB76D6F6-404C-C9E4-1352-4F07C822881C}"/>
          </ac:picMkLst>
        </pc:picChg>
      </pc:sldChg>
      <pc:sldChg chg="delSp mod modNotesTx">
        <pc:chgData name="Tagari, Eleni" userId="698b4a75-4965-49df-b4c2-d2566eb8ce59" providerId="ADAL" clId="{54441B8A-4281-4ED0-99EE-C9FE5ECC52A1}" dt="2025-11-04T09:28:44.862" v="31" actId="6549"/>
        <pc:sldMkLst>
          <pc:docMk/>
          <pc:sldMk cId="57947043" sldId="287"/>
        </pc:sldMkLst>
        <pc:picChg chg="del">
          <ac:chgData name="Tagari, Eleni" userId="698b4a75-4965-49df-b4c2-d2566eb8ce59" providerId="ADAL" clId="{54441B8A-4281-4ED0-99EE-C9FE5ECC52A1}" dt="2025-11-04T09:25:49.920" v="9" actId="478"/>
          <ac:picMkLst>
            <pc:docMk/>
            <pc:sldMk cId="57947043" sldId="287"/>
            <ac:picMk id="17" creationId="{3B2DE397-9473-023C-147A-DA83BA82D0F3}"/>
          </ac:picMkLst>
        </pc:picChg>
      </pc:sldChg>
      <pc:sldChg chg="delSp mod modNotesTx">
        <pc:chgData name="Tagari, Eleni" userId="698b4a75-4965-49df-b4c2-d2566eb8ce59" providerId="ADAL" clId="{54441B8A-4281-4ED0-99EE-C9FE5ECC52A1}" dt="2025-11-04T09:28:37.055" v="29" actId="6549"/>
        <pc:sldMkLst>
          <pc:docMk/>
          <pc:sldMk cId="1177845808" sldId="288"/>
        </pc:sldMkLst>
        <pc:picChg chg="del">
          <ac:chgData name="Tagari, Eleni" userId="698b4a75-4965-49df-b4c2-d2566eb8ce59" providerId="ADAL" clId="{54441B8A-4281-4ED0-99EE-C9FE5ECC52A1}" dt="2025-11-04T09:25:34.041" v="7" actId="478"/>
          <ac:picMkLst>
            <pc:docMk/>
            <pc:sldMk cId="1177845808" sldId="288"/>
            <ac:picMk id="4" creationId="{57DBD65A-DB4E-4AD3-16A6-0AB9B8C3B0AC}"/>
          </ac:picMkLst>
        </pc:picChg>
      </pc:sldChg>
      <pc:sldChg chg="delSp mod modNotesTx">
        <pc:chgData name="Tagari, Eleni" userId="698b4a75-4965-49df-b4c2-d2566eb8ce59" providerId="ADAL" clId="{54441B8A-4281-4ED0-99EE-C9FE5ECC52A1}" dt="2025-11-04T09:28:54.290" v="34" actId="6549"/>
        <pc:sldMkLst>
          <pc:docMk/>
          <pc:sldMk cId="3452311783" sldId="289"/>
        </pc:sldMkLst>
        <pc:picChg chg="del">
          <ac:chgData name="Tagari, Eleni" userId="698b4a75-4965-49df-b4c2-d2566eb8ce59" providerId="ADAL" clId="{54441B8A-4281-4ED0-99EE-C9FE5ECC52A1}" dt="2025-11-04T09:25:57.333" v="12" actId="478"/>
          <ac:picMkLst>
            <pc:docMk/>
            <pc:sldMk cId="3452311783" sldId="289"/>
            <ac:picMk id="8" creationId="{A5755C68-800D-7AF7-ED65-F6436D07B715}"/>
          </ac:picMkLst>
        </pc:picChg>
      </pc:sldChg>
      <pc:sldChg chg="delSp modSp add mod delAnim">
        <pc:chgData name="Tagari, Eleni" userId="698b4a75-4965-49df-b4c2-d2566eb8ce59" providerId="ADAL" clId="{54441B8A-4281-4ED0-99EE-C9FE5ECC52A1}" dt="2025-11-04T09:29:47.487" v="54" actId="478"/>
        <pc:sldMkLst>
          <pc:docMk/>
          <pc:sldMk cId="1025774762" sldId="290"/>
        </pc:sldMkLst>
        <pc:spChg chg="del mod ord">
          <ac:chgData name="Tagari, Eleni" userId="698b4a75-4965-49df-b4c2-d2566eb8ce59" providerId="ADAL" clId="{54441B8A-4281-4ED0-99EE-C9FE5ECC52A1}" dt="2025-11-04T09:29:42.961" v="52" actId="478"/>
          <ac:spMkLst>
            <pc:docMk/>
            <pc:sldMk cId="1025774762" sldId="290"/>
            <ac:spMk id="2" creationId="{C1C2D084-FA0D-F646-67AD-60B8266D13E3}"/>
          </ac:spMkLst>
        </pc:spChg>
        <pc:spChg chg="mod ord">
          <ac:chgData name="Tagari, Eleni" userId="698b4a75-4965-49df-b4c2-d2566eb8ce59" providerId="ADAL" clId="{54441B8A-4281-4ED0-99EE-C9FE5ECC52A1}" dt="2025-11-04T09:29:39.155" v="48"/>
          <ac:spMkLst>
            <pc:docMk/>
            <pc:sldMk cId="1025774762" sldId="290"/>
            <ac:spMk id="3" creationId="{E4EB1601-AEAC-9010-FB4A-23C12F8CD4F0}"/>
          </ac:spMkLst>
        </pc:spChg>
        <pc:spChg chg="del mod ord">
          <ac:chgData name="Tagari, Eleni" userId="698b4a75-4965-49df-b4c2-d2566eb8ce59" providerId="ADAL" clId="{54441B8A-4281-4ED0-99EE-C9FE5ECC52A1}" dt="2025-11-04T09:29:41.566" v="51" actId="478"/>
          <ac:spMkLst>
            <pc:docMk/>
            <pc:sldMk cId="1025774762" sldId="290"/>
            <ac:spMk id="4" creationId="{026B0377-ED4C-FE72-200E-002820E70864}"/>
          </ac:spMkLst>
        </pc:spChg>
        <pc:spChg chg="del mod ord">
          <ac:chgData name="Tagari, Eleni" userId="698b4a75-4965-49df-b4c2-d2566eb8ce59" providerId="ADAL" clId="{54441B8A-4281-4ED0-99EE-C9FE5ECC52A1}" dt="2025-11-04T09:29:43.944" v="53" actId="478"/>
          <ac:spMkLst>
            <pc:docMk/>
            <pc:sldMk cId="1025774762" sldId="290"/>
            <ac:spMk id="6" creationId="{877A2684-3504-75CE-C42F-0240549DE795}"/>
          </ac:spMkLst>
        </pc:spChg>
        <pc:spChg chg="mod ord">
          <ac:chgData name="Tagari, Eleni" userId="698b4a75-4965-49df-b4c2-d2566eb8ce59" providerId="ADAL" clId="{54441B8A-4281-4ED0-99EE-C9FE5ECC52A1}" dt="2025-11-04T09:29:39.155" v="38"/>
          <ac:spMkLst>
            <pc:docMk/>
            <pc:sldMk cId="1025774762" sldId="290"/>
            <ac:spMk id="12" creationId="{32FB3BB4-45FE-E6F2-69A8-83BFDDAE6AF3}"/>
          </ac:spMkLst>
        </pc:spChg>
        <pc:graphicFrameChg chg="mod">
          <ac:chgData name="Tagari, Eleni" userId="698b4a75-4965-49df-b4c2-d2566eb8ce59" providerId="ADAL" clId="{54441B8A-4281-4ED0-99EE-C9FE5ECC52A1}" dt="2025-11-04T09:29:39.155" v="50"/>
          <ac:graphicFrameMkLst>
            <pc:docMk/>
            <pc:sldMk cId="1025774762" sldId="290"/>
            <ac:graphicFrameMk id="5" creationId="{14FE2D78-A009-770F-E506-D655D75AE561}"/>
          </ac:graphicFrameMkLst>
        </pc:graphicFrameChg>
        <pc:picChg chg="del mod ord">
          <ac:chgData name="Tagari, Eleni" userId="698b4a75-4965-49df-b4c2-d2566eb8ce59" providerId="ADAL" clId="{54441B8A-4281-4ED0-99EE-C9FE5ECC52A1}" dt="2025-11-04T09:29:47.487" v="54" actId="478"/>
          <ac:picMkLst>
            <pc:docMk/>
            <pc:sldMk cId="1025774762" sldId="290"/>
            <ac:picMk id="13" creationId="{5ECEA93A-E79F-203A-DA96-18208B00F513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BRAF/MEKi-Rechallenge-Kohorte (n = 194)</c:v>
                </c:pt>
              </c:strCache>
            </c:strRef>
          </c:tx>
          <c:spPr>
            <a:solidFill>
              <a:srgbClr val="FF585D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585D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3</c:f>
              <c:strCache>
                <c:ptCount val="2"/>
                <c:pt idx="0">
                  <c:v>ORR </c:v>
                </c:pt>
                <c:pt idx="1">
                  <c:v>DCR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29.4</c:v>
                </c:pt>
                <c:pt idx="1">
                  <c:v>57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DE0-4B4E-930D-4AA21962CF9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Gematchte Kontroll-Kohorte (n = 194)</c:v>
                </c:pt>
              </c:strCache>
            </c:strRef>
          </c:tx>
          <c:spPr>
            <a:solidFill>
              <a:srgbClr val="0460A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accent6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3</c:f>
              <c:strCache>
                <c:ptCount val="2"/>
                <c:pt idx="0">
                  <c:v>ORR </c:v>
                </c:pt>
                <c:pt idx="1">
                  <c:v>DCR</c:v>
                </c:pt>
              </c:strCache>
            </c:strRef>
          </c:cat>
          <c:val>
            <c:numRef>
              <c:f>Tabelle1!$C$2:$C$3</c:f>
              <c:numCache>
                <c:formatCode>General</c:formatCode>
                <c:ptCount val="2"/>
                <c:pt idx="0">
                  <c:v>54.6</c:v>
                </c:pt>
                <c:pt idx="1">
                  <c:v>74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DE0-4B4E-930D-4AA21962CF9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15"/>
        <c:axId val="346725104"/>
        <c:axId val="346731944"/>
      </c:barChart>
      <c:catAx>
        <c:axId val="346725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46731944"/>
        <c:crosses val="autoZero"/>
        <c:auto val="1"/>
        <c:lblAlgn val="ctr"/>
        <c:lblOffset val="100"/>
        <c:noMultiLvlLbl val="0"/>
      </c:catAx>
      <c:valAx>
        <c:axId val="346731944"/>
        <c:scaling>
          <c:orientation val="minMax"/>
          <c:max val="10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sz="1200" b="1" dirty="0">
                    <a:solidFill>
                      <a:schemeClr val="tx1"/>
                    </a:solidFill>
                  </a:rPr>
                  <a:t>Patient*innen,</a:t>
                </a:r>
                <a:r>
                  <a:rPr lang="de-DE" sz="1200" b="1" baseline="0" dirty="0">
                    <a:solidFill>
                      <a:schemeClr val="tx1"/>
                    </a:solidFill>
                  </a:rPr>
                  <a:t> %</a:t>
                </a:r>
                <a:endParaRPr lang="de-DE" sz="1200" b="1" dirty="0">
                  <a:solidFill>
                    <a:schemeClr val="tx1"/>
                  </a:solidFill>
                </a:endParaRPr>
              </a:p>
            </c:rich>
          </c:tx>
          <c:layout>
            <c:manualLayout>
              <c:xMode val="edge"/>
              <c:yMode val="edge"/>
              <c:x val="7.0390900461079434E-3"/>
              <c:y val="0.1595428105979591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467251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905393C-279E-C9B0-6414-753F3C5AC3C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9E548BD-3BF5-C546-597C-CDDEBB506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1294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4C5D6D29-B0AC-4F17-B48C-0DD4C2CD20D2}" type="datetimeFigureOut">
              <a:rPr lang="en-GB" smtClean="0"/>
              <a:t>06/11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599E39-A58A-EE61-F03E-E373F660B4B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CA5418-7089-7ED5-A1DA-A7670647F24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1294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AFEE6E49-F2EA-4DFD-BA31-A3CAB8E0D7E3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3150165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3224" userDrawn="1">
          <p15:clr>
            <a:srgbClr val="F26B43"/>
          </p15:clr>
        </p15:guide>
        <p15:guide id="2" pos="2236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333B3FB0-12FC-4420-880E-3E7AA3DB0BD4}" type="datetimeFigureOut">
              <a:rPr lang="en-GB" smtClean="0"/>
              <a:t>06/11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925407"/>
            <a:ext cx="5679440" cy="4029879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3E5F80CA-0B62-4806-84EF-87D648B4ECD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5538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677816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9F0D99-EACF-C153-FC6D-562B68EFBB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CFA28E8C-C2EC-A311-793A-F614B89E998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D4D07740-1757-FD3B-EED9-03A3DE1A073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76ED86-B398-0B19-4960-BADB7755B6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90478">
              <a:defRPr/>
            </a:pPr>
            <a:fld id="{3E5F80CA-0B62-4806-84EF-87D648B4ECD5}" type="slidenum">
              <a:rPr lang="en-GB">
                <a:solidFill>
                  <a:prstClr val="black"/>
                </a:solidFill>
                <a:latin typeface="Calibri" panose="020F0502020204030204"/>
              </a:rPr>
              <a:pPr defTabSz="990478">
                <a:defRPr/>
              </a:pPr>
              <a:t>10</a:t>
            </a:fld>
            <a:endParaRPr lang="en-GB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59621187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26A3FC-5FF9-A3EB-65D1-8D905F434F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CFE0E30-4F34-947C-9B37-F2B10F8F25E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4149A325-76D6-B5E1-C14C-9B9B4DE59BF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i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3A8B522-9983-8605-FD6A-A6C96258833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1073183">
              <a:defRPr/>
            </a:pPr>
            <a:fld id="{3E5F80CA-0B62-4806-84EF-87D648B4ECD5}" type="slidenum">
              <a:rPr lang="en-GB" sz="1400">
                <a:solidFill>
                  <a:prstClr val="black"/>
                </a:solidFill>
                <a:latin typeface="Calibri" panose="020F0502020204030204"/>
              </a:rPr>
              <a:pPr defTabSz="1073183">
                <a:defRPr/>
              </a:pPr>
              <a:t>11</a:t>
            </a:fld>
            <a:endParaRPr lang="en-GB" sz="140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179276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DF1B24-FDC1-B2D9-A0AB-080E2352D7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2EF5E59-5C73-E04D-E3F7-C70EE74C2CD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2E3C714-D19A-CD98-CE9C-8EB69873FD7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61B49E-476C-A60F-22FB-01787EEB184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90478">
              <a:defRPr/>
            </a:pPr>
            <a:fld id="{9229776C-762A-41A8-BB43-2EB160297806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90478">
                <a:defRPr/>
              </a:pPr>
              <a:t>12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13268904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44455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996060-8CA6-3A78-431A-B949F4524E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B2D59A7B-54C5-B670-1697-E651716C142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1D1ECF35-4167-539D-D8AA-E8A384A7762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8080031-27E3-B7C5-BCB6-06CE73A28D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90478">
              <a:defRPr/>
            </a:pPr>
            <a:fld id="{3E5F80CA-0B62-4806-84EF-87D648B4ECD5}" type="slidenum">
              <a:rPr lang="en-GB">
                <a:solidFill>
                  <a:prstClr val="black"/>
                </a:solidFill>
                <a:latin typeface="Calibri" panose="020F0502020204030204"/>
              </a:rPr>
              <a:pPr defTabSz="990478">
                <a:defRPr/>
              </a:pPr>
              <a:t>2</a:t>
            </a:fld>
            <a:endParaRPr lang="en-GB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8826298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54CFCE-9FF1-D9E4-ACC0-D90D861E42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95A42D7C-7147-D57A-7064-33A9DA812F8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F0DB79BC-8728-92E6-8E10-85B738E0FC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i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AC34C7C-80C0-AD17-7AC9-FE890B0F19C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1073183">
              <a:defRPr/>
            </a:pPr>
            <a:fld id="{3E5F80CA-0B62-4806-84EF-87D648B4ECD5}" type="slidenum">
              <a:rPr lang="en-GB" sz="1400">
                <a:solidFill>
                  <a:prstClr val="black"/>
                </a:solidFill>
                <a:latin typeface="Calibri" panose="020F0502020204030204"/>
              </a:rPr>
              <a:pPr defTabSz="1073183">
                <a:defRPr/>
              </a:pPr>
              <a:t>3</a:t>
            </a:fld>
            <a:endParaRPr lang="en-GB" sz="140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776971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EFB4A6-1295-AC4D-CF08-CB85C2A782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2D7022FE-07AD-1931-A761-26A63CFDD59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C953687A-C8AD-2A3C-F525-1FCAF334CEE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4645DCF-EC79-B8DE-71DF-2185DBD500C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90478">
              <a:defRPr/>
            </a:pPr>
            <a:fld id="{3E5F80CA-0B62-4806-84EF-87D648B4ECD5}" type="slidenum">
              <a:rPr lang="en-GB" sz="1400">
                <a:solidFill>
                  <a:prstClr val="black"/>
                </a:solidFill>
                <a:latin typeface="Calibri" panose="020F0502020204030204"/>
              </a:rPr>
              <a:pPr defTabSz="990478">
                <a:defRPr/>
              </a:pPr>
              <a:t>4</a:t>
            </a:fld>
            <a:endParaRPr lang="en-GB" sz="140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994875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D715B5-FC76-3AEE-85DC-BD6F5B9F4F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62857C8F-D1D8-4BA4-0281-23089AE6E27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D7966756-0705-1C2B-1136-1074078691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774DCD2-24C2-ABD2-DB51-C26B951A13A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90478">
              <a:defRPr/>
            </a:pPr>
            <a:fld id="{3E5F80CA-0B62-4806-84EF-87D648B4ECD5}" type="slidenum">
              <a:rPr lang="en-GB">
                <a:solidFill>
                  <a:prstClr val="black"/>
                </a:solidFill>
                <a:latin typeface="Calibri" panose="020F0502020204030204"/>
              </a:rPr>
              <a:pPr defTabSz="990478">
                <a:defRPr/>
              </a:pPr>
              <a:t>5</a:t>
            </a:fld>
            <a:endParaRPr lang="en-GB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2692481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A9455F-A172-8A21-D07D-4113113C46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2293D6A8-8707-D8A8-0726-E15425FBAAC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E126B142-FD7C-0B22-2149-66B02E9680E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90478">
              <a:defRPr/>
            </a:pPr>
            <a:endParaRPr lang="de-DE" sz="1300" dirty="0">
              <a:solidFill>
                <a:srgbClr val="002068"/>
              </a:solidFill>
              <a:latin typeface="Arial" panose="020B0604020202020204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E40EF43-EB1F-2E99-A97C-B5A26C3B6B3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1073183">
              <a:defRPr/>
            </a:pPr>
            <a:fld id="{3E5F80CA-0B62-4806-84EF-87D648B4ECD5}" type="slidenum">
              <a:rPr lang="en-GB" sz="1400">
                <a:solidFill>
                  <a:prstClr val="black"/>
                </a:solidFill>
                <a:latin typeface="Calibri" panose="020F0502020204030204"/>
              </a:rPr>
              <a:pPr defTabSz="1073183">
                <a:defRPr/>
              </a:pPr>
              <a:t>6</a:t>
            </a:fld>
            <a:endParaRPr lang="en-GB" sz="140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7969460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556CAC-7A7E-37A4-AC70-0CDC1D4533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82A87DA0-35E3-CD56-FED5-C897472AB17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8FBD97F-8B97-B9A6-5711-74A48832892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i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0756B11-B2BD-FCBB-518D-D4D764045A2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1073183">
              <a:defRPr/>
            </a:pPr>
            <a:fld id="{3E5F80CA-0B62-4806-84EF-87D648B4ECD5}" type="slidenum">
              <a:rPr lang="en-GB" sz="1400">
                <a:solidFill>
                  <a:prstClr val="black"/>
                </a:solidFill>
                <a:latin typeface="Calibri" panose="020F0502020204030204"/>
              </a:rPr>
              <a:pPr defTabSz="1073183">
                <a:defRPr/>
              </a:pPr>
              <a:t>7</a:t>
            </a:fld>
            <a:endParaRPr lang="en-GB" sz="140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1549917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29776C-762A-41A8-BB43-2EB160297806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44505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29776C-762A-41A8-BB43-2EB160297806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70720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Image)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1" descr="A yellow and orange curved object&#10;&#10;Description automatically generated">
            <a:extLst>
              <a:ext uri="{FF2B5EF4-FFF2-40B4-BE49-F238E27FC236}">
                <a16:creationId xmlns:a16="http://schemas.microsoft.com/office/drawing/2014/main" id="{07C4262D-922A-2725-8808-A732A2277E2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2613" y="-1"/>
            <a:ext cx="5829388" cy="4260915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CF3EA86-16EB-319B-4E59-5E2806AF7B7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396052" y="1140643"/>
            <a:ext cx="4795948" cy="5712595"/>
          </a:xfrm>
          <a:custGeom>
            <a:avLst/>
            <a:gdLst>
              <a:gd name="connsiteX0" fmla="*/ 1269090 w 3292262"/>
              <a:gd name="connsiteY0" fmla="*/ 142 h 3921510"/>
              <a:gd name="connsiteX1" fmla="*/ 1586011 w 3292262"/>
              <a:gd name="connsiteY1" fmla="*/ 45942 h 3921510"/>
              <a:gd name="connsiteX2" fmla="*/ 1602376 w 3292262"/>
              <a:gd name="connsiteY2" fmla="*/ 51394 h 3921510"/>
              <a:gd name="connsiteX3" fmla="*/ 1612194 w 3292262"/>
              <a:gd name="connsiteY3" fmla="*/ 53575 h 3921510"/>
              <a:gd name="connsiteX4" fmla="*/ 1968936 w 3292262"/>
              <a:gd name="connsiteY4" fmla="*/ 153900 h 3921510"/>
              <a:gd name="connsiteX5" fmla="*/ 3292262 w 3292262"/>
              <a:gd name="connsiteY5" fmla="*/ 523573 h 3921510"/>
              <a:gd name="connsiteX6" fmla="*/ 3292262 w 3292262"/>
              <a:gd name="connsiteY6" fmla="*/ 3921510 h 3921510"/>
              <a:gd name="connsiteX7" fmla="*/ 301960 w 3292262"/>
              <a:gd name="connsiteY7" fmla="*/ 3921510 h 3921510"/>
              <a:gd name="connsiteX8" fmla="*/ 661974 w 3292262"/>
              <a:gd name="connsiteY8" fmla="*/ 3351189 h 3921510"/>
              <a:gd name="connsiteX9" fmla="*/ 671793 w 3292262"/>
              <a:gd name="connsiteY9" fmla="*/ 3313022 h 3921510"/>
              <a:gd name="connsiteX10" fmla="*/ 673975 w 3292262"/>
              <a:gd name="connsiteY10" fmla="*/ 2685996 h 3921510"/>
              <a:gd name="connsiteX11" fmla="*/ 370690 w 3292262"/>
              <a:gd name="connsiteY11" fmla="*/ 2136393 h 3921510"/>
              <a:gd name="connsiteX12" fmla="*/ 342325 w 3292262"/>
              <a:gd name="connsiteY12" fmla="*/ 2108041 h 3921510"/>
              <a:gd name="connsiteX13" fmla="*/ 39040 w 3292262"/>
              <a:gd name="connsiteY13" fmla="*/ 1559529 h 3921510"/>
              <a:gd name="connsiteX14" fmla="*/ 41222 w 3292262"/>
              <a:gd name="connsiteY14" fmla="*/ 931412 h 3921510"/>
              <a:gd name="connsiteX15" fmla="*/ 52131 w 3292262"/>
              <a:gd name="connsiteY15" fmla="*/ 893245 h 3921510"/>
              <a:gd name="connsiteX16" fmla="*/ 939076 w 3292262"/>
              <a:gd name="connsiteY16" fmla="*/ 39399 h 3921510"/>
              <a:gd name="connsiteX17" fmla="*/ 1269090 w 3292262"/>
              <a:gd name="connsiteY17" fmla="*/ 142 h 3921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3292262" h="3921510">
                <a:moveTo>
                  <a:pt x="1269090" y="142"/>
                </a:moveTo>
                <a:cubicBezTo>
                  <a:pt x="1377639" y="1778"/>
                  <a:pt x="1484007" y="17590"/>
                  <a:pt x="1586011" y="45942"/>
                </a:cubicBezTo>
                <a:cubicBezTo>
                  <a:pt x="1591466" y="48123"/>
                  <a:pt x="1596921" y="49214"/>
                  <a:pt x="1602376" y="51394"/>
                </a:cubicBezTo>
                <a:cubicBezTo>
                  <a:pt x="1605649" y="51394"/>
                  <a:pt x="1608921" y="52485"/>
                  <a:pt x="1612194" y="53575"/>
                </a:cubicBezTo>
                <a:cubicBezTo>
                  <a:pt x="1744200" y="90652"/>
                  <a:pt x="1863114" y="123366"/>
                  <a:pt x="1968936" y="153900"/>
                </a:cubicBezTo>
                <a:cubicBezTo>
                  <a:pt x="2574415" y="322924"/>
                  <a:pt x="2807879" y="388353"/>
                  <a:pt x="3292262" y="523573"/>
                </a:cubicBezTo>
                <a:cubicBezTo>
                  <a:pt x="3292262" y="3921510"/>
                  <a:pt x="3292262" y="3921510"/>
                  <a:pt x="3292262" y="3921510"/>
                </a:cubicBezTo>
                <a:lnTo>
                  <a:pt x="301960" y="3921510"/>
                </a:lnTo>
                <a:cubicBezTo>
                  <a:pt x="472148" y="3767752"/>
                  <a:pt x="596517" y="3570375"/>
                  <a:pt x="661974" y="3351189"/>
                </a:cubicBezTo>
                <a:cubicBezTo>
                  <a:pt x="665247" y="3338103"/>
                  <a:pt x="669611" y="3326108"/>
                  <a:pt x="671793" y="3313022"/>
                </a:cubicBezTo>
                <a:cubicBezTo>
                  <a:pt x="725249" y="3113464"/>
                  <a:pt x="728522" y="2898639"/>
                  <a:pt x="673975" y="2685996"/>
                </a:cubicBezTo>
                <a:cubicBezTo>
                  <a:pt x="619427" y="2472261"/>
                  <a:pt x="512514" y="2285789"/>
                  <a:pt x="370690" y="2136393"/>
                </a:cubicBezTo>
                <a:cubicBezTo>
                  <a:pt x="361962" y="2126579"/>
                  <a:pt x="352143" y="2116765"/>
                  <a:pt x="342325" y="2108041"/>
                </a:cubicBezTo>
                <a:cubicBezTo>
                  <a:pt x="200501" y="1958645"/>
                  <a:pt x="94678" y="1772173"/>
                  <a:pt x="39040" y="1559529"/>
                </a:cubicBezTo>
                <a:cubicBezTo>
                  <a:pt x="-15508" y="1345795"/>
                  <a:pt x="-11144" y="1130970"/>
                  <a:pt x="41222" y="931412"/>
                </a:cubicBezTo>
                <a:cubicBezTo>
                  <a:pt x="44495" y="919417"/>
                  <a:pt x="48858" y="906331"/>
                  <a:pt x="52131" y="893245"/>
                </a:cubicBezTo>
                <a:cubicBezTo>
                  <a:pt x="173227" y="487587"/>
                  <a:pt x="498331" y="152809"/>
                  <a:pt x="939076" y="39399"/>
                </a:cubicBezTo>
                <a:cubicBezTo>
                  <a:pt x="1049808" y="11047"/>
                  <a:pt x="1160540" y="-1494"/>
                  <a:pt x="1269090" y="142"/>
                </a:cubicBezTo>
                <a:close/>
              </a:path>
            </a:pathLst>
          </a:custGeom>
        </p:spPr>
        <p:txBody>
          <a:bodyPr wrap="square" tIns="1548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B56A187-5C21-6D84-21C3-FDB317F97CE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5554587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Pink, Image)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 descr="A colorful background with circles&#10;&#10;Description automatically generated with medium confidence">
            <a:extLst>
              <a:ext uri="{FF2B5EF4-FFF2-40B4-BE49-F238E27FC236}">
                <a16:creationId xmlns:a16="http://schemas.microsoft.com/office/drawing/2014/main" id="{553CAFF3-88CC-A44E-5E3C-DD2FD58608B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0495" y="2315189"/>
            <a:ext cx="3404695" cy="4543836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7A3F113-29C8-F197-A2C1-B43918C6C9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48953" y="-5786"/>
            <a:ext cx="5847811" cy="4749490"/>
          </a:xfrm>
          <a:custGeom>
            <a:avLst/>
            <a:gdLst>
              <a:gd name="connsiteX0" fmla="*/ 1348177 w 5886451"/>
              <a:gd name="connsiteY0" fmla="*/ 0 h 4780873"/>
              <a:gd name="connsiteX1" fmla="*/ 5886451 w 5886451"/>
              <a:gd name="connsiteY1" fmla="*/ 0 h 4780873"/>
              <a:gd name="connsiteX2" fmla="*/ 5886451 w 5886451"/>
              <a:gd name="connsiteY2" fmla="*/ 2351144 h 4780873"/>
              <a:gd name="connsiteX3" fmla="*/ 3685444 w 5886451"/>
              <a:gd name="connsiteY3" fmla="*/ 4780873 h 4780873"/>
              <a:gd name="connsiteX4" fmla="*/ 3685444 w 5886451"/>
              <a:gd name="connsiteY4" fmla="*/ 4777665 h 4780873"/>
              <a:gd name="connsiteX5" fmla="*/ 3685444 w 5886451"/>
              <a:gd name="connsiteY5" fmla="*/ 4776061 h 4780873"/>
              <a:gd name="connsiteX6" fmla="*/ 3520329 w 5886451"/>
              <a:gd name="connsiteY6" fmla="*/ 4181058 h 4780873"/>
              <a:gd name="connsiteX7" fmla="*/ 3087501 w 5886451"/>
              <a:gd name="connsiteY7" fmla="*/ 3740018 h 4780873"/>
              <a:gd name="connsiteX8" fmla="*/ 3053837 w 5886451"/>
              <a:gd name="connsiteY8" fmla="*/ 3720773 h 4780873"/>
              <a:gd name="connsiteX9" fmla="*/ 1845127 w 5886451"/>
              <a:gd name="connsiteY9" fmla="*/ 3728792 h 4780873"/>
              <a:gd name="connsiteX10" fmla="*/ 1841921 w 5886451"/>
              <a:gd name="connsiteY10" fmla="*/ 3730396 h 4780873"/>
              <a:gd name="connsiteX11" fmla="*/ 1777798 w 5886451"/>
              <a:gd name="connsiteY11" fmla="*/ 3765679 h 4780873"/>
              <a:gd name="connsiteX12" fmla="*/ 1750546 w 5886451"/>
              <a:gd name="connsiteY12" fmla="*/ 3780113 h 4780873"/>
              <a:gd name="connsiteX13" fmla="*/ 1721691 w 5886451"/>
              <a:gd name="connsiteY13" fmla="*/ 3791339 h 4780873"/>
              <a:gd name="connsiteX14" fmla="*/ 1694439 w 5886451"/>
              <a:gd name="connsiteY14" fmla="*/ 3804170 h 4780873"/>
              <a:gd name="connsiteX15" fmla="*/ 1665584 w 5886451"/>
              <a:gd name="connsiteY15" fmla="*/ 3815396 h 4780873"/>
              <a:gd name="connsiteX16" fmla="*/ 1636729 w 5886451"/>
              <a:gd name="connsiteY16" fmla="*/ 3826623 h 4780873"/>
              <a:gd name="connsiteX17" fmla="*/ 1607873 w 5886451"/>
              <a:gd name="connsiteY17" fmla="*/ 3836245 h 4780873"/>
              <a:gd name="connsiteX18" fmla="*/ 1149397 w 5886451"/>
              <a:gd name="connsiteY18" fmla="*/ 3893981 h 4780873"/>
              <a:gd name="connsiteX19" fmla="*/ 1120542 w 5886451"/>
              <a:gd name="connsiteY19" fmla="*/ 3890774 h 4780873"/>
              <a:gd name="connsiteX20" fmla="*/ 1091687 w 5886451"/>
              <a:gd name="connsiteY20" fmla="*/ 3887566 h 4780873"/>
              <a:gd name="connsiteX21" fmla="*/ 1090084 w 5886451"/>
              <a:gd name="connsiteY21" fmla="*/ 3887566 h 4780873"/>
              <a:gd name="connsiteX22" fmla="*/ 1064435 w 5886451"/>
              <a:gd name="connsiteY22" fmla="*/ 3884359 h 4780873"/>
              <a:gd name="connsiteX23" fmla="*/ 1061229 w 5886451"/>
              <a:gd name="connsiteY23" fmla="*/ 3884359 h 4780873"/>
              <a:gd name="connsiteX24" fmla="*/ 1045198 w 5886451"/>
              <a:gd name="connsiteY24" fmla="*/ 3881151 h 4780873"/>
              <a:gd name="connsiteX25" fmla="*/ 1043595 w 5886451"/>
              <a:gd name="connsiteY25" fmla="*/ 3881151 h 4780873"/>
              <a:gd name="connsiteX26" fmla="*/ 1035579 w 5886451"/>
              <a:gd name="connsiteY26" fmla="*/ 3881151 h 4780873"/>
              <a:gd name="connsiteX27" fmla="*/ 1030770 w 5886451"/>
              <a:gd name="connsiteY27" fmla="*/ 3879547 h 4780873"/>
              <a:gd name="connsiteX28" fmla="*/ 1019549 w 5886451"/>
              <a:gd name="connsiteY28" fmla="*/ 3877944 h 4780873"/>
              <a:gd name="connsiteX29" fmla="*/ 1013137 w 5886451"/>
              <a:gd name="connsiteY29" fmla="*/ 3876340 h 4780873"/>
              <a:gd name="connsiteX30" fmla="*/ 1006724 w 5886451"/>
              <a:gd name="connsiteY30" fmla="*/ 3876340 h 4780873"/>
              <a:gd name="connsiteX31" fmla="*/ 1000312 w 5886451"/>
              <a:gd name="connsiteY31" fmla="*/ 3874736 h 4780873"/>
              <a:gd name="connsiteX32" fmla="*/ 992297 w 5886451"/>
              <a:gd name="connsiteY32" fmla="*/ 3873132 h 4780873"/>
              <a:gd name="connsiteX33" fmla="*/ 984281 w 5886451"/>
              <a:gd name="connsiteY33" fmla="*/ 3871528 h 4780873"/>
              <a:gd name="connsiteX34" fmla="*/ 979472 w 5886451"/>
              <a:gd name="connsiteY34" fmla="*/ 3869925 h 4780873"/>
              <a:gd name="connsiteX35" fmla="*/ 971457 w 5886451"/>
              <a:gd name="connsiteY35" fmla="*/ 3868321 h 4780873"/>
              <a:gd name="connsiteX36" fmla="*/ 966648 w 5886451"/>
              <a:gd name="connsiteY36" fmla="*/ 3866717 h 4780873"/>
              <a:gd name="connsiteX37" fmla="*/ 955426 w 5886451"/>
              <a:gd name="connsiteY37" fmla="*/ 3865113 h 4780873"/>
              <a:gd name="connsiteX38" fmla="*/ 950617 w 5886451"/>
              <a:gd name="connsiteY38" fmla="*/ 3863510 h 4780873"/>
              <a:gd name="connsiteX39" fmla="*/ 940999 w 5886451"/>
              <a:gd name="connsiteY39" fmla="*/ 3861906 h 4780873"/>
              <a:gd name="connsiteX40" fmla="*/ 937793 w 5886451"/>
              <a:gd name="connsiteY40" fmla="*/ 3860302 h 4780873"/>
              <a:gd name="connsiteX41" fmla="*/ 926571 w 5886451"/>
              <a:gd name="connsiteY41" fmla="*/ 3858698 h 4780873"/>
              <a:gd name="connsiteX42" fmla="*/ 923365 w 5886451"/>
              <a:gd name="connsiteY42" fmla="*/ 3857094 h 4780873"/>
              <a:gd name="connsiteX43" fmla="*/ 897716 w 5886451"/>
              <a:gd name="connsiteY43" fmla="*/ 3850679 h 4780873"/>
              <a:gd name="connsiteX44" fmla="*/ 894510 w 5886451"/>
              <a:gd name="connsiteY44" fmla="*/ 3849075 h 4780873"/>
              <a:gd name="connsiteX45" fmla="*/ 867258 w 5886451"/>
              <a:gd name="connsiteY45" fmla="*/ 3841057 h 4780873"/>
              <a:gd name="connsiteX46" fmla="*/ 630004 w 5886451"/>
              <a:gd name="connsiteY46" fmla="*/ 3740018 h 4780873"/>
              <a:gd name="connsiteX47" fmla="*/ 581912 w 5886451"/>
              <a:gd name="connsiteY47" fmla="*/ 3711150 h 4780873"/>
              <a:gd name="connsiteX48" fmla="*/ 578706 w 5886451"/>
              <a:gd name="connsiteY48" fmla="*/ 3709547 h 4780873"/>
              <a:gd name="connsiteX49" fmla="*/ 569088 w 5886451"/>
              <a:gd name="connsiteY49" fmla="*/ 3704735 h 4780873"/>
              <a:gd name="connsiteX50" fmla="*/ 562676 w 5886451"/>
              <a:gd name="connsiteY50" fmla="*/ 3699924 h 4780873"/>
              <a:gd name="connsiteX51" fmla="*/ 559469 w 5886451"/>
              <a:gd name="connsiteY51" fmla="*/ 3698320 h 4780873"/>
              <a:gd name="connsiteX52" fmla="*/ 163513 w 5886451"/>
              <a:gd name="connsiteY52" fmla="*/ 3281337 h 4780873"/>
              <a:gd name="connsiteX53" fmla="*/ 0 w 5886451"/>
              <a:gd name="connsiteY53" fmla="*/ 2687938 h 4780873"/>
              <a:gd name="connsiteX54" fmla="*/ 0 w 5886451"/>
              <a:gd name="connsiteY54" fmla="*/ 2649447 h 4780873"/>
              <a:gd name="connsiteX55" fmla="*/ 0 w 5886451"/>
              <a:gd name="connsiteY55" fmla="*/ 2647843 h 4780873"/>
              <a:gd name="connsiteX56" fmla="*/ 176337 w 5886451"/>
              <a:gd name="connsiteY56" fmla="*/ 2031991 h 4780873"/>
              <a:gd name="connsiteX57" fmla="*/ 1348177 w 5886451"/>
              <a:gd name="connsiteY57" fmla="*/ 0 h 4780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5886451" h="4780873">
                <a:moveTo>
                  <a:pt x="1348177" y="0"/>
                </a:moveTo>
                <a:cubicBezTo>
                  <a:pt x="1348177" y="0"/>
                  <a:pt x="1348177" y="0"/>
                  <a:pt x="5886451" y="0"/>
                </a:cubicBezTo>
                <a:cubicBezTo>
                  <a:pt x="5886451" y="0"/>
                  <a:pt x="5886451" y="0"/>
                  <a:pt x="5886451" y="2351144"/>
                </a:cubicBezTo>
                <a:cubicBezTo>
                  <a:pt x="4653695" y="2477842"/>
                  <a:pt x="3693460" y="3517093"/>
                  <a:pt x="3685444" y="4780873"/>
                </a:cubicBezTo>
                <a:lnTo>
                  <a:pt x="3685444" y="4777665"/>
                </a:lnTo>
                <a:cubicBezTo>
                  <a:pt x="3685444" y="4777665"/>
                  <a:pt x="3685444" y="4776061"/>
                  <a:pt x="3685444" y="4776061"/>
                </a:cubicBezTo>
                <a:cubicBezTo>
                  <a:pt x="3682238" y="4573985"/>
                  <a:pt x="3629337" y="4368701"/>
                  <a:pt x="3520329" y="4181058"/>
                </a:cubicBezTo>
                <a:cubicBezTo>
                  <a:pt x="3412923" y="3993416"/>
                  <a:pt x="3262235" y="3844264"/>
                  <a:pt x="3087501" y="3740018"/>
                </a:cubicBezTo>
                <a:cubicBezTo>
                  <a:pt x="3076280" y="3733603"/>
                  <a:pt x="3065058" y="3727188"/>
                  <a:pt x="3053837" y="3720773"/>
                </a:cubicBezTo>
                <a:cubicBezTo>
                  <a:pt x="2689942" y="3518697"/>
                  <a:pt x="2231465" y="3507470"/>
                  <a:pt x="1845127" y="3728792"/>
                </a:cubicBezTo>
                <a:cubicBezTo>
                  <a:pt x="1843524" y="3730396"/>
                  <a:pt x="1843524" y="3730396"/>
                  <a:pt x="1841921" y="3730396"/>
                </a:cubicBezTo>
                <a:cubicBezTo>
                  <a:pt x="1821081" y="3743226"/>
                  <a:pt x="1800241" y="3754452"/>
                  <a:pt x="1777798" y="3765679"/>
                </a:cubicBezTo>
                <a:cubicBezTo>
                  <a:pt x="1769783" y="3770490"/>
                  <a:pt x="1760164" y="3775302"/>
                  <a:pt x="1750546" y="3780113"/>
                </a:cubicBezTo>
                <a:cubicBezTo>
                  <a:pt x="1740928" y="3783320"/>
                  <a:pt x="1731309" y="3788132"/>
                  <a:pt x="1721691" y="3791339"/>
                </a:cubicBezTo>
                <a:cubicBezTo>
                  <a:pt x="1713676" y="3796151"/>
                  <a:pt x="1704057" y="3799358"/>
                  <a:pt x="1694439" y="3804170"/>
                </a:cubicBezTo>
                <a:cubicBezTo>
                  <a:pt x="1684820" y="3807377"/>
                  <a:pt x="1675202" y="3812189"/>
                  <a:pt x="1665584" y="3815396"/>
                </a:cubicBezTo>
                <a:cubicBezTo>
                  <a:pt x="1655965" y="3818604"/>
                  <a:pt x="1646347" y="3821811"/>
                  <a:pt x="1636729" y="3826623"/>
                </a:cubicBezTo>
                <a:cubicBezTo>
                  <a:pt x="1627110" y="3829830"/>
                  <a:pt x="1617492" y="3833038"/>
                  <a:pt x="1607873" y="3836245"/>
                </a:cubicBezTo>
                <a:cubicBezTo>
                  <a:pt x="1457185" y="3884359"/>
                  <a:pt x="1303291" y="3903604"/>
                  <a:pt x="1149397" y="3893981"/>
                </a:cubicBezTo>
                <a:cubicBezTo>
                  <a:pt x="1139779" y="3892378"/>
                  <a:pt x="1130160" y="3892378"/>
                  <a:pt x="1120542" y="3890774"/>
                </a:cubicBezTo>
                <a:cubicBezTo>
                  <a:pt x="1110924" y="3890774"/>
                  <a:pt x="1101305" y="3889170"/>
                  <a:pt x="1091687" y="3887566"/>
                </a:cubicBezTo>
                <a:cubicBezTo>
                  <a:pt x="1091687" y="3887566"/>
                  <a:pt x="1091687" y="3887566"/>
                  <a:pt x="1090084" y="3887566"/>
                </a:cubicBezTo>
                <a:cubicBezTo>
                  <a:pt x="1082068" y="3887566"/>
                  <a:pt x="1072450" y="3885962"/>
                  <a:pt x="1064435" y="3884359"/>
                </a:cubicBezTo>
                <a:cubicBezTo>
                  <a:pt x="1064435" y="3884359"/>
                  <a:pt x="1064435" y="3884359"/>
                  <a:pt x="1061229" y="3884359"/>
                </a:cubicBezTo>
                <a:cubicBezTo>
                  <a:pt x="1054816" y="3882755"/>
                  <a:pt x="1050007" y="3882755"/>
                  <a:pt x="1045198" y="3881151"/>
                </a:cubicBezTo>
                <a:cubicBezTo>
                  <a:pt x="1043595" y="3881151"/>
                  <a:pt x="1043595" y="3881151"/>
                  <a:pt x="1043595" y="3881151"/>
                </a:cubicBezTo>
                <a:cubicBezTo>
                  <a:pt x="1040389" y="3881151"/>
                  <a:pt x="1038786" y="3881151"/>
                  <a:pt x="1035579" y="3881151"/>
                </a:cubicBezTo>
                <a:cubicBezTo>
                  <a:pt x="1033976" y="3879547"/>
                  <a:pt x="1032373" y="3879547"/>
                  <a:pt x="1030770" y="3879547"/>
                </a:cubicBezTo>
                <a:cubicBezTo>
                  <a:pt x="1027564" y="3879547"/>
                  <a:pt x="1022755" y="3877944"/>
                  <a:pt x="1019549" y="3877944"/>
                </a:cubicBezTo>
                <a:cubicBezTo>
                  <a:pt x="1017946" y="3877944"/>
                  <a:pt x="1016343" y="3877944"/>
                  <a:pt x="1013137" y="3876340"/>
                </a:cubicBezTo>
                <a:cubicBezTo>
                  <a:pt x="1011534" y="3876340"/>
                  <a:pt x="1009931" y="3876340"/>
                  <a:pt x="1006724" y="3876340"/>
                </a:cubicBezTo>
                <a:cubicBezTo>
                  <a:pt x="1005121" y="3874736"/>
                  <a:pt x="1003518" y="3874736"/>
                  <a:pt x="1000312" y="3874736"/>
                </a:cubicBezTo>
                <a:cubicBezTo>
                  <a:pt x="998709" y="3874736"/>
                  <a:pt x="995503" y="3873132"/>
                  <a:pt x="992297" y="3873132"/>
                </a:cubicBezTo>
                <a:cubicBezTo>
                  <a:pt x="990694" y="3873132"/>
                  <a:pt x="987488" y="3871528"/>
                  <a:pt x="984281" y="3871528"/>
                </a:cubicBezTo>
                <a:cubicBezTo>
                  <a:pt x="982679" y="3871528"/>
                  <a:pt x="981076" y="3869925"/>
                  <a:pt x="979472" y="3869925"/>
                </a:cubicBezTo>
                <a:cubicBezTo>
                  <a:pt x="976266" y="3869925"/>
                  <a:pt x="973060" y="3868321"/>
                  <a:pt x="971457" y="3868321"/>
                </a:cubicBezTo>
                <a:cubicBezTo>
                  <a:pt x="969854" y="3868321"/>
                  <a:pt x="968251" y="3868321"/>
                  <a:pt x="966648" y="3866717"/>
                </a:cubicBezTo>
                <a:cubicBezTo>
                  <a:pt x="961839" y="3866717"/>
                  <a:pt x="958632" y="3865113"/>
                  <a:pt x="955426" y="3865113"/>
                </a:cubicBezTo>
                <a:cubicBezTo>
                  <a:pt x="953823" y="3865113"/>
                  <a:pt x="952220" y="3863510"/>
                  <a:pt x="950617" y="3863510"/>
                </a:cubicBezTo>
                <a:cubicBezTo>
                  <a:pt x="947411" y="3863510"/>
                  <a:pt x="944205" y="3861906"/>
                  <a:pt x="940999" y="3861906"/>
                </a:cubicBezTo>
                <a:cubicBezTo>
                  <a:pt x="939396" y="3861906"/>
                  <a:pt x="939396" y="3861906"/>
                  <a:pt x="937793" y="3860302"/>
                </a:cubicBezTo>
                <a:cubicBezTo>
                  <a:pt x="934586" y="3860302"/>
                  <a:pt x="929777" y="3858698"/>
                  <a:pt x="926571" y="3858698"/>
                </a:cubicBezTo>
                <a:cubicBezTo>
                  <a:pt x="924968" y="3857094"/>
                  <a:pt x="923365" y="3857094"/>
                  <a:pt x="923365" y="3857094"/>
                </a:cubicBezTo>
                <a:cubicBezTo>
                  <a:pt x="913747" y="3855491"/>
                  <a:pt x="905732" y="3852283"/>
                  <a:pt x="897716" y="3850679"/>
                </a:cubicBezTo>
                <a:cubicBezTo>
                  <a:pt x="896113" y="3850679"/>
                  <a:pt x="896113" y="3849075"/>
                  <a:pt x="894510" y="3849075"/>
                </a:cubicBezTo>
                <a:cubicBezTo>
                  <a:pt x="886495" y="3847472"/>
                  <a:pt x="876876" y="3844264"/>
                  <a:pt x="867258" y="3841057"/>
                </a:cubicBezTo>
                <a:cubicBezTo>
                  <a:pt x="785502" y="3817000"/>
                  <a:pt x="705348" y="3783320"/>
                  <a:pt x="630004" y="3740018"/>
                </a:cubicBezTo>
                <a:cubicBezTo>
                  <a:pt x="612371" y="3730396"/>
                  <a:pt x="596340" y="3720773"/>
                  <a:pt x="581912" y="3711150"/>
                </a:cubicBezTo>
                <a:cubicBezTo>
                  <a:pt x="580309" y="3711150"/>
                  <a:pt x="580309" y="3711150"/>
                  <a:pt x="578706" y="3709547"/>
                </a:cubicBezTo>
                <a:cubicBezTo>
                  <a:pt x="575500" y="3707943"/>
                  <a:pt x="572294" y="3706339"/>
                  <a:pt x="569088" y="3704735"/>
                </a:cubicBezTo>
                <a:cubicBezTo>
                  <a:pt x="567485" y="3703131"/>
                  <a:pt x="564279" y="3701528"/>
                  <a:pt x="562676" y="3699924"/>
                </a:cubicBezTo>
                <a:cubicBezTo>
                  <a:pt x="561073" y="3698320"/>
                  <a:pt x="559469" y="3698320"/>
                  <a:pt x="559469" y="3698320"/>
                </a:cubicBezTo>
                <a:cubicBezTo>
                  <a:pt x="400766" y="3595678"/>
                  <a:pt x="264506" y="3454545"/>
                  <a:pt x="163513" y="3281337"/>
                </a:cubicBezTo>
                <a:cubicBezTo>
                  <a:pt x="56107" y="3093694"/>
                  <a:pt x="3206" y="2890014"/>
                  <a:pt x="0" y="2687938"/>
                </a:cubicBezTo>
                <a:cubicBezTo>
                  <a:pt x="0" y="2675108"/>
                  <a:pt x="0" y="2662277"/>
                  <a:pt x="0" y="2649447"/>
                </a:cubicBezTo>
                <a:cubicBezTo>
                  <a:pt x="0" y="2647843"/>
                  <a:pt x="0" y="2647843"/>
                  <a:pt x="0" y="2647843"/>
                </a:cubicBezTo>
                <a:cubicBezTo>
                  <a:pt x="3206" y="2429729"/>
                  <a:pt x="64123" y="2218030"/>
                  <a:pt x="176337" y="2031991"/>
                </a:cubicBezTo>
                <a:cubicBezTo>
                  <a:pt x="763059" y="1013590"/>
                  <a:pt x="782295" y="981514"/>
                  <a:pt x="1348177" y="0"/>
                </a:cubicBezTo>
                <a:close/>
              </a:path>
            </a:pathLst>
          </a:custGeom>
        </p:spPr>
        <p:txBody>
          <a:bodyPr wrap="square" tIns="1944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4C4DAE7-361A-9A7C-2ED8-C9B08AC3081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7645301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Image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510395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3" descr="A yellow and white wave&#10;&#10;Description automatically generated">
            <a:extLst>
              <a:ext uri="{FF2B5EF4-FFF2-40B4-BE49-F238E27FC236}">
                <a16:creationId xmlns:a16="http://schemas.microsoft.com/office/drawing/2014/main" id="{E3AE4C31-1513-8690-5A19-C5DAE722457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9406" y="3356815"/>
            <a:ext cx="4452594" cy="3501185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61892DA-CFC4-B8E3-39CB-54CC852A6B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56493" y="576296"/>
            <a:ext cx="6130366" cy="5583110"/>
          </a:xfrm>
          <a:custGeom>
            <a:avLst/>
            <a:gdLst>
              <a:gd name="connsiteX0" fmla="*/ 1801914 w 5494338"/>
              <a:gd name="connsiteY0" fmla="*/ 636 h 5003860"/>
              <a:gd name="connsiteX1" fmla="*/ 1846212 w 5494338"/>
              <a:gd name="connsiteY1" fmla="*/ 636 h 5003860"/>
              <a:gd name="connsiteX2" fmla="*/ 3645268 w 5494338"/>
              <a:gd name="connsiteY2" fmla="*/ 636 h 5003860"/>
              <a:gd name="connsiteX3" fmla="*/ 4108250 w 5494338"/>
              <a:gd name="connsiteY3" fmla="*/ 114958 h 5003860"/>
              <a:gd name="connsiteX4" fmla="*/ 4108250 w 5494338"/>
              <a:gd name="connsiteY4" fmla="*/ 116387 h 5003860"/>
              <a:gd name="connsiteX5" fmla="*/ 4163980 w 5494338"/>
              <a:gd name="connsiteY5" fmla="*/ 149254 h 5003860"/>
              <a:gd name="connsiteX6" fmla="*/ 4166837 w 5494338"/>
              <a:gd name="connsiteY6" fmla="*/ 152112 h 5003860"/>
              <a:gd name="connsiteX7" fmla="*/ 4169695 w 5494338"/>
              <a:gd name="connsiteY7" fmla="*/ 153541 h 5003860"/>
              <a:gd name="connsiteX8" fmla="*/ 4172553 w 5494338"/>
              <a:gd name="connsiteY8" fmla="*/ 154970 h 5003860"/>
              <a:gd name="connsiteX9" fmla="*/ 4176840 w 5494338"/>
              <a:gd name="connsiteY9" fmla="*/ 157828 h 5003860"/>
              <a:gd name="connsiteX10" fmla="*/ 4178269 w 5494338"/>
              <a:gd name="connsiteY10" fmla="*/ 159257 h 5003860"/>
              <a:gd name="connsiteX11" fmla="*/ 4455487 w 5494338"/>
              <a:gd name="connsiteY11" fmla="*/ 457923 h 5003860"/>
              <a:gd name="connsiteX12" fmla="*/ 5371448 w 5494338"/>
              <a:gd name="connsiteY12" fmla="*/ 2044135 h 5003860"/>
              <a:gd name="connsiteX13" fmla="*/ 5488622 w 5494338"/>
              <a:gd name="connsiteY13" fmla="*/ 2404248 h 5003860"/>
              <a:gd name="connsiteX14" fmla="*/ 5488622 w 5494338"/>
              <a:gd name="connsiteY14" fmla="*/ 2405677 h 5003860"/>
              <a:gd name="connsiteX15" fmla="*/ 5490051 w 5494338"/>
              <a:gd name="connsiteY15" fmla="*/ 2411393 h 5003860"/>
              <a:gd name="connsiteX16" fmla="*/ 5490051 w 5494338"/>
              <a:gd name="connsiteY16" fmla="*/ 2414251 h 5003860"/>
              <a:gd name="connsiteX17" fmla="*/ 5490051 w 5494338"/>
              <a:gd name="connsiteY17" fmla="*/ 2417109 h 5003860"/>
              <a:gd name="connsiteX18" fmla="*/ 5490051 w 5494338"/>
              <a:gd name="connsiteY18" fmla="*/ 2422825 h 5003860"/>
              <a:gd name="connsiteX19" fmla="*/ 5491480 w 5494338"/>
              <a:gd name="connsiteY19" fmla="*/ 2424254 h 5003860"/>
              <a:gd name="connsiteX20" fmla="*/ 5494338 w 5494338"/>
              <a:gd name="connsiteY20" fmla="*/ 2515711 h 5003860"/>
              <a:gd name="connsiteX21" fmla="*/ 5490051 w 5494338"/>
              <a:gd name="connsiteY21" fmla="*/ 2585733 h 5003860"/>
              <a:gd name="connsiteX22" fmla="*/ 5490051 w 5494338"/>
              <a:gd name="connsiteY22" fmla="*/ 2592878 h 5003860"/>
              <a:gd name="connsiteX23" fmla="*/ 5488622 w 5494338"/>
              <a:gd name="connsiteY23" fmla="*/ 2600023 h 5003860"/>
              <a:gd name="connsiteX24" fmla="*/ 5487193 w 5494338"/>
              <a:gd name="connsiteY24" fmla="*/ 2607168 h 5003860"/>
              <a:gd name="connsiteX25" fmla="*/ 5487193 w 5494338"/>
              <a:gd name="connsiteY25" fmla="*/ 2608597 h 5003860"/>
              <a:gd name="connsiteX26" fmla="*/ 5487193 w 5494338"/>
              <a:gd name="connsiteY26" fmla="*/ 2614313 h 5003860"/>
              <a:gd name="connsiteX27" fmla="*/ 5487193 w 5494338"/>
              <a:gd name="connsiteY27" fmla="*/ 2615742 h 5003860"/>
              <a:gd name="connsiteX28" fmla="*/ 5485764 w 5494338"/>
              <a:gd name="connsiteY28" fmla="*/ 2621459 h 5003860"/>
              <a:gd name="connsiteX29" fmla="*/ 5485764 w 5494338"/>
              <a:gd name="connsiteY29" fmla="*/ 2622888 h 5003860"/>
              <a:gd name="connsiteX30" fmla="*/ 5485764 w 5494338"/>
              <a:gd name="connsiteY30" fmla="*/ 2628604 h 5003860"/>
              <a:gd name="connsiteX31" fmla="*/ 5484336 w 5494338"/>
              <a:gd name="connsiteY31" fmla="*/ 2630033 h 5003860"/>
              <a:gd name="connsiteX32" fmla="*/ 5484336 w 5494338"/>
              <a:gd name="connsiteY32" fmla="*/ 2635749 h 5003860"/>
              <a:gd name="connsiteX33" fmla="*/ 5484336 w 5494338"/>
              <a:gd name="connsiteY33" fmla="*/ 2638607 h 5003860"/>
              <a:gd name="connsiteX34" fmla="*/ 5482906 w 5494338"/>
              <a:gd name="connsiteY34" fmla="*/ 2642894 h 5003860"/>
              <a:gd name="connsiteX35" fmla="*/ 5482906 w 5494338"/>
              <a:gd name="connsiteY35" fmla="*/ 2645752 h 5003860"/>
              <a:gd name="connsiteX36" fmla="*/ 5481478 w 5494338"/>
              <a:gd name="connsiteY36" fmla="*/ 2650039 h 5003860"/>
              <a:gd name="connsiteX37" fmla="*/ 5481478 w 5494338"/>
              <a:gd name="connsiteY37" fmla="*/ 2652897 h 5003860"/>
              <a:gd name="connsiteX38" fmla="*/ 5481478 w 5494338"/>
              <a:gd name="connsiteY38" fmla="*/ 2655755 h 5003860"/>
              <a:gd name="connsiteX39" fmla="*/ 5480048 w 5494338"/>
              <a:gd name="connsiteY39" fmla="*/ 2660042 h 5003860"/>
              <a:gd name="connsiteX40" fmla="*/ 5480048 w 5494338"/>
              <a:gd name="connsiteY40" fmla="*/ 2662900 h 5003860"/>
              <a:gd name="connsiteX41" fmla="*/ 5478620 w 5494338"/>
              <a:gd name="connsiteY41" fmla="*/ 2667187 h 5003860"/>
              <a:gd name="connsiteX42" fmla="*/ 5478620 w 5494338"/>
              <a:gd name="connsiteY42" fmla="*/ 2668616 h 5003860"/>
              <a:gd name="connsiteX43" fmla="*/ 5362874 w 5494338"/>
              <a:gd name="connsiteY43" fmla="*/ 2974426 h 5003860"/>
              <a:gd name="connsiteX44" fmla="*/ 4462632 w 5494338"/>
              <a:gd name="connsiteY44" fmla="*/ 4532058 h 5003860"/>
              <a:gd name="connsiteX45" fmla="*/ 4121111 w 5494338"/>
              <a:gd name="connsiteY45" fmla="*/ 4880739 h 5003860"/>
              <a:gd name="connsiteX46" fmla="*/ 3376624 w 5494338"/>
              <a:gd name="connsiteY46" fmla="*/ 4957906 h 5003860"/>
              <a:gd name="connsiteX47" fmla="*/ 3358048 w 5494338"/>
              <a:gd name="connsiteY47" fmla="*/ 4950761 h 5003860"/>
              <a:gd name="connsiteX48" fmla="*/ 3355190 w 5494338"/>
              <a:gd name="connsiteY48" fmla="*/ 4950761 h 5003860"/>
              <a:gd name="connsiteX49" fmla="*/ 3349474 w 5494338"/>
              <a:gd name="connsiteY49" fmla="*/ 4947903 h 5003860"/>
              <a:gd name="connsiteX50" fmla="*/ 3348045 w 5494338"/>
              <a:gd name="connsiteY50" fmla="*/ 4947903 h 5003860"/>
              <a:gd name="connsiteX51" fmla="*/ 3338043 w 5494338"/>
              <a:gd name="connsiteY51" fmla="*/ 4943616 h 5003860"/>
              <a:gd name="connsiteX52" fmla="*/ 3335185 w 5494338"/>
              <a:gd name="connsiteY52" fmla="*/ 4942187 h 5003860"/>
              <a:gd name="connsiteX53" fmla="*/ 3329469 w 5494338"/>
              <a:gd name="connsiteY53" fmla="*/ 4940758 h 5003860"/>
              <a:gd name="connsiteX54" fmla="*/ 3325182 w 5494338"/>
              <a:gd name="connsiteY54" fmla="*/ 4939329 h 5003860"/>
              <a:gd name="connsiteX55" fmla="*/ 3318037 w 5494338"/>
              <a:gd name="connsiteY55" fmla="*/ 4936471 h 5003860"/>
              <a:gd name="connsiteX56" fmla="*/ 3313750 w 5494338"/>
              <a:gd name="connsiteY56" fmla="*/ 4935042 h 5003860"/>
              <a:gd name="connsiteX57" fmla="*/ 3309464 w 5494338"/>
              <a:gd name="connsiteY57" fmla="*/ 4932184 h 5003860"/>
              <a:gd name="connsiteX58" fmla="*/ 3302319 w 5494338"/>
              <a:gd name="connsiteY58" fmla="*/ 4929326 h 5003860"/>
              <a:gd name="connsiteX59" fmla="*/ 3299461 w 5494338"/>
              <a:gd name="connsiteY59" fmla="*/ 4927897 h 5003860"/>
              <a:gd name="connsiteX60" fmla="*/ 3292316 w 5494338"/>
              <a:gd name="connsiteY60" fmla="*/ 4925039 h 5003860"/>
              <a:gd name="connsiteX61" fmla="*/ 3289458 w 5494338"/>
              <a:gd name="connsiteY61" fmla="*/ 4923610 h 5003860"/>
              <a:gd name="connsiteX62" fmla="*/ 3282313 w 5494338"/>
              <a:gd name="connsiteY62" fmla="*/ 4920752 h 5003860"/>
              <a:gd name="connsiteX63" fmla="*/ 3279455 w 5494338"/>
              <a:gd name="connsiteY63" fmla="*/ 4919323 h 5003860"/>
              <a:gd name="connsiteX64" fmla="*/ 3272311 w 5494338"/>
              <a:gd name="connsiteY64" fmla="*/ 4916465 h 5003860"/>
              <a:gd name="connsiteX65" fmla="*/ 3270882 w 5494338"/>
              <a:gd name="connsiteY65" fmla="*/ 4915036 h 5003860"/>
              <a:gd name="connsiteX66" fmla="*/ 3260879 w 5494338"/>
              <a:gd name="connsiteY66" fmla="*/ 4910749 h 5003860"/>
              <a:gd name="connsiteX67" fmla="*/ 3250876 w 5494338"/>
              <a:gd name="connsiteY67" fmla="*/ 4906461 h 5003860"/>
              <a:gd name="connsiteX68" fmla="*/ 3240874 w 5494338"/>
              <a:gd name="connsiteY68" fmla="*/ 4900745 h 5003860"/>
              <a:gd name="connsiteX69" fmla="*/ 3216581 w 5494338"/>
              <a:gd name="connsiteY69" fmla="*/ 4887884 h 5003860"/>
              <a:gd name="connsiteX70" fmla="*/ 3137989 w 5494338"/>
              <a:gd name="connsiteY70" fmla="*/ 4839298 h 5003860"/>
              <a:gd name="connsiteX71" fmla="*/ 3135131 w 5494338"/>
              <a:gd name="connsiteY71" fmla="*/ 4836439 h 5003860"/>
              <a:gd name="connsiteX72" fmla="*/ 3129415 w 5494338"/>
              <a:gd name="connsiteY72" fmla="*/ 4832152 h 5003860"/>
              <a:gd name="connsiteX73" fmla="*/ 3127986 w 5494338"/>
              <a:gd name="connsiteY73" fmla="*/ 4830723 h 5003860"/>
              <a:gd name="connsiteX74" fmla="*/ 3119412 w 5494338"/>
              <a:gd name="connsiteY74" fmla="*/ 4825007 h 5003860"/>
              <a:gd name="connsiteX75" fmla="*/ 3117983 w 5494338"/>
              <a:gd name="connsiteY75" fmla="*/ 4825007 h 5003860"/>
              <a:gd name="connsiteX76" fmla="*/ 2869345 w 5494338"/>
              <a:gd name="connsiteY76" fmla="*/ 4544919 h 5003860"/>
              <a:gd name="connsiteX77" fmla="*/ 2749313 w 5494338"/>
              <a:gd name="connsiteY77" fmla="*/ 4154797 h 5003860"/>
              <a:gd name="connsiteX78" fmla="*/ 2749313 w 5494338"/>
              <a:gd name="connsiteY78" fmla="*/ 4149081 h 5003860"/>
              <a:gd name="connsiteX79" fmla="*/ 2749313 w 5494338"/>
              <a:gd name="connsiteY79" fmla="*/ 4146223 h 5003860"/>
              <a:gd name="connsiteX80" fmla="*/ 2747884 w 5494338"/>
              <a:gd name="connsiteY80" fmla="*/ 4141936 h 5003860"/>
              <a:gd name="connsiteX81" fmla="*/ 2747884 w 5494338"/>
              <a:gd name="connsiteY81" fmla="*/ 4137649 h 5003860"/>
              <a:gd name="connsiteX82" fmla="*/ 2747884 w 5494338"/>
              <a:gd name="connsiteY82" fmla="*/ 4136220 h 5003860"/>
              <a:gd name="connsiteX83" fmla="*/ 2746455 w 5494338"/>
              <a:gd name="connsiteY83" fmla="*/ 4074772 h 5003860"/>
              <a:gd name="connsiteX84" fmla="*/ 2746455 w 5494338"/>
              <a:gd name="connsiteY84" fmla="*/ 4073343 h 5003860"/>
              <a:gd name="connsiteX85" fmla="*/ 2623564 w 5494338"/>
              <a:gd name="connsiteY85" fmla="*/ 3630347 h 5003860"/>
              <a:gd name="connsiteX86" fmla="*/ 2302049 w 5494338"/>
              <a:gd name="connsiteY86" fmla="*/ 3301672 h 5003860"/>
              <a:gd name="connsiteX87" fmla="*/ 2276328 w 5494338"/>
              <a:gd name="connsiteY87" fmla="*/ 3287382 h 5003860"/>
              <a:gd name="connsiteX88" fmla="*/ 1376085 w 5494338"/>
              <a:gd name="connsiteY88" fmla="*/ 3293098 h 5003860"/>
              <a:gd name="connsiteX89" fmla="*/ 1373227 w 5494338"/>
              <a:gd name="connsiteY89" fmla="*/ 3294527 h 5003860"/>
              <a:gd name="connsiteX90" fmla="*/ 1326072 w 5494338"/>
              <a:gd name="connsiteY90" fmla="*/ 3320249 h 5003860"/>
              <a:gd name="connsiteX91" fmla="*/ 1304638 w 5494338"/>
              <a:gd name="connsiteY91" fmla="*/ 3330252 h 5003860"/>
              <a:gd name="connsiteX92" fmla="*/ 1283203 w 5494338"/>
              <a:gd name="connsiteY92" fmla="*/ 3340256 h 5003860"/>
              <a:gd name="connsiteX93" fmla="*/ 1263198 w 5494338"/>
              <a:gd name="connsiteY93" fmla="*/ 3348830 h 5003860"/>
              <a:gd name="connsiteX94" fmla="*/ 1241763 w 5494338"/>
              <a:gd name="connsiteY94" fmla="*/ 3357404 h 5003860"/>
              <a:gd name="connsiteX95" fmla="*/ 1220329 w 5494338"/>
              <a:gd name="connsiteY95" fmla="*/ 3365978 h 5003860"/>
              <a:gd name="connsiteX96" fmla="*/ 1198895 w 5494338"/>
              <a:gd name="connsiteY96" fmla="*/ 3373123 h 5003860"/>
              <a:gd name="connsiteX97" fmla="*/ 857374 w 5494338"/>
              <a:gd name="connsiteY97" fmla="*/ 3415994 h 5003860"/>
              <a:gd name="connsiteX98" fmla="*/ 834511 w 5494338"/>
              <a:gd name="connsiteY98" fmla="*/ 3414565 h 5003860"/>
              <a:gd name="connsiteX99" fmla="*/ 814505 w 5494338"/>
              <a:gd name="connsiteY99" fmla="*/ 3411707 h 5003860"/>
              <a:gd name="connsiteX100" fmla="*/ 813076 w 5494338"/>
              <a:gd name="connsiteY100" fmla="*/ 3411707 h 5003860"/>
              <a:gd name="connsiteX101" fmla="*/ 793071 w 5494338"/>
              <a:gd name="connsiteY101" fmla="*/ 3408849 h 5003860"/>
              <a:gd name="connsiteX102" fmla="*/ 791642 w 5494338"/>
              <a:gd name="connsiteY102" fmla="*/ 3408849 h 5003860"/>
              <a:gd name="connsiteX103" fmla="*/ 778782 w 5494338"/>
              <a:gd name="connsiteY103" fmla="*/ 3407419 h 5003860"/>
              <a:gd name="connsiteX104" fmla="*/ 777353 w 5494338"/>
              <a:gd name="connsiteY104" fmla="*/ 3407419 h 5003860"/>
              <a:gd name="connsiteX105" fmla="*/ 771637 w 5494338"/>
              <a:gd name="connsiteY105" fmla="*/ 3405990 h 5003860"/>
              <a:gd name="connsiteX106" fmla="*/ 768779 w 5494338"/>
              <a:gd name="connsiteY106" fmla="*/ 3405990 h 5003860"/>
              <a:gd name="connsiteX107" fmla="*/ 760205 w 5494338"/>
              <a:gd name="connsiteY107" fmla="*/ 3404561 h 5003860"/>
              <a:gd name="connsiteX108" fmla="*/ 755918 w 5494338"/>
              <a:gd name="connsiteY108" fmla="*/ 3403132 h 5003860"/>
              <a:gd name="connsiteX109" fmla="*/ 751631 w 5494338"/>
              <a:gd name="connsiteY109" fmla="*/ 3403132 h 5003860"/>
              <a:gd name="connsiteX110" fmla="*/ 745915 w 5494338"/>
              <a:gd name="connsiteY110" fmla="*/ 3401703 h 5003860"/>
              <a:gd name="connsiteX111" fmla="*/ 740200 w 5494338"/>
              <a:gd name="connsiteY111" fmla="*/ 3400274 h 5003860"/>
              <a:gd name="connsiteX112" fmla="*/ 734484 w 5494338"/>
              <a:gd name="connsiteY112" fmla="*/ 3398845 h 5003860"/>
              <a:gd name="connsiteX113" fmla="*/ 730197 w 5494338"/>
              <a:gd name="connsiteY113" fmla="*/ 3398845 h 5003860"/>
              <a:gd name="connsiteX114" fmla="*/ 724481 w 5494338"/>
              <a:gd name="connsiteY114" fmla="*/ 3397416 h 5003860"/>
              <a:gd name="connsiteX115" fmla="*/ 720194 w 5494338"/>
              <a:gd name="connsiteY115" fmla="*/ 3395987 h 5003860"/>
              <a:gd name="connsiteX116" fmla="*/ 711621 w 5494338"/>
              <a:gd name="connsiteY116" fmla="*/ 3394558 h 5003860"/>
              <a:gd name="connsiteX117" fmla="*/ 708763 w 5494338"/>
              <a:gd name="connsiteY117" fmla="*/ 3393129 h 5003860"/>
              <a:gd name="connsiteX118" fmla="*/ 701618 w 5494338"/>
              <a:gd name="connsiteY118" fmla="*/ 3391700 h 5003860"/>
              <a:gd name="connsiteX119" fmla="*/ 700189 w 5494338"/>
              <a:gd name="connsiteY119" fmla="*/ 3391700 h 5003860"/>
              <a:gd name="connsiteX120" fmla="*/ 690186 w 5494338"/>
              <a:gd name="connsiteY120" fmla="*/ 3388842 h 5003860"/>
              <a:gd name="connsiteX121" fmla="*/ 688757 w 5494338"/>
              <a:gd name="connsiteY121" fmla="*/ 3388842 h 5003860"/>
              <a:gd name="connsiteX122" fmla="*/ 668752 w 5494338"/>
              <a:gd name="connsiteY122" fmla="*/ 3383126 h 5003860"/>
              <a:gd name="connsiteX123" fmla="*/ 667323 w 5494338"/>
              <a:gd name="connsiteY123" fmla="*/ 3383126 h 5003860"/>
              <a:gd name="connsiteX124" fmla="*/ 647317 w 5494338"/>
              <a:gd name="connsiteY124" fmla="*/ 3377410 h 5003860"/>
              <a:gd name="connsiteX125" fmla="*/ 470127 w 5494338"/>
              <a:gd name="connsiteY125" fmla="*/ 3301672 h 5003860"/>
              <a:gd name="connsiteX126" fmla="*/ 468698 w 5494338"/>
              <a:gd name="connsiteY126" fmla="*/ 3301672 h 5003860"/>
              <a:gd name="connsiteX127" fmla="*/ 432974 w 5494338"/>
              <a:gd name="connsiteY127" fmla="*/ 3280237 h 5003860"/>
              <a:gd name="connsiteX128" fmla="*/ 431545 w 5494338"/>
              <a:gd name="connsiteY128" fmla="*/ 3278808 h 5003860"/>
              <a:gd name="connsiteX129" fmla="*/ 424400 w 5494338"/>
              <a:gd name="connsiteY129" fmla="*/ 3274521 h 5003860"/>
              <a:gd name="connsiteX130" fmla="*/ 418684 w 5494338"/>
              <a:gd name="connsiteY130" fmla="*/ 3271663 h 5003860"/>
              <a:gd name="connsiteX131" fmla="*/ 417255 w 5494338"/>
              <a:gd name="connsiteY131" fmla="*/ 3270234 h 5003860"/>
              <a:gd name="connsiteX132" fmla="*/ 122891 w 5494338"/>
              <a:gd name="connsiteY132" fmla="*/ 2960136 h 5003860"/>
              <a:gd name="connsiteX133" fmla="*/ 0 w 5494338"/>
              <a:gd name="connsiteY133" fmla="*/ 2517140 h 5003860"/>
              <a:gd name="connsiteX134" fmla="*/ 0 w 5494338"/>
              <a:gd name="connsiteY134" fmla="*/ 2488560 h 5003860"/>
              <a:gd name="connsiteX135" fmla="*/ 0 w 5494338"/>
              <a:gd name="connsiteY135" fmla="*/ 2487131 h 5003860"/>
              <a:gd name="connsiteX136" fmla="*/ 131464 w 5494338"/>
              <a:gd name="connsiteY136" fmla="*/ 2028415 h 5003860"/>
              <a:gd name="connsiteX137" fmla="*/ 1030278 w 5494338"/>
              <a:gd name="connsiteY137" fmla="*/ 470784 h 5003860"/>
              <a:gd name="connsiteX138" fmla="*/ 1033136 w 5494338"/>
              <a:gd name="connsiteY138" fmla="*/ 467926 h 5003860"/>
              <a:gd name="connsiteX139" fmla="*/ 1034565 w 5494338"/>
              <a:gd name="connsiteY139" fmla="*/ 465068 h 5003860"/>
              <a:gd name="connsiteX140" fmla="*/ 1038852 w 5494338"/>
              <a:gd name="connsiteY140" fmla="*/ 456494 h 5003860"/>
              <a:gd name="connsiteX141" fmla="*/ 1040281 w 5494338"/>
              <a:gd name="connsiteY141" fmla="*/ 453635 h 5003860"/>
              <a:gd name="connsiteX142" fmla="*/ 1043138 w 5494338"/>
              <a:gd name="connsiteY142" fmla="*/ 447919 h 5003860"/>
              <a:gd name="connsiteX143" fmla="*/ 1045996 w 5494338"/>
              <a:gd name="connsiteY143" fmla="*/ 445061 h 5003860"/>
              <a:gd name="connsiteX144" fmla="*/ 1050283 w 5494338"/>
              <a:gd name="connsiteY144" fmla="*/ 437916 h 5003860"/>
              <a:gd name="connsiteX145" fmla="*/ 1051712 w 5494338"/>
              <a:gd name="connsiteY145" fmla="*/ 435058 h 5003860"/>
              <a:gd name="connsiteX146" fmla="*/ 1054570 w 5494338"/>
              <a:gd name="connsiteY146" fmla="*/ 429342 h 5003860"/>
              <a:gd name="connsiteX147" fmla="*/ 1057428 w 5494338"/>
              <a:gd name="connsiteY147" fmla="*/ 426484 h 5003860"/>
              <a:gd name="connsiteX148" fmla="*/ 1061715 w 5494338"/>
              <a:gd name="connsiteY148" fmla="*/ 419339 h 5003860"/>
              <a:gd name="connsiteX149" fmla="*/ 1063144 w 5494338"/>
              <a:gd name="connsiteY149" fmla="*/ 416481 h 5003860"/>
              <a:gd name="connsiteX150" fmla="*/ 1067431 w 5494338"/>
              <a:gd name="connsiteY150" fmla="*/ 410765 h 5003860"/>
              <a:gd name="connsiteX151" fmla="*/ 1068860 w 5494338"/>
              <a:gd name="connsiteY151" fmla="*/ 407907 h 5003860"/>
              <a:gd name="connsiteX152" fmla="*/ 1074576 w 5494338"/>
              <a:gd name="connsiteY152" fmla="*/ 400762 h 5003860"/>
              <a:gd name="connsiteX153" fmla="*/ 1076004 w 5494338"/>
              <a:gd name="connsiteY153" fmla="*/ 397904 h 5003860"/>
              <a:gd name="connsiteX154" fmla="*/ 1080291 w 5494338"/>
              <a:gd name="connsiteY154" fmla="*/ 392188 h 5003860"/>
              <a:gd name="connsiteX155" fmla="*/ 1081720 w 5494338"/>
              <a:gd name="connsiteY155" fmla="*/ 389330 h 5003860"/>
              <a:gd name="connsiteX156" fmla="*/ 1087436 w 5494338"/>
              <a:gd name="connsiteY156" fmla="*/ 382185 h 5003860"/>
              <a:gd name="connsiteX157" fmla="*/ 1088865 w 5494338"/>
              <a:gd name="connsiteY157" fmla="*/ 379326 h 5003860"/>
              <a:gd name="connsiteX158" fmla="*/ 1093152 w 5494338"/>
              <a:gd name="connsiteY158" fmla="*/ 373610 h 5003860"/>
              <a:gd name="connsiteX159" fmla="*/ 1094581 w 5494338"/>
              <a:gd name="connsiteY159" fmla="*/ 372181 h 5003860"/>
              <a:gd name="connsiteX160" fmla="*/ 1100297 w 5494338"/>
              <a:gd name="connsiteY160" fmla="*/ 365036 h 5003860"/>
              <a:gd name="connsiteX161" fmla="*/ 1101726 w 5494338"/>
              <a:gd name="connsiteY161" fmla="*/ 362178 h 5003860"/>
              <a:gd name="connsiteX162" fmla="*/ 1107442 w 5494338"/>
              <a:gd name="connsiteY162" fmla="*/ 353604 h 5003860"/>
              <a:gd name="connsiteX163" fmla="*/ 1113157 w 5494338"/>
              <a:gd name="connsiteY163" fmla="*/ 346459 h 5003860"/>
              <a:gd name="connsiteX164" fmla="*/ 1114586 w 5494338"/>
              <a:gd name="connsiteY164" fmla="*/ 345030 h 5003860"/>
              <a:gd name="connsiteX165" fmla="*/ 1127447 w 5494338"/>
              <a:gd name="connsiteY165" fmla="*/ 329311 h 5003860"/>
              <a:gd name="connsiteX166" fmla="*/ 1128876 w 5494338"/>
              <a:gd name="connsiteY166" fmla="*/ 327882 h 5003860"/>
              <a:gd name="connsiteX167" fmla="*/ 1143165 w 5494338"/>
              <a:gd name="connsiteY167" fmla="*/ 312163 h 5003860"/>
              <a:gd name="connsiteX168" fmla="*/ 1143165 w 5494338"/>
              <a:gd name="connsiteY168" fmla="*/ 310734 h 5003860"/>
              <a:gd name="connsiteX169" fmla="*/ 1157455 w 5494338"/>
              <a:gd name="connsiteY169" fmla="*/ 295014 h 5003860"/>
              <a:gd name="connsiteX170" fmla="*/ 1158884 w 5494338"/>
              <a:gd name="connsiteY170" fmla="*/ 293585 h 5003860"/>
              <a:gd name="connsiteX171" fmla="*/ 1173174 w 5494338"/>
              <a:gd name="connsiteY171" fmla="*/ 277866 h 5003860"/>
              <a:gd name="connsiteX172" fmla="*/ 1373227 w 5494338"/>
              <a:gd name="connsiteY172" fmla="*/ 122103 h 5003860"/>
              <a:gd name="connsiteX173" fmla="*/ 1543273 w 5494338"/>
              <a:gd name="connsiteY173" fmla="*/ 46365 h 5003860"/>
              <a:gd name="connsiteX174" fmla="*/ 1553276 w 5494338"/>
              <a:gd name="connsiteY174" fmla="*/ 43507 h 5003860"/>
              <a:gd name="connsiteX175" fmla="*/ 1563279 w 5494338"/>
              <a:gd name="connsiteY175" fmla="*/ 39220 h 5003860"/>
              <a:gd name="connsiteX176" fmla="*/ 1564708 w 5494338"/>
              <a:gd name="connsiteY176" fmla="*/ 39220 h 5003860"/>
              <a:gd name="connsiteX177" fmla="*/ 1574710 w 5494338"/>
              <a:gd name="connsiteY177" fmla="*/ 36362 h 5003860"/>
              <a:gd name="connsiteX178" fmla="*/ 1576139 w 5494338"/>
              <a:gd name="connsiteY178" fmla="*/ 36362 h 5003860"/>
              <a:gd name="connsiteX179" fmla="*/ 1584713 w 5494338"/>
              <a:gd name="connsiteY179" fmla="*/ 33504 h 5003860"/>
              <a:gd name="connsiteX180" fmla="*/ 1587571 w 5494338"/>
              <a:gd name="connsiteY180" fmla="*/ 33504 h 5003860"/>
              <a:gd name="connsiteX181" fmla="*/ 1596145 w 5494338"/>
              <a:gd name="connsiteY181" fmla="*/ 30646 h 5003860"/>
              <a:gd name="connsiteX182" fmla="*/ 1597574 w 5494338"/>
              <a:gd name="connsiteY182" fmla="*/ 30646 h 5003860"/>
              <a:gd name="connsiteX183" fmla="*/ 1607576 w 5494338"/>
              <a:gd name="connsiteY183" fmla="*/ 27788 h 5003860"/>
              <a:gd name="connsiteX184" fmla="*/ 1609005 w 5494338"/>
              <a:gd name="connsiteY184" fmla="*/ 27788 h 5003860"/>
              <a:gd name="connsiteX185" fmla="*/ 1617579 w 5494338"/>
              <a:gd name="connsiteY185" fmla="*/ 24930 h 5003860"/>
              <a:gd name="connsiteX186" fmla="*/ 1619008 w 5494338"/>
              <a:gd name="connsiteY186" fmla="*/ 24930 h 5003860"/>
              <a:gd name="connsiteX187" fmla="*/ 1629011 w 5494338"/>
              <a:gd name="connsiteY187" fmla="*/ 22072 h 5003860"/>
              <a:gd name="connsiteX188" fmla="*/ 1631869 w 5494338"/>
              <a:gd name="connsiteY188" fmla="*/ 22072 h 5003860"/>
              <a:gd name="connsiteX189" fmla="*/ 1636155 w 5494338"/>
              <a:gd name="connsiteY189" fmla="*/ 20643 h 5003860"/>
              <a:gd name="connsiteX190" fmla="*/ 1639013 w 5494338"/>
              <a:gd name="connsiteY190" fmla="*/ 20643 h 5003860"/>
              <a:gd name="connsiteX191" fmla="*/ 1641871 w 5494338"/>
              <a:gd name="connsiteY191" fmla="*/ 19213 h 5003860"/>
              <a:gd name="connsiteX192" fmla="*/ 1643300 w 5494338"/>
              <a:gd name="connsiteY192" fmla="*/ 19213 h 5003860"/>
              <a:gd name="connsiteX193" fmla="*/ 1650445 w 5494338"/>
              <a:gd name="connsiteY193" fmla="*/ 17784 h 5003860"/>
              <a:gd name="connsiteX194" fmla="*/ 1654732 w 5494338"/>
              <a:gd name="connsiteY194" fmla="*/ 17784 h 5003860"/>
              <a:gd name="connsiteX195" fmla="*/ 1657590 w 5494338"/>
              <a:gd name="connsiteY195" fmla="*/ 16355 h 5003860"/>
              <a:gd name="connsiteX196" fmla="*/ 1660448 w 5494338"/>
              <a:gd name="connsiteY196" fmla="*/ 16355 h 5003860"/>
              <a:gd name="connsiteX197" fmla="*/ 1664735 w 5494338"/>
              <a:gd name="connsiteY197" fmla="*/ 14926 h 5003860"/>
              <a:gd name="connsiteX198" fmla="*/ 1666164 w 5494338"/>
              <a:gd name="connsiteY198" fmla="*/ 14926 h 5003860"/>
              <a:gd name="connsiteX199" fmla="*/ 1671879 w 5494338"/>
              <a:gd name="connsiteY199" fmla="*/ 13497 h 5003860"/>
              <a:gd name="connsiteX200" fmla="*/ 1676166 w 5494338"/>
              <a:gd name="connsiteY200" fmla="*/ 13497 h 5003860"/>
              <a:gd name="connsiteX201" fmla="*/ 1679024 w 5494338"/>
              <a:gd name="connsiteY201" fmla="*/ 12068 h 5003860"/>
              <a:gd name="connsiteX202" fmla="*/ 1681882 w 5494338"/>
              <a:gd name="connsiteY202" fmla="*/ 12068 h 5003860"/>
              <a:gd name="connsiteX203" fmla="*/ 1687598 w 5494338"/>
              <a:gd name="connsiteY203" fmla="*/ 10639 h 5003860"/>
              <a:gd name="connsiteX204" fmla="*/ 1689027 w 5494338"/>
              <a:gd name="connsiteY204" fmla="*/ 10639 h 5003860"/>
              <a:gd name="connsiteX205" fmla="*/ 1693314 w 5494338"/>
              <a:gd name="connsiteY205" fmla="*/ 10639 h 5003860"/>
              <a:gd name="connsiteX206" fmla="*/ 1699030 w 5494338"/>
              <a:gd name="connsiteY206" fmla="*/ 9210 h 5003860"/>
              <a:gd name="connsiteX207" fmla="*/ 1701887 w 5494338"/>
              <a:gd name="connsiteY207" fmla="*/ 9210 h 5003860"/>
              <a:gd name="connsiteX208" fmla="*/ 1703316 w 5494338"/>
              <a:gd name="connsiteY208" fmla="*/ 9210 h 5003860"/>
              <a:gd name="connsiteX209" fmla="*/ 1710461 w 5494338"/>
              <a:gd name="connsiteY209" fmla="*/ 7781 h 5003860"/>
              <a:gd name="connsiteX210" fmla="*/ 1711890 w 5494338"/>
              <a:gd name="connsiteY210" fmla="*/ 7781 h 5003860"/>
              <a:gd name="connsiteX211" fmla="*/ 1713319 w 5494338"/>
              <a:gd name="connsiteY211" fmla="*/ 7781 h 5003860"/>
              <a:gd name="connsiteX212" fmla="*/ 1714748 w 5494338"/>
              <a:gd name="connsiteY212" fmla="*/ 7781 h 5003860"/>
              <a:gd name="connsiteX213" fmla="*/ 1721893 w 5494338"/>
              <a:gd name="connsiteY213" fmla="*/ 6352 h 5003860"/>
              <a:gd name="connsiteX214" fmla="*/ 1723322 w 5494338"/>
              <a:gd name="connsiteY214" fmla="*/ 6352 h 5003860"/>
              <a:gd name="connsiteX215" fmla="*/ 1724751 w 5494338"/>
              <a:gd name="connsiteY215" fmla="*/ 6352 h 5003860"/>
              <a:gd name="connsiteX216" fmla="*/ 1726180 w 5494338"/>
              <a:gd name="connsiteY216" fmla="*/ 6352 h 5003860"/>
              <a:gd name="connsiteX217" fmla="*/ 1733325 w 5494338"/>
              <a:gd name="connsiteY217" fmla="*/ 4923 h 5003860"/>
              <a:gd name="connsiteX218" fmla="*/ 1734753 w 5494338"/>
              <a:gd name="connsiteY218" fmla="*/ 4923 h 5003860"/>
              <a:gd name="connsiteX219" fmla="*/ 1736182 w 5494338"/>
              <a:gd name="connsiteY219" fmla="*/ 4923 h 5003860"/>
              <a:gd name="connsiteX220" fmla="*/ 1744756 w 5494338"/>
              <a:gd name="connsiteY220" fmla="*/ 3494 h 5003860"/>
              <a:gd name="connsiteX221" fmla="*/ 1756188 w 5494338"/>
              <a:gd name="connsiteY221" fmla="*/ 3494 h 5003860"/>
              <a:gd name="connsiteX222" fmla="*/ 1759046 w 5494338"/>
              <a:gd name="connsiteY222" fmla="*/ 3494 h 5003860"/>
              <a:gd name="connsiteX223" fmla="*/ 1779051 w 5494338"/>
              <a:gd name="connsiteY223" fmla="*/ 2065 h 5003860"/>
              <a:gd name="connsiteX224" fmla="*/ 1801914 w 5494338"/>
              <a:gd name="connsiteY224" fmla="*/ 636 h 5003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</a:cxnLst>
            <a:rect l="l" t="t" r="r" b="b"/>
            <a:pathLst>
              <a:path w="5494338" h="5003860">
                <a:moveTo>
                  <a:pt x="1801914" y="636"/>
                </a:moveTo>
                <a:cubicBezTo>
                  <a:pt x="1816204" y="636"/>
                  <a:pt x="1831923" y="-793"/>
                  <a:pt x="1846212" y="636"/>
                </a:cubicBezTo>
                <a:cubicBezTo>
                  <a:pt x="2740739" y="636"/>
                  <a:pt x="2752170" y="636"/>
                  <a:pt x="3645268" y="636"/>
                </a:cubicBezTo>
                <a:cubicBezTo>
                  <a:pt x="3806740" y="-2222"/>
                  <a:pt x="3966784" y="37791"/>
                  <a:pt x="4108250" y="114958"/>
                </a:cubicBezTo>
                <a:cubicBezTo>
                  <a:pt x="4108250" y="114958"/>
                  <a:pt x="4108250" y="116387"/>
                  <a:pt x="4108250" y="116387"/>
                </a:cubicBezTo>
                <a:cubicBezTo>
                  <a:pt x="4126827" y="126390"/>
                  <a:pt x="4145403" y="136393"/>
                  <a:pt x="4163980" y="149254"/>
                </a:cubicBezTo>
                <a:cubicBezTo>
                  <a:pt x="4163980" y="149254"/>
                  <a:pt x="4165409" y="150683"/>
                  <a:pt x="4166837" y="152112"/>
                </a:cubicBezTo>
                <a:cubicBezTo>
                  <a:pt x="4168266" y="152112"/>
                  <a:pt x="4169695" y="152112"/>
                  <a:pt x="4169695" y="153541"/>
                </a:cubicBezTo>
                <a:cubicBezTo>
                  <a:pt x="4171124" y="153541"/>
                  <a:pt x="4171124" y="154970"/>
                  <a:pt x="4172553" y="154970"/>
                </a:cubicBezTo>
                <a:cubicBezTo>
                  <a:pt x="4173982" y="156399"/>
                  <a:pt x="4175411" y="156399"/>
                  <a:pt x="4176840" y="157828"/>
                </a:cubicBezTo>
                <a:cubicBezTo>
                  <a:pt x="4176840" y="157828"/>
                  <a:pt x="4178269" y="157828"/>
                  <a:pt x="4178269" y="159257"/>
                </a:cubicBezTo>
                <a:cubicBezTo>
                  <a:pt x="4288299" y="233566"/>
                  <a:pt x="4384039" y="335027"/>
                  <a:pt x="4455487" y="457923"/>
                </a:cubicBezTo>
                <a:cubicBezTo>
                  <a:pt x="4455487" y="457923"/>
                  <a:pt x="4455487" y="457923"/>
                  <a:pt x="5371448" y="2044135"/>
                </a:cubicBezTo>
                <a:cubicBezTo>
                  <a:pt x="5437180" y="2158456"/>
                  <a:pt x="5475762" y="2281352"/>
                  <a:pt x="5488622" y="2404248"/>
                </a:cubicBezTo>
                <a:cubicBezTo>
                  <a:pt x="5488622" y="2404248"/>
                  <a:pt x="5488622" y="2404248"/>
                  <a:pt x="5488622" y="2405677"/>
                </a:cubicBezTo>
                <a:cubicBezTo>
                  <a:pt x="5488622" y="2407106"/>
                  <a:pt x="5490051" y="2408535"/>
                  <a:pt x="5490051" y="2411393"/>
                </a:cubicBezTo>
                <a:cubicBezTo>
                  <a:pt x="5490051" y="2411393"/>
                  <a:pt x="5490051" y="2412822"/>
                  <a:pt x="5490051" y="2414251"/>
                </a:cubicBezTo>
                <a:cubicBezTo>
                  <a:pt x="5490051" y="2415680"/>
                  <a:pt x="5490051" y="2417109"/>
                  <a:pt x="5490051" y="2417109"/>
                </a:cubicBezTo>
                <a:cubicBezTo>
                  <a:pt x="5490051" y="2418538"/>
                  <a:pt x="5490051" y="2421396"/>
                  <a:pt x="5490051" y="2422825"/>
                </a:cubicBezTo>
                <a:cubicBezTo>
                  <a:pt x="5490051" y="2422825"/>
                  <a:pt x="5490051" y="2424254"/>
                  <a:pt x="5491480" y="2424254"/>
                </a:cubicBezTo>
                <a:cubicBezTo>
                  <a:pt x="5492909" y="2454263"/>
                  <a:pt x="5494338" y="2485702"/>
                  <a:pt x="5494338" y="2515711"/>
                </a:cubicBezTo>
                <a:cubicBezTo>
                  <a:pt x="5492909" y="2538575"/>
                  <a:pt x="5492909" y="2562869"/>
                  <a:pt x="5490051" y="2585733"/>
                </a:cubicBezTo>
                <a:cubicBezTo>
                  <a:pt x="5490051" y="2587162"/>
                  <a:pt x="5490051" y="2590020"/>
                  <a:pt x="5490051" y="2592878"/>
                </a:cubicBezTo>
                <a:cubicBezTo>
                  <a:pt x="5488622" y="2595736"/>
                  <a:pt x="5488622" y="2597165"/>
                  <a:pt x="5488622" y="2600023"/>
                </a:cubicBezTo>
                <a:cubicBezTo>
                  <a:pt x="5488622" y="2602881"/>
                  <a:pt x="5488622" y="2604310"/>
                  <a:pt x="5487193" y="2607168"/>
                </a:cubicBezTo>
                <a:cubicBezTo>
                  <a:pt x="5487193" y="2607168"/>
                  <a:pt x="5487193" y="2607168"/>
                  <a:pt x="5487193" y="2608597"/>
                </a:cubicBezTo>
                <a:cubicBezTo>
                  <a:pt x="5487193" y="2610026"/>
                  <a:pt x="5487193" y="2611455"/>
                  <a:pt x="5487193" y="2614313"/>
                </a:cubicBezTo>
                <a:cubicBezTo>
                  <a:pt x="5487193" y="2614313"/>
                  <a:pt x="5487193" y="2615742"/>
                  <a:pt x="5487193" y="2615742"/>
                </a:cubicBezTo>
                <a:cubicBezTo>
                  <a:pt x="5487193" y="2617172"/>
                  <a:pt x="5485764" y="2618601"/>
                  <a:pt x="5485764" y="2621459"/>
                </a:cubicBezTo>
                <a:cubicBezTo>
                  <a:pt x="5485764" y="2621459"/>
                  <a:pt x="5485764" y="2622888"/>
                  <a:pt x="5485764" y="2622888"/>
                </a:cubicBezTo>
                <a:cubicBezTo>
                  <a:pt x="5485764" y="2624317"/>
                  <a:pt x="5485764" y="2627175"/>
                  <a:pt x="5485764" y="2628604"/>
                </a:cubicBezTo>
                <a:cubicBezTo>
                  <a:pt x="5484336" y="2628604"/>
                  <a:pt x="5484336" y="2630033"/>
                  <a:pt x="5484336" y="2630033"/>
                </a:cubicBezTo>
                <a:cubicBezTo>
                  <a:pt x="5484336" y="2632891"/>
                  <a:pt x="5484336" y="2634320"/>
                  <a:pt x="5484336" y="2635749"/>
                </a:cubicBezTo>
                <a:cubicBezTo>
                  <a:pt x="5484336" y="2635749"/>
                  <a:pt x="5484336" y="2637178"/>
                  <a:pt x="5484336" y="2638607"/>
                </a:cubicBezTo>
                <a:cubicBezTo>
                  <a:pt x="5482906" y="2640036"/>
                  <a:pt x="5482906" y="2641465"/>
                  <a:pt x="5482906" y="2642894"/>
                </a:cubicBezTo>
                <a:cubicBezTo>
                  <a:pt x="5482906" y="2642894"/>
                  <a:pt x="5482906" y="2644323"/>
                  <a:pt x="5482906" y="2645752"/>
                </a:cubicBezTo>
                <a:cubicBezTo>
                  <a:pt x="5482906" y="2647181"/>
                  <a:pt x="5481478" y="2648610"/>
                  <a:pt x="5481478" y="2650039"/>
                </a:cubicBezTo>
                <a:cubicBezTo>
                  <a:pt x="5481478" y="2650039"/>
                  <a:pt x="5481478" y="2651468"/>
                  <a:pt x="5481478" y="2652897"/>
                </a:cubicBezTo>
                <a:cubicBezTo>
                  <a:pt x="5481478" y="2654326"/>
                  <a:pt x="5481478" y="2655755"/>
                  <a:pt x="5481478" y="2655755"/>
                </a:cubicBezTo>
                <a:cubicBezTo>
                  <a:pt x="5480048" y="2657184"/>
                  <a:pt x="5480048" y="2658613"/>
                  <a:pt x="5480048" y="2660042"/>
                </a:cubicBezTo>
                <a:cubicBezTo>
                  <a:pt x="5480048" y="2661471"/>
                  <a:pt x="5480048" y="2661471"/>
                  <a:pt x="5480048" y="2662900"/>
                </a:cubicBezTo>
                <a:cubicBezTo>
                  <a:pt x="5478620" y="2664329"/>
                  <a:pt x="5478620" y="2665758"/>
                  <a:pt x="5478620" y="2667187"/>
                </a:cubicBezTo>
                <a:cubicBezTo>
                  <a:pt x="5478620" y="2668616"/>
                  <a:pt x="5478620" y="2668616"/>
                  <a:pt x="5478620" y="2668616"/>
                </a:cubicBezTo>
                <a:cubicBezTo>
                  <a:pt x="5458614" y="2775793"/>
                  <a:pt x="5420033" y="2880111"/>
                  <a:pt x="5362874" y="2974426"/>
                </a:cubicBezTo>
                <a:cubicBezTo>
                  <a:pt x="4915611" y="3748955"/>
                  <a:pt x="4909895" y="3757529"/>
                  <a:pt x="4462632" y="4532058"/>
                </a:cubicBezTo>
                <a:cubicBezTo>
                  <a:pt x="4385468" y="4673531"/>
                  <a:pt x="4269722" y="4794998"/>
                  <a:pt x="4121111" y="4880739"/>
                </a:cubicBezTo>
                <a:cubicBezTo>
                  <a:pt x="3885333" y="5016496"/>
                  <a:pt x="3615260" y="5036502"/>
                  <a:pt x="3376624" y="4957906"/>
                </a:cubicBezTo>
                <a:cubicBezTo>
                  <a:pt x="3370909" y="4955048"/>
                  <a:pt x="3363764" y="4953619"/>
                  <a:pt x="3358048" y="4950761"/>
                </a:cubicBezTo>
                <a:cubicBezTo>
                  <a:pt x="3356619" y="4950761"/>
                  <a:pt x="3356619" y="4950761"/>
                  <a:pt x="3355190" y="4950761"/>
                </a:cubicBezTo>
                <a:cubicBezTo>
                  <a:pt x="3353761" y="4949332"/>
                  <a:pt x="3350903" y="4949332"/>
                  <a:pt x="3349474" y="4947903"/>
                </a:cubicBezTo>
                <a:cubicBezTo>
                  <a:pt x="3349474" y="4947903"/>
                  <a:pt x="3349474" y="4947903"/>
                  <a:pt x="3348045" y="4947903"/>
                </a:cubicBezTo>
                <a:cubicBezTo>
                  <a:pt x="3345187" y="4946474"/>
                  <a:pt x="3340901" y="4945045"/>
                  <a:pt x="3338043" y="4943616"/>
                </a:cubicBezTo>
                <a:cubicBezTo>
                  <a:pt x="3336614" y="4943616"/>
                  <a:pt x="3335185" y="4943616"/>
                  <a:pt x="3335185" y="4942187"/>
                </a:cubicBezTo>
                <a:cubicBezTo>
                  <a:pt x="3332327" y="4942187"/>
                  <a:pt x="3330898" y="4940758"/>
                  <a:pt x="3329469" y="4940758"/>
                </a:cubicBezTo>
                <a:cubicBezTo>
                  <a:pt x="3328040" y="4940758"/>
                  <a:pt x="3326611" y="4939329"/>
                  <a:pt x="3325182" y="4939329"/>
                </a:cubicBezTo>
                <a:cubicBezTo>
                  <a:pt x="3322324" y="4937900"/>
                  <a:pt x="3320895" y="4937900"/>
                  <a:pt x="3318037" y="4936471"/>
                </a:cubicBezTo>
                <a:cubicBezTo>
                  <a:pt x="3316608" y="4935042"/>
                  <a:pt x="3315179" y="4935042"/>
                  <a:pt x="3313750" y="4935042"/>
                </a:cubicBezTo>
                <a:cubicBezTo>
                  <a:pt x="3312321" y="4933613"/>
                  <a:pt x="3310892" y="4933613"/>
                  <a:pt x="3309464" y="4932184"/>
                </a:cubicBezTo>
                <a:cubicBezTo>
                  <a:pt x="3306606" y="4932184"/>
                  <a:pt x="3305177" y="4930755"/>
                  <a:pt x="3302319" y="4929326"/>
                </a:cubicBezTo>
                <a:cubicBezTo>
                  <a:pt x="3300890" y="4929326"/>
                  <a:pt x="3299461" y="4929326"/>
                  <a:pt x="3299461" y="4927897"/>
                </a:cubicBezTo>
                <a:cubicBezTo>
                  <a:pt x="3296603" y="4927897"/>
                  <a:pt x="3295174" y="4926468"/>
                  <a:pt x="3292316" y="4925039"/>
                </a:cubicBezTo>
                <a:cubicBezTo>
                  <a:pt x="3292316" y="4925039"/>
                  <a:pt x="3290887" y="4925039"/>
                  <a:pt x="3289458" y="4923610"/>
                </a:cubicBezTo>
                <a:cubicBezTo>
                  <a:pt x="3286600" y="4923610"/>
                  <a:pt x="3283742" y="4922181"/>
                  <a:pt x="3282313" y="4920752"/>
                </a:cubicBezTo>
                <a:cubicBezTo>
                  <a:pt x="3280884" y="4920752"/>
                  <a:pt x="3280884" y="4919323"/>
                  <a:pt x="3279455" y="4919323"/>
                </a:cubicBezTo>
                <a:cubicBezTo>
                  <a:pt x="3276598" y="4917894"/>
                  <a:pt x="3275169" y="4917894"/>
                  <a:pt x="3272311" y="4916465"/>
                </a:cubicBezTo>
                <a:cubicBezTo>
                  <a:pt x="3270882" y="4916465"/>
                  <a:pt x="3270882" y="4915036"/>
                  <a:pt x="3270882" y="4915036"/>
                </a:cubicBezTo>
                <a:cubicBezTo>
                  <a:pt x="3266595" y="4913607"/>
                  <a:pt x="3263737" y="4912178"/>
                  <a:pt x="3260879" y="4910749"/>
                </a:cubicBezTo>
                <a:cubicBezTo>
                  <a:pt x="3258021" y="4909319"/>
                  <a:pt x="3253734" y="4907890"/>
                  <a:pt x="3250876" y="4906461"/>
                </a:cubicBezTo>
                <a:cubicBezTo>
                  <a:pt x="3248018" y="4903603"/>
                  <a:pt x="3245160" y="4902174"/>
                  <a:pt x="3240874" y="4900745"/>
                </a:cubicBezTo>
                <a:cubicBezTo>
                  <a:pt x="3233729" y="4896458"/>
                  <a:pt x="3225155" y="4892171"/>
                  <a:pt x="3216581" y="4887884"/>
                </a:cubicBezTo>
                <a:cubicBezTo>
                  <a:pt x="3189431" y="4872165"/>
                  <a:pt x="3163710" y="4856446"/>
                  <a:pt x="3137989" y="4839298"/>
                </a:cubicBezTo>
                <a:cubicBezTo>
                  <a:pt x="3137989" y="4837868"/>
                  <a:pt x="3136560" y="4837868"/>
                  <a:pt x="3135131" y="4836439"/>
                </a:cubicBezTo>
                <a:cubicBezTo>
                  <a:pt x="3133702" y="4835010"/>
                  <a:pt x="3130844" y="4833581"/>
                  <a:pt x="3129415" y="4832152"/>
                </a:cubicBezTo>
                <a:cubicBezTo>
                  <a:pt x="3129415" y="4832152"/>
                  <a:pt x="3127986" y="4832152"/>
                  <a:pt x="3127986" y="4830723"/>
                </a:cubicBezTo>
                <a:cubicBezTo>
                  <a:pt x="3125128" y="4829294"/>
                  <a:pt x="3122270" y="4827865"/>
                  <a:pt x="3119412" y="4825007"/>
                </a:cubicBezTo>
                <a:cubicBezTo>
                  <a:pt x="3119412" y="4825007"/>
                  <a:pt x="3119412" y="4825007"/>
                  <a:pt x="3117983" y="4825007"/>
                </a:cubicBezTo>
                <a:cubicBezTo>
                  <a:pt x="3019385" y="4752127"/>
                  <a:pt x="2935077" y="4657812"/>
                  <a:pt x="2869345" y="4544919"/>
                </a:cubicBezTo>
                <a:cubicBezTo>
                  <a:pt x="2797897" y="4422024"/>
                  <a:pt x="2759315" y="4289125"/>
                  <a:pt x="2749313" y="4154797"/>
                </a:cubicBezTo>
                <a:cubicBezTo>
                  <a:pt x="2749313" y="4153368"/>
                  <a:pt x="2749313" y="4150510"/>
                  <a:pt x="2749313" y="4149081"/>
                </a:cubicBezTo>
                <a:cubicBezTo>
                  <a:pt x="2749313" y="4147652"/>
                  <a:pt x="2749313" y="4147652"/>
                  <a:pt x="2749313" y="4146223"/>
                </a:cubicBezTo>
                <a:cubicBezTo>
                  <a:pt x="2747884" y="4144794"/>
                  <a:pt x="2747884" y="4143365"/>
                  <a:pt x="2747884" y="4141936"/>
                </a:cubicBezTo>
                <a:cubicBezTo>
                  <a:pt x="2747884" y="4140507"/>
                  <a:pt x="2747884" y="4139078"/>
                  <a:pt x="2747884" y="4137649"/>
                </a:cubicBezTo>
                <a:cubicBezTo>
                  <a:pt x="2747884" y="4137649"/>
                  <a:pt x="2747884" y="4137649"/>
                  <a:pt x="2747884" y="4136220"/>
                </a:cubicBezTo>
                <a:cubicBezTo>
                  <a:pt x="2746455" y="4116213"/>
                  <a:pt x="2746455" y="4094778"/>
                  <a:pt x="2746455" y="4074772"/>
                </a:cubicBezTo>
                <a:cubicBezTo>
                  <a:pt x="2746455" y="4073343"/>
                  <a:pt x="2746455" y="4073343"/>
                  <a:pt x="2746455" y="4073343"/>
                </a:cubicBezTo>
                <a:cubicBezTo>
                  <a:pt x="2745026" y="3921867"/>
                  <a:pt x="2705015" y="3770391"/>
                  <a:pt x="2623564" y="3630347"/>
                </a:cubicBezTo>
                <a:cubicBezTo>
                  <a:pt x="2543543" y="3490303"/>
                  <a:pt x="2430655" y="3378839"/>
                  <a:pt x="2302049" y="3301672"/>
                </a:cubicBezTo>
                <a:cubicBezTo>
                  <a:pt x="2293475" y="3297385"/>
                  <a:pt x="2284902" y="3291669"/>
                  <a:pt x="2276328" y="3287382"/>
                </a:cubicBezTo>
                <a:cubicBezTo>
                  <a:pt x="2004826" y="3137335"/>
                  <a:pt x="1663306" y="3127332"/>
                  <a:pt x="1376085" y="3293098"/>
                </a:cubicBezTo>
                <a:cubicBezTo>
                  <a:pt x="1374656" y="3294527"/>
                  <a:pt x="1374656" y="3294527"/>
                  <a:pt x="1373227" y="3294527"/>
                </a:cubicBezTo>
                <a:cubicBezTo>
                  <a:pt x="1357509" y="3304530"/>
                  <a:pt x="1341790" y="3311675"/>
                  <a:pt x="1326072" y="3320249"/>
                </a:cubicBezTo>
                <a:cubicBezTo>
                  <a:pt x="1318927" y="3324536"/>
                  <a:pt x="1311782" y="3327394"/>
                  <a:pt x="1304638" y="3330252"/>
                </a:cubicBezTo>
                <a:cubicBezTo>
                  <a:pt x="1297493" y="3334539"/>
                  <a:pt x="1291777" y="3337398"/>
                  <a:pt x="1283203" y="3340256"/>
                </a:cubicBezTo>
                <a:cubicBezTo>
                  <a:pt x="1277487" y="3343114"/>
                  <a:pt x="1270343" y="3345972"/>
                  <a:pt x="1263198" y="3348830"/>
                </a:cubicBezTo>
                <a:cubicBezTo>
                  <a:pt x="1256053" y="3351688"/>
                  <a:pt x="1248908" y="3354546"/>
                  <a:pt x="1241763" y="3357404"/>
                </a:cubicBezTo>
                <a:cubicBezTo>
                  <a:pt x="1234619" y="3360262"/>
                  <a:pt x="1227474" y="3363120"/>
                  <a:pt x="1220329" y="3365978"/>
                </a:cubicBezTo>
                <a:cubicBezTo>
                  <a:pt x="1213184" y="3367407"/>
                  <a:pt x="1206040" y="3370265"/>
                  <a:pt x="1198895" y="3373123"/>
                </a:cubicBezTo>
                <a:cubicBezTo>
                  <a:pt x="1087436" y="3408849"/>
                  <a:pt x="971691" y="3423139"/>
                  <a:pt x="857374" y="3415994"/>
                </a:cubicBezTo>
                <a:cubicBezTo>
                  <a:pt x="850229" y="3414565"/>
                  <a:pt x="843085" y="3414565"/>
                  <a:pt x="834511" y="3414565"/>
                </a:cubicBezTo>
                <a:cubicBezTo>
                  <a:pt x="828795" y="3413136"/>
                  <a:pt x="821650" y="3413136"/>
                  <a:pt x="814505" y="3411707"/>
                </a:cubicBezTo>
                <a:cubicBezTo>
                  <a:pt x="814505" y="3411707"/>
                  <a:pt x="813076" y="3411707"/>
                  <a:pt x="813076" y="3411707"/>
                </a:cubicBezTo>
                <a:cubicBezTo>
                  <a:pt x="805932" y="3410278"/>
                  <a:pt x="800216" y="3410278"/>
                  <a:pt x="793071" y="3408849"/>
                </a:cubicBezTo>
                <a:cubicBezTo>
                  <a:pt x="793071" y="3408849"/>
                  <a:pt x="793071" y="3408849"/>
                  <a:pt x="791642" y="3408849"/>
                </a:cubicBezTo>
                <a:cubicBezTo>
                  <a:pt x="787355" y="3408849"/>
                  <a:pt x="783068" y="3407419"/>
                  <a:pt x="778782" y="3407419"/>
                </a:cubicBezTo>
                <a:cubicBezTo>
                  <a:pt x="778782" y="3407419"/>
                  <a:pt x="778782" y="3407419"/>
                  <a:pt x="777353" y="3407419"/>
                </a:cubicBezTo>
                <a:cubicBezTo>
                  <a:pt x="775924" y="3407419"/>
                  <a:pt x="774495" y="3405990"/>
                  <a:pt x="771637" y="3405990"/>
                </a:cubicBezTo>
                <a:cubicBezTo>
                  <a:pt x="771637" y="3405990"/>
                  <a:pt x="770208" y="3405990"/>
                  <a:pt x="768779" y="3405990"/>
                </a:cubicBezTo>
                <a:cubicBezTo>
                  <a:pt x="765921" y="3404561"/>
                  <a:pt x="763063" y="3404561"/>
                  <a:pt x="760205" y="3404561"/>
                </a:cubicBezTo>
                <a:cubicBezTo>
                  <a:pt x="758776" y="3404561"/>
                  <a:pt x="757347" y="3403132"/>
                  <a:pt x="755918" y="3403132"/>
                </a:cubicBezTo>
                <a:cubicBezTo>
                  <a:pt x="754489" y="3403132"/>
                  <a:pt x="753060" y="3403132"/>
                  <a:pt x="751631" y="3403132"/>
                </a:cubicBezTo>
                <a:cubicBezTo>
                  <a:pt x="748774" y="3401703"/>
                  <a:pt x="747344" y="3401703"/>
                  <a:pt x="745915" y="3401703"/>
                </a:cubicBezTo>
                <a:cubicBezTo>
                  <a:pt x="744487" y="3401703"/>
                  <a:pt x="741629" y="3400274"/>
                  <a:pt x="740200" y="3400274"/>
                </a:cubicBezTo>
                <a:cubicBezTo>
                  <a:pt x="738771" y="3400274"/>
                  <a:pt x="735913" y="3400274"/>
                  <a:pt x="734484" y="3398845"/>
                </a:cubicBezTo>
                <a:cubicBezTo>
                  <a:pt x="733055" y="3398845"/>
                  <a:pt x="731626" y="3398845"/>
                  <a:pt x="730197" y="3398845"/>
                </a:cubicBezTo>
                <a:cubicBezTo>
                  <a:pt x="727339" y="3397416"/>
                  <a:pt x="725910" y="3397416"/>
                  <a:pt x="724481" y="3397416"/>
                </a:cubicBezTo>
                <a:cubicBezTo>
                  <a:pt x="723052" y="3397416"/>
                  <a:pt x="721623" y="3395987"/>
                  <a:pt x="720194" y="3395987"/>
                </a:cubicBezTo>
                <a:cubicBezTo>
                  <a:pt x="717336" y="3395987"/>
                  <a:pt x="714478" y="3394558"/>
                  <a:pt x="711621" y="3394558"/>
                </a:cubicBezTo>
                <a:cubicBezTo>
                  <a:pt x="711621" y="3394558"/>
                  <a:pt x="710192" y="3394558"/>
                  <a:pt x="708763" y="3393129"/>
                </a:cubicBezTo>
                <a:cubicBezTo>
                  <a:pt x="705905" y="3393129"/>
                  <a:pt x="704476" y="3393129"/>
                  <a:pt x="701618" y="3391700"/>
                </a:cubicBezTo>
                <a:cubicBezTo>
                  <a:pt x="700189" y="3391700"/>
                  <a:pt x="700189" y="3391700"/>
                  <a:pt x="700189" y="3391700"/>
                </a:cubicBezTo>
                <a:cubicBezTo>
                  <a:pt x="695902" y="3390271"/>
                  <a:pt x="693044" y="3390271"/>
                  <a:pt x="690186" y="3388842"/>
                </a:cubicBezTo>
                <a:cubicBezTo>
                  <a:pt x="690186" y="3388842"/>
                  <a:pt x="688757" y="3388842"/>
                  <a:pt x="688757" y="3388842"/>
                </a:cubicBezTo>
                <a:cubicBezTo>
                  <a:pt x="681612" y="3387413"/>
                  <a:pt x="675897" y="3385984"/>
                  <a:pt x="668752" y="3383126"/>
                </a:cubicBezTo>
                <a:cubicBezTo>
                  <a:pt x="668752" y="3383126"/>
                  <a:pt x="667323" y="3383126"/>
                  <a:pt x="667323" y="3383126"/>
                </a:cubicBezTo>
                <a:cubicBezTo>
                  <a:pt x="660178" y="3381697"/>
                  <a:pt x="654462" y="3378839"/>
                  <a:pt x="647317" y="3377410"/>
                </a:cubicBezTo>
                <a:cubicBezTo>
                  <a:pt x="585872" y="3358833"/>
                  <a:pt x="525856" y="3333110"/>
                  <a:pt x="470127" y="3301672"/>
                </a:cubicBezTo>
                <a:cubicBezTo>
                  <a:pt x="470127" y="3301672"/>
                  <a:pt x="470127" y="3301672"/>
                  <a:pt x="468698" y="3301672"/>
                </a:cubicBezTo>
                <a:cubicBezTo>
                  <a:pt x="457266" y="3294527"/>
                  <a:pt x="445835" y="3287382"/>
                  <a:pt x="432974" y="3280237"/>
                </a:cubicBezTo>
                <a:cubicBezTo>
                  <a:pt x="432974" y="3280237"/>
                  <a:pt x="432974" y="3280237"/>
                  <a:pt x="431545" y="3278808"/>
                </a:cubicBezTo>
                <a:cubicBezTo>
                  <a:pt x="430116" y="3277379"/>
                  <a:pt x="427258" y="3275950"/>
                  <a:pt x="424400" y="3274521"/>
                </a:cubicBezTo>
                <a:cubicBezTo>
                  <a:pt x="422972" y="3273092"/>
                  <a:pt x="421542" y="3273092"/>
                  <a:pt x="418684" y="3271663"/>
                </a:cubicBezTo>
                <a:cubicBezTo>
                  <a:pt x="418684" y="3270234"/>
                  <a:pt x="417255" y="3270234"/>
                  <a:pt x="417255" y="3270234"/>
                </a:cubicBezTo>
                <a:cubicBezTo>
                  <a:pt x="298652" y="3193067"/>
                  <a:pt x="197196" y="3088748"/>
                  <a:pt x="122891" y="2960136"/>
                </a:cubicBezTo>
                <a:cubicBezTo>
                  <a:pt x="42869" y="2820092"/>
                  <a:pt x="2858" y="2668616"/>
                  <a:pt x="0" y="2517140"/>
                </a:cubicBezTo>
                <a:cubicBezTo>
                  <a:pt x="0" y="2508566"/>
                  <a:pt x="0" y="2498563"/>
                  <a:pt x="0" y="2488560"/>
                </a:cubicBezTo>
                <a:cubicBezTo>
                  <a:pt x="0" y="2488560"/>
                  <a:pt x="0" y="2487131"/>
                  <a:pt x="0" y="2487131"/>
                </a:cubicBezTo>
                <a:cubicBezTo>
                  <a:pt x="2858" y="2325651"/>
                  <a:pt x="48585" y="2167030"/>
                  <a:pt x="131464" y="2028415"/>
                </a:cubicBezTo>
                <a:cubicBezTo>
                  <a:pt x="577299" y="1255316"/>
                  <a:pt x="583014" y="1245313"/>
                  <a:pt x="1030278" y="470784"/>
                </a:cubicBezTo>
                <a:cubicBezTo>
                  <a:pt x="1031707" y="470784"/>
                  <a:pt x="1031707" y="469355"/>
                  <a:pt x="1033136" y="467926"/>
                </a:cubicBezTo>
                <a:cubicBezTo>
                  <a:pt x="1033136" y="466497"/>
                  <a:pt x="1034565" y="465068"/>
                  <a:pt x="1034565" y="465068"/>
                </a:cubicBezTo>
                <a:cubicBezTo>
                  <a:pt x="1035994" y="462210"/>
                  <a:pt x="1037423" y="459352"/>
                  <a:pt x="1038852" y="456494"/>
                </a:cubicBezTo>
                <a:cubicBezTo>
                  <a:pt x="1038852" y="456494"/>
                  <a:pt x="1040281" y="455065"/>
                  <a:pt x="1040281" y="453635"/>
                </a:cubicBezTo>
                <a:cubicBezTo>
                  <a:pt x="1041709" y="452206"/>
                  <a:pt x="1043138" y="450777"/>
                  <a:pt x="1043138" y="447919"/>
                </a:cubicBezTo>
                <a:cubicBezTo>
                  <a:pt x="1044567" y="447919"/>
                  <a:pt x="1044567" y="446490"/>
                  <a:pt x="1045996" y="445061"/>
                </a:cubicBezTo>
                <a:cubicBezTo>
                  <a:pt x="1047425" y="443632"/>
                  <a:pt x="1048854" y="440774"/>
                  <a:pt x="1050283" y="437916"/>
                </a:cubicBezTo>
                <a:cubicBezTo>
                  <a:pt x="1050283" y="436487"/>
                  <a:pt x="1051712" y="436487"/>
                  <a:pt x="1051712" y="435058"/>
                </a:cubicBezTo>
                <a:cubicBezTo>
                  <a:pt x="1053141" y="433629"/>
                  <a:pt x="1054570" y="430771"/>
                  <a:pt x="1054570" y="429342"/>
                </a:cubicBezTo>
                <a:cubicBezTo>
                  <a:pt x="1055999" y="427913"/>
                  <a:pt x="1055999" y="427913"/>
                  <a:pt x="1057428" y="426484"/>
                </a:cubicBezTo>
                <a:cubicBezTo>
                  <a:pt x="1058857" y="423626"/>
                  <a:pt x="1060286" y="422197"/>
                  <a:pt x="1061715" y="419339"/>
                </a:cubicBezTo>
                <a:cubicBezTo>
                  <a:pt x="1061715" y="417910"/>
                  <a:pt x="1063144" y="417910"/>
                  <a:pt x="1063144" y="416481"/>
                </a:cubicBezTo>
                <a:cubicBezTo>
                  <a:pt x="1064573" y="413623"/>
                  <a:pt x="1066002" y="412194"/>
                  <a:pt x="1067431" y="410765"/>
                </a:cubicBezTo>
                <a:cubicBezTo>
                  <a:pt x="1067431" y="409336"/>
                  <a:pt x="1068860" y="409336"/>
                  <a:pt x="1068860" y="407907"/>
                </a:cubicBezTo>
                <a:cubicBezTo>
                  <a:pt x="1070289" y="405049"/>
                  <a:pt x="1071718" y="403620"/>
                  <a:pt x="1074576" y="400762"/>
                </a:cubicBezTo>
                <a:cubicBezTo>
                  <a:pt x="1074576" y="399333"/>
                  <a:pt x="1074576" y="399333"/>
                  <a:pt x="1076004" y="397904"/>
                </a:cubicBezTo>
                <a:cubicBezTo>
                  <a:pt x="1077433" y="396475"/>
                  <a:pt x="1078863" y="393617"/>
                  <a:pt x="1080291" y="392188"/>
                </a:cubicBezTo>
                <a:cubicBezTo>
                  <a:pt x="1080291" y="390759"/>
                  <a:pt x="1081720" y="390759"/>
                  <a:pt x="1081720" y="389330"/>
                </a:cubicBezTo>
                <a:cubicBezTo>
                  <a:pt x="1083149" y="387901"/>
                  <a:pt x="1084578" y="385043"/>
                  <a:pt x="1087436" y="382185"/>
                </a:cubicBezTo>
                <a:cubicBezTo>
                  <a:pt x="1087436" y="382185"/>
                  <a:pt x="1087436" y="380755"/>
                  <a:pt x="1088865" y="379326"/>
                </a:cubicBezTo>
                <a:cubicBezTo>
                  <a:pt x="1090294" y="377897"/>
                  <a:pt x="1091723" y="375039"/>
                  <a:pt x="1093152" y="373610"/>
                </a:cubicBezTo>
                <a:cubicBezTo>
                  <a:pt x="1094581" y="372181"/>
                  <a:pt x="1094581" y="372181"/>
                  <a:pt x="1094581" y="372181"/>
                </a:cubicBezTo>
                <a:cubicBezTo>
                  <a:pt x="1096010" y="369323"/>
                  <a:pt x="1098868" y="366465"/>
                  <a:pt x="1100297" y="365036"/>
                </a:cubicBezTo>
                <a:cubicBezTo>
                  <a:pt x="1100297" y="363607"/>
                  <a:pt x="1101726" y="363607"/>
                  <a:pt x="1101726" y="362178"/>
                </a:cubicBezTo>
                <a:cubicBezTo>
                  <a:pt x="1103155" y="359320"/>
                  <a:pt x="1106013" y="356462"/>
                  <a:pt x="1107442" y="353604"/>
                </a:cubicBezTo>
                <a:cubicBezTo>
                  <a:pt x="1110299" y="352175"/>
                  <a:pt x="1111728" y="349317"/>
                  <a:pt x="1113157" y="346459"/>
                </a:cubicBezTo>
                <a:cubicBezTo>
                  <a:pt x="1114586" y="346459"/>
                  <a:pt x="1114586" y="345030"/>
                  <a:pt x="1114586" y="345030"/>
                </a:cubicBezTo>
                <a:cubicBezTo>
                  <a:pt x="1118873" y="339314"/>
                  <a:pt x="1123160" y="333598"/>
                  <a:pt x="1127447" y="329311"/>
                </a:cubicBezTo>
                <a:cubicBezTo>
                  <a:pt x="1128876" y="329311"/>
                  <a:pt x="1128876" y="327882"/>
                  <a:pt x="1128876" y="327882"/>
                </a:cubicBezTo>
                <a:cubicBezTo>
                  <a:pt x="1133163" y="322166"/>
                  <a:pt x="1137450" y="316450"/>
                  <a:pt x="1143165" y="312163"/>
                </a:cubicBezTo>
                <a:cubicBezTo>
                  <a:pt x="1143165" y="312163"/>
                  <a:pt x="1143165" y="310734"/>
                  <a:pt x="1143165" y="310734"/>
                </a:cubicBezTo>
                <a:cubicBezTo>
                  <a:pt x="1148881" y="305017"/>
                  <a:pt x="1153168" y="300730"/>
                  <a:pt x="1157455" y="295014"/>
                </a:cubicBezTo>
                <a:cubicBezTo>
                  <a:pt x="1157455" y="295014"/>
                  <a:pt x="1158884" y="295014"/>
                  <a:pt x="1158884" y="293585"/>
                </a:cubicBezTo>
                <a:cubicBezTo>
                  <a:pt x="1163171" y="289298"/>
                  <a:pt x="1168887" y="283582"/>
                  <a:pt x="1173174" y="277866"/>
                </a:cubicBezTo>
                <a:cubicBezTo>
                  <a:pt x="1231761" y="219276"/>
                  <a:pt x="1298922" y="166403"/>
                  <a:pt x="1373227" y="122103"/>
                </a:cubicBezTo>
                <a:cubicBezTo>
                  <a:pt x="1427528" y="90664"/>
                  <a:pt x="1484686" y="66371"/>
                  <a:pt x="1543273" y="46365"/>
                </a:cubicBezTo>
                <a:cubicBezTo>
                  <a:pt x="1546131" y="44936"/>
                  <a:pt x="1548989" y="44936"/>
                  <a:pt x="1553276" y="43507"/>
                </a:cubicBezTo>
                <a:cubicBezTo>
                  <a:pt x="1557563" y="42078"/>
                  <a:pt x="1560421" y="40649"/>
                  <a:pt x="1563279" y="39220"/>
                </a:cubicBezTo>
                <a:cubicBezTo>
                  <a:pt x="1564708" y="39220"/>
                  <a:pt x="1564708" y="39220"/>
                  <a:pt x="1564708" y="39220"/>
                </a:cubicBezTo>
                <a:cubicBezTo>
                  <a:pt x="1567566" y="39220"/>
                  <a:pt x="1571852" y="37791"/>
                  <a:pt x="1574710" y="36362"/>
                </a:cubicBezTo>
                <a:cubicBezTo>
                  <a:pt x="1574710" y="36362"/>
                  <a:pt x="1574710" y="36362"/>
                  <a:pt x="1576139" y="36362"/>
                </a:cubicBezTo>
                <a:cubicBezTo>
                  <a:pt x="1578997" y="34933"/>
                  <a:pt x="1581855" y="34933"/>
                  <a:pt x="1584713" y="33504"/>
                </a:cubicBezTo>
                <a:cubicBezTo>
                  <a:pt x="1586142" y="33504"/>
                  <a:pt x="1586142" y="33504"/>
                  <a:pt x="1587571" y="33504"/>
                </a:cubicBezTo>
                <a:cubicBezTo>
                  <a:pt x="1590429" y="32075"/>
                  <a:pt x="1593287" y="32075"/>
                  <a:pt x="1596145" y="30646"/>
                </a:cubicBezTo>
                <a:cubicBezTo>
                  <a:pt x="1596145" y="30646"/>
                  <a:pt x="1597574" y="30646"/>
                  <a:pt x="1597574" y="30646"/>
                </a:cubicBezTo>
                <a:cubicBezTo>
                  <a:pt x="1600432" y="29217"/>
                  <a:pt x="1603289" y="29217"/>
                  <a:pt x="1607576" y="27788"/>
                </a:cubicBezTo>
                <a:cubicBezTo>
                  <a:pt x="1607576" y="27788"/>
                  <a:pt x="1609005" y="27788"/>
                  <a:pt x="1609005" y="27788"/>
                </a:cubicBezTo>
                <a:cubicBezTo>
                  <a:pt x="1611863" y="26359"/>
                  <a:pt x="1614721" y="26359"/>
                  <a:pt x="1617579" y="24930"/>
                </a:cubicBezTo>
                <a:cubicBezTo>
                  <a:pt x="1617579" y="24930"/>
                  <a:pt x="1619008" y="24930"/>
                  <a:pt x="1619008" y="24930"/>
                </a:cubicBezTo>
                <a:cubicBezTo>
                  <a:pt x="1621866" y="23501"/>
                  <a:pt x="1624724" y="23501"/>
                  <a:pt x="1629011" y="22072"/>
                </a:cubicBezTo>
                <a:cubicBezTo>
                  <a:pt x="1629011" y="22072"/>
                  <a:pt x="1630440" y="22072"/>
                  <a:pt x="1631869" y="22072"/>
                </a:cubicBezTo>
                <a:cubicBezTo>
                  <a:pt x="1633298" y="22072"/>
                  <a:pt x="1634727" y="20643"/>
                  <a:pt x="1636155" y="20643"/>
                </a:cubicBezTo>
                <a:cubicBezTo>
                  <a:pt x="1636155" y="20643"/>
                  <a:pt x="1637584" y="20643"/>
                  <a:pt x="1639013" y="20643"/>
                </a:cubicBezTo>
                <a:cubicBezTo>
                  <a:pt x="1639013" y="20643"/>
                  <a:pt x="1640442" y="19213"/>
                  <a:pt x="1641871" y="19213"/>
                </a:cubicBezTo>
                <a:cubicBezTo>
                  <a:pt x="1641871" y="19213"/>
                  <a:pt x="1641871" y="19213"/>
                  <a:pt x="1643300" y="19213"/>
                </a:cubicBezTo>
                <a:cubicBezTo>
                  <a:pt x="1644729" y="19213"/>
                  <a:pt x="1647587" y="17784"/>
                  <a:pt x="1650445" y="17784"/>
                </a:cubicBezTo>
                <a:cubicBezTo>
                  <a:pt x="1651874" y="17784"/>
                  <a:pt x="1653303" y="17784"/>
                  <a:pt x="1654732" y="17784"/>
                </a:cubicBezTo>
                <a:cubicBezTo>
                  <a:pt x="1654732" y="16355"/>
                  <a:pt x="1656161" y="16355"/>
                  <a:pt x="1657590" y="16355"/>
                </a:cubicBezTo>
                <a:cubicBezTo>
                  <a:pt x="1657590" y="16355"/>
                  <a:pt x="1659019" y="16355"/>
                  <a:pt x="1660448" y="16355"/>
                </a:cubicBezTo>
                <a:cubicBezTo>
                  <a:pt x="1661877" y="16355"/>
                  <a:pt x="1663306" y="14926"/>
                  <a:pt x="1664735" y="14926"/>
                </a:cubicBezTo>
                <a:cubicBezTo>
                  <a:pt x="1666164" y="14926"/>
                  <a:pt x="1666164" y="14926"/>
                  <a:pt x="1666164" y="14926"/>
                </a:cubicBezTo>
                <a:cubicBezTo>
                  <a:pt x="1669021" y="14926"/>
                  <a:pt x="1670450" y="13497"/>
                  <a:pt x="1671879" y="13497"/>
                </a:cubicBezTo>
                <a:cubicBezTo>
                  <a:pt x="1673308" y="13497"/>
                  <a:pt x="1674737" y="13497"/>
                  <a:pt x="1676166" y="13497"/>
                </a:cubicBezTo>
                <a:cubicBezTo>
                  <a:pt x="1677595" y="13497"/>
                  <a:pt x="1679024" y="12068"/>
                  <a:pt x="1679024" y="12068"/>
                </a:cubicBezTo>
                <a:cubicBezTo>
                  <a:pt x="1680453" y="12068"/>
                  <a:pt x="1680453" y="12068"/>
                  <a:pt x="1681882" y="12068"/>
                </a:cubicBezTo>
                <a:cubicBezTo>
                  <a:pt x="1683311" y="12068"/>
                  <a:pt x="1686169" y="12068"/>
                  <a:pt x="1687598" y="10639"/>
                </a:cubicBezTo>
                <a:cubicBezTo>
                  <a:pt x="1687598" y="10639"/>
                  <a:pt x="1689027" y="10639"/>
                  <a:pt x="1689027" y="10639"/>
                </a:cubicBezTo>
                <a:cubicBezTo>
                  <a:pt x="1690456" y="10639"/>
                  <a:pt x="1691885" y="10639"/>
                  <a:pt x="1693314" y="10639"/>
                </a:cubicBezTo>
                <a:cubicBezTo>
                  <a:pt x="1694743" y="10639"/>
                  <a:pt x="1697601" y="9210"/>
                  <a:pt x="1699030" y="9210"/>
                </a:cubicBezTo>
                <a:cubicBezTo>
                  <a:pt x="1700459" y="9210"/>
                  <a:pt x="1700459" y="9210"/>
                  <a:pt x="1701887" y="9210"/>
                </a:cubicBezTo>
                <a:cubicBezTo>
                  <a:pt x="1701887" y="9210"/>
                  <a:pt x="1703316" y="9210"/>
                  <a:pt x="1703316" y="9210"/>
                </a:cubicBezTo>
                <a:cubicBezTo>
                  <a:pt x="1706174" y="9210"/>
                  <a:pt x="1707603" y="7781"/>
                  <a:pt x="1710461" y="7781"/>
                </a:cubicBezTo>
                <a:cubicBezTo>
                  <a:pt x="1710461" y="7781"/>
                  <a:pt x="1711890" y="7781"/>
                  <a:pt x="1711890" y="7781"/>
                </a:cubicBezTo>
                <a:cubicBezTo>
                  <a:pt x="1711890" y="7781"/>
                  <a:pt x="1711890" y="7781"/>
                  <a:pt x="1713319" y="7781"/>
                </a:cubicBezTo>
                <a:cubicBezTo>
                  <a:pt x="1713319" y="7781"/>
                  <a:pt x="1714748" y="7781"/>
                  <a:pt x="1714748" y="7781"/>
                </a:cubicBezTo>
                <a:cubicBezTo>
                  <a:pt x="1717606" y="6352"/>
                  <a:pt x="1719035" y="6352"/>
                  <a:pt x="1721893" y="6352"/>
                </a:cubicBezTo>
                <a:cubicBezTo>
                  <a:pt x="1721893" y="6352"/>
                  <a:pt x="1721893" y="6352"/>
                  <a:pt x="1723322" y="6352"/>
                </a:cubicBezTo>
                <a:cubicBezTo>
                  <a:pt x="1723322" y="6352"/>
                  <a:pt x="1724751" y="6352"/>
                  <a:pt x="1724751" y="6352"/>
                </a:cubicBezTo>
                <a:cubicBezTo>
                  <a:pt x="1724751" y="6352"/>
                  <a:pt x="1724751" y="6352"/>
                  <a:pt x="1726180" y="6352"/>
                </a:cubicBezTo>
                <a:cubicBezTo>
                  <a:pt x="1727609" y="6352"/>
                  <a:pt x="1730467" y="4923"/>
                  <a:pt x="1733325" y="4923"/>
                </a:cubicBezTo>
                <a:cubicBezTo>
                  <a:pt x="1733325" y="4923"/>
                  <a:pt x="1733325" y="4923"/>
                  <a:pt x="1734753" y="4923"/>
                </a:cubicBezTo>
                <a:cubicBezTo>
                  <a:pt x="1734753" y="4923"/>
                  <a:pt x="1734753" y="4923"/>
                  <a:pt x="1736182" y="4923"/>
                </a:cubicBezTo>
                <a:cubicBezTo>
                  <a:pt x="1739040" y="4923"/>
                  <a:pt x="1741898" y="4923"/>
                  <a:pt x="1744756" y="3494"/>
                </a:cubicBezTo>
                <a:cubicBezTo>
                  <a:pt x="1747614" y="3494"/>
                  <a:pt x="1751901" y="3494"/>
                  <a:pt x="1756188" y="3494"/>
                </a:cubicBezTo>
                <a:cubicBezTo>
                  <a:pt x="1757617" y="3494"/>
                  <a:pt x="1757617" y="3494"/>
                  <a:pt x="1759046" y="3494"/>
                </a:cubicBezTo>
                <a:cubicBezTo>
                  <a:pt x="1764762" y="2065"/>
                  <a:pt x="1771906" y="2065"/>
                  <a:pt x="1779051" y="2065"/>
                </a:cubicBezTo>
                <a:cubicBezTo>
                  <a:pt x="1786196" y="636"/>
                  <a:pt x="1793341" y="636"/>
                  <a:pt x="1801914" y="636"/>
                </a:cubicBezTo>
                <a:close/>
              </a:path>
            </a:pathLst>
          </a:custGeom>
        </p:spPr>
        <p:txBody>
          <a:bodyPr wrap="square" tIns="1908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B6BD396-A9EF-4F5D-5D74-70405F6299B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0622025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Image)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7" y="1376363"/>
            <a:ext cx="5705475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 descr="A yellow and orange wave&#10;&#10;Description automatically generated with medium confidence">
            <a:extLst>
              <a:ext uri="{FF2B5EF4-FFF2-40B4-BE49-F238E27FC236}">
                <a16:creationId xmlns:a16="http://schemas.microsoft.com/office/drawing/2014/main" id="{C125A928-702B-F863-2447-9BBC0DB4852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7877" y="2479031"/>
            <a:ext cx="4674124" cy="4379994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219B4C3-ECD6-8B72-6D18-DB4040D28FD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41024" y="0"/>
            <a:ext cx="5350976" cy="5712643"/>
          </a:xfrm>
          <a:custGeom>
            <a:avLst/>
            <a:gdLst>
              <a:gd name="connsiteX0" fmla="*/ 2441813 w 5182014"/>
              <a:gd name="connsiteY0" fmla="*/ 0 h 5532261"/>
              <a:gd name="connsiteX1" fmla="*/ 5182014 w 5182014"/>
              <a:gd name="connsiteY1" fmla="*/ 0 h 5532261"/>
              <a:gd name="connsiteX2" fmla="*/ 5182014 w 5182014"/>
              <a:gd name="connsiteY2" fmla="*/ 2429538 h 5532261"/>
              <a:gd name="connsiteX3" fmla="*/ 4889685 w 5182014"/>
              <a:gd name="connsiteY3" fmla="*/ 2509548 h 5532261"/>
              <a:gd name="connsiteX4" fmla="*/ 4835835 w 5182014"/>
              <a:gd name="connsiteY4" fmla="*/ 2531089 h 5532261"/>
              <a:gd name="connsiteX5" fmla="*/ 3694213 w 5182014"/>
              <a:gd name="connsiteY5" fmla="*/ 3965116 h 5532261"/>
              <a:gd name="connsiteX6" fmla="*/ 2552590 w 5182014"/>
              <a:gd name="connsiteY6" fmla="*/ 5397605 h 5532261"/>
              <a:gd name="connsiteX7" fmla="*/ 2497202 w 5182014"/>
              <a:gd name="connsiteY7" fmla="*/ 5419146 h 5532261"/>
              <a:gd name="connsiteX8" fmla="*/ 1567903 w 5182014"/>
              <a:gd name="connsiteY8" fmla="*/ 5508388 h 5532261"/>
              <a:gd name="connsiteX9" fmla="*/ 712455 w 5182014"/>
              <a:gd name="connsiteY9" fmla="*/ 5136033 h 5532261"/>
              <a:gd name="connsiteX10" fmla="*/ 666298 w 5182014"/>
              <a:gd name="connsiteY10" fmla="*/ 5099106 h 5532261"/>
              <a:gd name="connsiteX11" fmla="*/ 23174 w 5182014"/>
              <a:gd name="connsiteY11" fmla="*/ 3383504 h 5532261"/>
              <a:gd name="connsiteX12" fmla="*/ 413972 w 5182014"/>
              <a:gd name="connsiteY12" fmla="*/ 2504932 h 5532261"/>
              <a:gd name="connsiteX13" fmla="*/ 430896 w 5182014"/>
              <a:gd name="connsiteY13" fmla="*/ 2484929 h 5532261"/>
              <a:gd name="connsiteX14" fmla="*/ 440127 w 5182014"/>
              <a:gd name="connsiteY14" fmla="*/ 2474159 h 5532261"/>
              <a:gd name="connsiteX15" fmla="*/ 787845 w 5182014"/>
              <a:gd name="connsiteY15" fmla="*/ 2044874 h 5532261"/>
              <a:gd name="connsiteX16" fmla="*/ 2380270 w 5182014"/>
              <a:gd name="connsiteY16" fmla="*/ 76933 h 5532261"/>
              <a:gd name="connsiteX17" fmla="*/ 2441813 w 5182014"/>
              <a:gd name="connsiteY17" fmla="*/ 0 h 5532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182014" h="5532261">
                <a:moveTo>
                  <a:pt x="2441813" y="0"/>
                </a:moveTo>
                <a:cubicBezTo>
                  <a:pt x="2441813" y="0"/>
                  <a:pt x="2441813" y="0"/>
                  <a:pt x="5182014" y="0"/>
                </a:cubicBezTo>
                <a:cubicBezTo>
                  <a:pt x="5182014" y="0"/>
                  <a:pt x="5182014" y="0"/>
                  <a:pt x="5182014" y="2429538"/>
                </a:cubicBezTo>
                <a:cubicBezTo>
                  <a:pt x="5082007" y="2448001"/>
                  <a:pt x="4985077" y="2475697"/>
                  <a:pt x="4889685" y="2509548"/>
                </a:cubicBezTo>
                <a:cubicBezTo>
                  <a:pt x="4871222" y="2517241"/>
                  <a:pt x="4852759" y="2523396"/>
                  <a:pt x="4835835" y="2531089"/>
                </a:cubicBezTo>
                <a:cubicBezTo>
                  <a:pt x="4249638" y="2766503"/>
                  <a:pt x="3798836" y="3295801"/>
                  <a:pt x="3694213" y="3965116"/>
                </a:cubicBezTo>
                <a:cubicBezTo>
                  <a:pt x="3588051" y="4632893"/>
                  <a:pt x="3137249" y="5162190"/>
                  <a:pt x="2552590" y="5397605"/>
                </a:cubicBezTo>
                <a:cubicBezTo>
                  <a:pt x="2532589" y="5403759"/>
                  <a:pt x="2514126" y="5411453"/>
                  <a:pt x="2497202" y="5419146"/>
                </a:cubicBezTo>
                <a:cubicBezTo>
                  <a:pt x="2209488" y="5525313"/>
                  <a:pt x="1891003" y="5560702"/>
                  <a:pt x="1567903" y="5508388"/>
                </a:cubicBezTo>
                <a:cubicBezTo>
                  <a:pt x="1244802" y="5457612"/>
                  <a:pt x="952473" y="5325288"/>
                  <a:pt x="712455" y="5136033"/>
                </a:cubicBezTo>
                <a:cubicBezTo>
                  <a:pt x="697069" y="5123724"/>
                  <a:pt x="681684" y="5111415"/>
                  <a:pt x="666298" y="5099106"/>
                </a:cubicBezTo>
                <a:cubicBezTo>
                  <a:pt x="183186" y="4694439"/>
                  <a:pt x="-82988" y="4051281"/>
                  <a:pt x="23174" y="3383504"/>
                </a:cubicBezTo>
                <a:cubicBezTo>
                  <a:pt x="77024" y="3048077"/>
                  <a:pt x="215496" y="2749578"/>
                  <a:pt x="413972" y="2504932"/>
                </a:cubicBezTo>
                <a:cubicBezTo>
                  <a:pt x="420126" y="2498777"/>
                  <a:pt x="424742" y="2491084"/>
                  <a:pt x="430896" y="2484929"/>
                </a:cubicBezTo>
                <a:cubicBezTo>
                  <a:pt x="433973" y="2480313"/>
                  <a:pt x="437050" y="2477236"/>
                  <a:pt x="440127" y="2474159"/>
                </a:cubicBezTo>
                <a:cubicBezTo>
                  <a:pt x="569368" y="2314138"/>
                  <a:pt x="683222" y="2172582"/>
                  <a:pt x="787845" y="2044874"/>
                </a:cubicBezTo>
                <a:cubicBezTo>
                  <a:pt x="1490974" y="1175533"/>
                  <a:pt x="1677141" y="944735"/>
                  <a:pt x="2380270" y="76933"/>
                </a:cubicBezTo>
                <a:cubicBezTo>
                  <a:pt x="2400271" y="52314"/>
                  <a:pt x="2421811" y="26157"/>
                  <a:pt x="2441813" y="0"/>
                </a:cubicBezTo>
                <a:close/>
              </a:path>
            </a:pathLst>
          </a:custGeom>
        </p:spPr>
        <p:txBody>
          <a:bodyPr wrap="square" tIns="2232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8232FB1-F3D9-9063-6297-166EBA25264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6285098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Image)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320667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4" descr="A yellow and pink gradient&#10;&#10;Description automatically generated">
            <a:extLst>
              <a:ext uri="{FF2B5EF4-FFF2-40B4-BE49-F238E27FC236}">
                <a16:creationId xmlns:a16="http://schemas.microsoft.com/office/drawing/2014/main" id="{42CDA96A-9BD0-0CE9-B6BA-1C92DC5B86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6161" y="3208054"/>
            <a:ext cx="3905839" cy="3650972"/>
          </a:xfrm>
          <a:prstGeom prst="rect">
            <a:avLst/>
          </a:prstGeom>
        </p:spPr>
      </p:pic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C1EF5172-2DF4-5C2C-6504-29D22487319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236311" y="0"/>
            <a:ext cx="6965115" cy="5439266"/>
          </a:xfrm>
          <a:custGeom>
            <a:avLst/>
            <a:gdLst>
              <a:gd name="connsiteX0" fmla="*/ 453997 w 6042287"/>
              <a:gd name="connsiteY0" fmla="*/ 0 h 4718602"/>
              <a:gd name="connsiteX1" fmla="*/ 6042287 w 6042287"/>
              <a:gd name="connsiteY1" fmla="*/ 0 h 4718602"/>
              <a:gd name="connsiteX2" fmla="*/ 6040911 w 6042287"/>
              <a:gd name="connsiteY2" fmla="*/ 2791979 h 4718602"/>
              <a:gd name="connsiteX3" fmla="*/ 5183820 w 6042287"/>
              <a:gd name="connsiteY3" fmla="*/ 4276722 h 4718602"/>
              <a:gd name="connsiteX4" fmla="*/ 4871525 w 6042287"/>
              <a:gd name="connsiteY4" fmla="*/ 4593211 h 4718602"/>
              <a:gd name="connsiteX5" fmla="*/ 4848138 w 6042287"/>
              <a:gd name="connsiteY5" fmla="*/ 4606971 h 4718602"/>
              <a:gd name="connsiteX6" fmla="*/ 3975913 w 6042287"/>
              <a:gd name="connsiteY6" fmla="*/ 4600091 h 4718602"/>
              <a:gd name="connsiteX7" fmla="*/ 3534298 w 6042287"/>
              <a:gd name="connsiteY7" fmla="*/ 3848775 h 4718602"/>
              <a:gd name="connsiteX8" fmla="*/ 3534298 w 6042287"/>
              <a:gd name="connsiteY8" fmla="*/ 3819878 h 4718602"/>
              <a:gd name="connsiteX9" fmla="*/ 3092683 w 6042287"/>
              <a:gd name="connsiteY9" fmla="*/ 3068562 h 4718602"/>
              <a:gd name="connsiteX10" fmla="*/ 2220458 w 6042287"/>
              <a:gd name="connsiteY10" fmla="*/ 3061682 h 4718602"/>
              <a:gd name="connsiteX11" fmla="*/ 2197070 w 6042287"/>
              <a:gd name="connsiteY11" fmla="*/ 3075442 h 4718602"/>
              <a:gd name="connsiteX12" fmla="*/ 1324846 w 6042287"/>
              <a:gd name="connsiteY12" fmla="*/ 3068562 h 4718602"/>
              <a:gd name="connsiteX13" fmla="*/ 1001545 w 6042287"/>
              <a:gd name="connsiteY13" fmla="*/ 2745193 h 4718602"/>
              <a:gd name="connsiteX14" fmla="*/ 996042 w 6042287"/>
              <a:gd name="connsiteY14" fmla="*/ 2734185 h 4718602"/>
              <a:gd name="connsiteX15" fmla="*/ 991915 w 6042287"/>
              <a:gd name="connsiteY15" fmla="*/ 2728681 h 4718602"/>
              <a:gd name="connsiteX16" fmla="*/ 861219 w 6042287"/>
              <a:gd name="connsiteY16" fmla="*/ 2501635 h 4718602"/>
              <a:gd name="connsiteX17" fmla="*/ 258641 w 6042287"/>
              <a:gd name="connsiteY17" fmla="*/ 1458599 h 4718602"/>
              <a:gd name="connsiteX18" fmla="*/ 130696 w 6042287"/>
              <a:gd name="connsiteY18" fmla="*/ 1234305 h 4718602"/>
              <a:gd name="connsiteX19" fmla="*/ 118315 w 6042287"/>
              <a:gd name="connsiteY19" fmla="*/ 1215041 h 4718602"/>
              <a:gd name="connsiteX20" fmla="*/ 0 w 6042287"/>
              <a:gd name="connsiteY20" fmla="*/ 787093 h 4718602"/>
              <a:gd name="connsiteX21" fmla="*/ 0 w 6042287"/>
              <a:gd name="connsiteY21" fmla="*/ 758196 h 4718602"/>
              <a:gd name="connsiteX22" fmla="*/ 118315 w 6042287"/>
              <a:gd name="connsiteY22" fmla="*/ 330249 h 4718602"/>
              <a:gd name="connsiteX23" fmla="*/ 429234 w 6042287"/>
              <a:gd name="connsiteY23" fmla="*/ 13761 h 4718602"/>
              <a:gd name="connsiteX24" fmla="*/ 453997 w 6042287"/>
              <a:gd name="connsiteY24" fmla="*/ 0 h 4718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6042287" h="4718602">
                <a:moveTo>
                  <a:pt x="453997" y="0"/>
                </a:moveTo>
                <a:cubicBezTo>
                  <a:pt x="6042287" y="0"/>
                  <a:pt x="6042287" y="0"/>
                  <a:pt x="6042287" y="0"/>
                </a:cubicBezTo>
                <a:lnTo>
                  <a:pt x="6040911" y="2791979"/>
                </a:lnTo>
                <a:cubicBezTo>
                  <a:pt x="5183820" y="4276722"/>
                  <a:pt x="5183820" y="4276722"/>
                  <a:pt x="5183820" y="4276722"/>
                </a:cubicBezTo>
                <a:cubicBezTo>
                  <a:pt x="5105403" y="4411574"/>
                  <a:pt x="4996718" y="4517529"/>
                  <a:pt x="4871525" y="4593211"/>
                </a:cubicBezTo>
                <a:cubicBezTo>
                  <a:pt x="4864647" y="4597339"/>
                  <a:pt x="4856392" y="4601467"/>
                  <a:pt x="4848138" y="4606971"/>
                </a:cubicBezTo>
                <a:cubicBezTo>
                  <a:pt x="4585370" y="4752831"/>
                  <a:pt x="4255190" y="4761087"/>
                  <a:pt x="3975913" y="4600091"/>
                </a:cubicBezTo>
                <a:cubicBezTo>
                  <a:pt x="3698012" y="4439095"/>
                  <a:pt x="3539801" y="4148751"/>
                  <a:pt x="3534298" y="3848775"/>
                </a:cubicBezTo>
                <a:cubicBezTo>
                  <a:pt x="3534298" y="3839143"/>
                  <a:pt x="3534298" y="3829510"/>
                  <a:pt x="3534298" y="3819878"/>
                </a:cubicBezTo>
                <a:cubicBezTo>
                  <a:pt x="3528795" y="3519902"/>
                  <a:pt x="3371959" y="3229558"/>
                  <a:pt x="3092683" y="3068562"/>
                </a:cubicBezTo>
                <a:cubicBezTo>
                  <a:pt x="2813406" y="2907566"/>
                  <a:pt x="2483226" y="2915822"/>
                  <a:pt x="2220458" y="3061682"/>
                </a:cubicBezTo>
                <a:cubicBezTo>
                  <a:pt x="2213579" y="3065810"/>
                  <a:pt x="2205325" y="3071314"/>
                  <a:pt x="2197070" y="3075442"/>
                </a:cubicBezTo>
                <a:cubicBezTo>
                  <a:pt x="1934302" y="3221302"/>
                  <a:pt x="1604123" y="3229558"/>
                  <a:pt x="1324846" y="3068562"/>
                </a:cubicBezTo>
                <a:cubicBezTo>
                  <a:pt x="1185895" y="2988752"/>
                  <a:pt x="1077211" y="2875917"/>
                  <a:pt x="1001545" y="2745193"/>
                </a:cubicBezTo>
                <a:cubicBezTo>
                  <a:pt x="1000169" y="2741065"/>
                  <a:pt x="997418" y="2738313"/>
                  <a:pt x="996042" y="2734185"/>
                </a:cubicBezTo>
                <a:cubicBezTo>
                  <a:pt x="994666" y="2732809"/>
                  <a:pt x="993291" y="2730057"/>
                  <a:pt x="991915" y="2728681"/>
                </a:cubicBezTo>
                <a:cubicBezTo>
                  <a:pt x="943764" y="2644743"/>
                  <a:pt x="899740" y="2569061"/>
                  <a:pt x="861219" y="2501635"/>
                </a:cubicBezTo>
                <a:cubicBezTo>
                  <a:pt x="595699" y="2040663"/>
                  <a:pt x="524160" y="1918195"/>
                  <a:pt x="258641" y="1458599"/>
                </a:cubicBezTo>
                <a:cubicBezTo>
                  <a:pt x="220120" y="1391173"/>
                  <a:pt x="177472" y="1318243"/>
                  <a:pt x="130696" y="1234305"/>
                </a:cubicBezTo>
                <a:cubicBezTo>
                  <a:pt x="126569" y="1228801"/>
                  <a:pt x="122442" y="1221921"/>
                  <a:pt x="118315" y="1215041"/>
                </a:cubicBezTo>
                <a:cubicBezTo>
                  <a:pt x="42649" y="1084317"/>
                  <a:pt x="2752" y="937081"/>
                  <a:pt x="0" y="787093"/>
                </a:cubicBezTo>
                <a:cubicBezTo>
                  <a:pt x="0" y="777461"/>
                  <a:pt x="0" y="767829"/>
                  <a:pt x="0" y="758196"/>
                </a:cubicBezTo>
                <a:cubicBezTo>
                  <a:pt x="1376" y="612336"/>
                  <a:pt x="39897" y="465101"/>
                  <a:pt x="118315" y="330249"/>
                </a:cubicBezTo>
                <a:cubicBezTo>
                  <a:pt x="196732" y="195397"/>
                  <a:pt x="304041" y="88067"/>
                  <a:pt x="429234" y="13761"/>
                </a:cubicBezTo>
                <a:cubicBezTo>
                  <a:pt x="437488" y="9632"/>
                  <a:pt x="445743" y="5504"/>
                  <a:pt x="453997" y="0"/>
                </a:cubicBezTo>
                <a:close/>
              </a:path>
            </a:pathLst>
          </a:custGeom>
        </p:spPr>
        <p:txBody>
          <a:bodyPr wrap="square" tIns="1764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2F39E32-B5DC-1A0F-FE03-D516787C61A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2746366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Full Colour)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olorful background with circles&#10;&#10;Description automatically generated">
            <a:extLst>
              <a:ext uri="{FF2B5EF4-FFF2-40B4-BE49-F238E27FC236}">
                <a16:creationId xmlns:a16="http://schemas.microsoft.com/office/drawing/2014/main" id="{9B766DFA-E0BC-C5FD-80A0-412708AC29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107" y="0"/>
            <a:ext cx="5230893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736441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20" name="AutoShape 3">
            <a:extLst>
              <a:ext uri="{FF2B5EF4-FFF2-40B4-BE49-F238E27FC236}">
                <a16:creationId xmlns:a16="http://schemas.microsoft.com/office/drawing/2014/main" id="{8823F573-A3DF-8EC5-FC9A-A27AF8C52AE5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057775" y="0"/>
            <a:ext cx="71342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952789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Full Colour)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20" name="AutoShape 3">
            <a:extLst>
              <a:ext uri="{FF2B5EF4-FFF2-40B4-BE49-F238E27FC236}">
                <a16:creationId xmlns:a16="http://schemas.microsoft.com/office/drawing/2014/main" id="{8823F573-A3DF-8EC5-FC9A-A27AF8C52AE5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057775" y="0"/>
            <a:ext cx="71342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1" name="Picture 10" descr="A colorful circle shapes&#10;&#10;Description automatically generated with medium confidence">
            <a:extLst>
              <a:ext uri="{FF2B5EF4-FFF2-40B4-BE49-F238E27FC236}">
                <a16:creationId xmlns:a16="http://schemas.microsoft.com/office/drawing/2014/main" id="{5B3C8BB0-8ED8-BDC1-E290-09F266D75D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2190" y="-1"/>
            <a:ext cx="5179810" cy="5898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355736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9267825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0230BA0-2D1F-683C-E805-0BB253A29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93171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5465762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C3183D8-01C0-CEE2-0ACB-5C2FB570104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0313" y="1573619"/>
            <a:ext cx="5465762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D219D62-CABA-69E2-E4EB-156330B182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837610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F11EDDC-1465-A78B-C3BD-A70D9121A33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06900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73E3490-C5C2-7754-8FFF-150028EB9BC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4626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14D0B233-2FE1-9855-6829-FEF22EE733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094077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Full Wid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11168062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93058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Blue, Image)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blue and orange triangle&#10;&#10;Description automatically generated">
            <a:extLst>
              <a:ext uri="{FF2B5EF4-FFF2-40B4-BE49-F238E27FC236}">
                <a16:creationId xmlns:a16="http://schemas.microsoft.com/office/drawing/2014/main" id="{E10F1A70-AC56-37C5-4032-BA65164EF4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9850" y="0"/>
            <a:ext cx="577215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06632FEF-3500-BBEB-544E-998F0101D8B2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7715250" y="-2"/>
            <a:ext cx="4476750" cy="5069657"/>
          </a:xfrm>
          <a:custGeom>
            <a:avLst/>
            <a:gdLst>
              <a:gd name="connsiteX0" fmla="*/ 3625174 w 4884974"/>
              <a:gd name="connsiteY0" fmla="*/ 0 h 5531947"/>
              <a:gd name="connsiteX1" fmla="*/ 4884974 w 4884974"/>
              <a:gd name="connsiteY1" fmla="*/ 0 h 5531947"/>
              <a:gd name="connsiteX2" fmla="*/ 4884974 w 4884974"/>
              <a:gd name="connsiteY2" fmla="*/ 5531947 h 5531947"/>
              <a:gd name="connsiteX3" fmla="*/ 1296191 w 4884974"/>
              <a:gd name="connsiteY3" fmla="*/ 4570397 h 5531947"/>
              <a:gd name="connsiteX4" fmla="*/ 809253 w 4884974"/>
              <a:gd name="connsiteY4" fmla="*/ 4400610 h 5531947"/>
              <a:gd name="connsiteX5" fmla="*/ 547589 w 4884974"/>
              <a:gd name="connsiteY5" fmla="*/ 4263740 h 5531947"/>
              <a:gd name="connsiteX6" fmla="*/ 393363 w 4884974"/>
              <a:gd name="connsiteY6" fmla="*/ 4164986 h 5531947"/>
              <a:gd name="connsiteX7" fmla="*/ 391630 w 4884974"/>
              <a:gd name="connsiteY7" fmla="*/ 4163254 h 5531947"/>
              <a:gd name="connsiteX8" fmla="*/ 389897 w 4884974"/>
              <a:gd name="connsiteY8" fmla="*/ 4161521 h 5531947"/>
              <a:gd name="connsiteX9" fmla="*/ 377767 w 4884974"/>
              <a:gd name="connsiteY9" fmla="*/ 4152859 h 5531947"/>
              <a:gd name="connsiteX10" fmla="*/ 372568 w 4884974"/>
              <a:gd name="connsiteY10" fmla="*/ 4151126 h 5531947"/>
              <a:gd name="connsiteX11" fmla="*/ 370835 w 4884974"/>
              <a:gd name="connsiteY11" fmla="*/ 4149394 h 5531947"/>
              <a:gd name="connsiteX12" fmla="*/ 367370 w 4884974"/>
              <a:gd name="connsiteY12" fmla="*/ 4147661 h 5531947"/>
              <a:gd name="connsiteX13" fmla="*/ 360438 w 4884974"/>
              <a:gd name="connsiteY13" fmla="*/ 4142463 h 5531947"/>
              <a:gd name="connsiteX14" fmla="*/ 355239 w 4884974"/>
              <a:gd name="connsiteY14" fmla="*/ 4138998 h 5531947"/>
              <a:gd name="connsiteX15" fmla="*/ 351774 w 4884974"/>
              <a:gd name="connsiteY15" fmla="*/ 4135533 h 5531947"/>
              <a:gd name="connsiteX16" fmla="*/ 343109 w 4884974"/>
              <a:gd name="connsiteY16" fmla="*/ 4130336 h 5531947"/>
              <a:gd name="connsiteX17" fmla="*/ 332712 w 4884974"/>
              <a:gd name="connsiteY17" fmla="*/ 4123406 h 5531947"/>
              <a:gd name="connsiteX18" fmla="*/ 325781 w 4884974"/>
              <a:gd name="connsiteY18" fmla="*/ 4118208 h 5531947"/>
              <a:gd name="connsiteX19" fmla="*/ 322315 w 4884974"/>
              <a:gd name="connsiteY19" fmla="*/ 4114743 h 5531947"/>
              <a:gd name="connsiteX20" fmla="*/ 315383 w 4884974"/>
              <a:gd name="connsiteY20" fmla="*/ 4109545 h 5531947"/>
              <a:gd name="connsiteX21" fmla="*/ 308452 w 4884974"/>
              <a:gd name="connsiteY21" fmla="*/ 4104348 h 5531947"/>
              <a:gd name="connsiteX22" fmla="*/ 299787 w 4884974"/>
              <a:gd name="connsiteY22" fmla="*/ 4099150 h 5531947"/>
              <a:gd name="connsiteX23" fmla="*/ 296322 w 4884974"/>
              <a:gd name="connsiteY23" fmla="*/ 4095685 h 5531947"/>
              <a:gd name="connsiteX24" fmla="*/ 291123 w 4884974"/>
              <a:gd name="connsiteY24" fmla="*/ 4090488 h 5531947"/>
              <a:gd name="connsiteX25" fmla="*/ 285924 w 4884974"/>
              <a:gd name="connsiteY25" fmla="*/ 4088755 h 5531947"/>
              <a:gd name="connsiteX26" fmla="*/ 278993 w 4884974"/>
              <a:gd name="connsiteY26" fmla="*/ 4081825 h 5531947"/>
              <a:gd name="connsiteX27" fmla="*/ 275527 w 4884974"/>
              <a:gd name="connsiteY27" fmla="*/ 4080093 h 5531947"/>
              <a:gd name="connsiteX28" fmla="*/ 272061 w 4884974"/>
              <a:gd name="connsiteY28" fmla="*/ 4076628 h 5531947"/>
              <a:gd name="connsiteX29" fmla="*/ 266863 w 4884974"/>
              <a:gd name="connsiteY29" fmla="*/ 4073162 h 5531947"/>
              <a:gd name="connsiteX30" fmla="*/ 259931 w 4884974"/>
              <a:gd name="connsiteY30" fmla="*/ 4067965 h 5531947"/>
              <a:gd name="connsiteX31" fmla="*/ 256466 w 4884974"/>
              <a:gd name="connsiteY31" fmla="*/ 4064500 h 5531947"/>
              <a:gd name="connsiteX32" fmla="*/ 242603 w 4884974"/>
              <a:gd name="connsiteY32" fmla="*/ 4054105 h 5531947"/>
              <a:gd name="connsiteX33" fmla="*/ 239137 w 4884974"/>
              <a:gd name="connsiteY33" fmla="*/ 4050640 h 5531947"/>
              <a:gd name="connsiteX34" fmla="*/ 228740 w 4884974"/>
              <a:gd name="connsiteY34" fmla="*/ 4043710 h 5531947"/>
              <a:gd name="connsiteX35" fmla="*/ 223541 w 4884974"/>
              <a:gd name="connsiteY35" fmla="*/ 4038512 h 5531947"/>
              <a:gd name="connsiteX36" fmla="*/ 206212 w 4884974"/>
              <a:gd name="connsiteY36" fmla="*/ 4024652 h 5531947"/>
              <a:gd name="connsiteX37" fmla="*/ 201014 w 4884974"/>
              <a:gd name="connsiteY37" fmla="*/ 4021187 h 5531947"/>
              <a:gd name="connsiteX38" fmla="*/ 195815 w 4884974"/>
              <a:gd name="connsiteY38" fmla="*/ 4015989 h 5531947"/>
              <a:gd name="connsiteX39" fmla="*/ 187151 w 4884974"/>
              <a:gd name="connsiteY39" fmla="*/ 4009059 h 5531947"/>
              <a:gd name="connsiteX40" fmla="*/ 157692 w 4884974"/>
              <a:gd name="connsiteY40" fmla="*/ 3984804 h 5531947"/>
              <a:gd name="connsiteX41" fmla="*/ 97041 w 4884974"/>
              <a:gd name="connsiteY41" fmla="*/ 3931096 h 5531947"/>
              <a:gd name="connsiteX42" fmla="*/ 31192 w 4884974"/>
              <a:gd name="connsiteY42" fmla="*/ 3870457 h 5531947"/>
              <a:gd name="connsiteX43" fmla="*/ 0 w 4884974"/>
              <a:gd name="connsiteY43" fmla="*/ 3839272 h 5531947"/>
              <a:gd name="connsiteX44" fmla="*/ 0 w 4884974"/>
              <a:gd name="connsiteY44" fmla="*/ 3835807 h 5531947"/>
              <a:gd name="connsiteX45" fmla="*/ 3466 w 4884974"/>
              <a:gd name="connsiteY45" fmla="*/ 3825412 h 5531947"/>
              <a:gd name="connsiteX46" fmla="*/ 20795 w 4884974"/>
              <a:gd name="connsiteY46" fmla="*/ 3764773 h 5531947"/>
              <a:gd name="connsiteX47" fmla="*/ 25993 w 4884974"/>
              <a:gd name="connsiteY47" fmla="*/ 3745716 h 5531947"/>
              <a:gd name="connsiteX48" fmla="*/ 72781 w 4884974"/>
              <a:gd name="connsiteY48" fmla="*/ 3589788 h 5531947"/>
              <a:gd name="connsiteX49" fmla="*/ 77979 w 4884974"/>
              <a:gd name="connsiteY49" fmla="*/ 3570731 h 5531947"/>
              <a:gd name="connsiteX50" fmla="*/ 98774 w 4884974"/>
              <a:gd name="connsiteY50" fmla="*/ 3511825 h 5531947"/>
              <a:gd name="connsiteX51" fmla="*/ 105705 w 4884974"/>
              <a:gd name="connsiteY51" fmla="*/ 3491035 h 5531947"/>
              <a:gd name="connsiteX52" fmla="*/ 131699 w 4884974"/>
              <a:gd name="connsiteY52" fmla="*/ 3414804 h 5531947"/>
              <a:gd name="connsiteX53" fmla="*/ 159425 w 4884974"/>
              <a:gd name="connsiteY53" fmla="*/ 3338573 h 5531947"/>
              <a:gd name="connsiteX54" fmla="*/ 166356 w 4884974"/>
              <a:gd name="connsiteY54" fmla="*/ 3317782 h 5531947"/>
              <a:gd name="connsiteX55" fmla="*/ 188883 w 4884974"/>
              <a:gd name="connsiteY55" fmla="*/ 3260609 h 5531947"/>
              <a:gd name="connsiteX56" fmla="*/ 197548 w 4884974"/>
              <a:gd name="connsiteY56" fmla="*/ 3239819 h 5531947"/>
              <a:gd name="connsiteX57" fmla="*/ 227007 w 4884974"/>
              <a:gd name="connsiteY57" fmla="*/ 3165320 h 5531947"/>
              <a:gd name="connsiteX58" fmla="*/ 258198 w 4884974"/>
              <a:gd name="connsiteY58" fmla="*/ 3089089 h 5531947"/>
              <a:gd name="connsiteX59" fmla="*/ 266863 w 4884974"/>
              <a:gd name="connsiteY59" fmla="*/ 3070031 h 5531947"/>
              <a:gd name="connsiteX60" fmla="*/ 291123 w 4884974"/>
              <a:gd name="connsiteY60" fmla="*/ 3012858 h 5531947"/>
              <a:gd name="connsiteX61" fmla="*/ 301520 w 4884974"/>
              <a:gd name="connsiteY61" fmla="*/ 2992068 h 5531947"/>
              <a:gd name="connsiteX62" fmla="*/ 334445 w 4884974"/>
              <a:gd name="connsiteY62" fmla="*/ 2919302 h 5531947"/>
              <a:gd name="connsiteX63" fmla="*/ 370835 w 4884974"/>
              <a:gd name="connsiteY63" fmla="*/ 2844803 h 5531947"/>
              <a:gd name="connsiteX64" fmla="*/ 379500 w 4884974"/>
              <a:gd name="connsiteY64" fmla="*/ 2825746 h 5531947"/>
              <a:gd name="connsiteX65" fmla="*/ 407226 w 4884974"/>
              <a:gd name="connsiteY65" fmla="*/ 2770305 h 5531947"/>
              <a:gd name="connsiteX66" fmla="*/ 417623 w 4884974"/>
              <a:gd name="connsiteY66" fmla="*/ 2749515 h 5531947"/>
              <a:gd name="connsiteX67" fmla="*/ 493869 w 4884974"/>
              <a:gd name="connsiteY67" fmla="*/ 2605715 h 5531947"/>
              <a:gd name="connsiteX68" fmla="*/ 504267 w 4884974"/>
              <a:gd name="connsiteY68" fmla="*/ 2586657 h 5531947"/>
              <a:gd name="connsiteX69" fmla="*/ 535458 w 4884974"/>
              <a:gd name="connsiteY69" fmla="*/ 2531217 h 5531947"/>
              <a:gd name="connsiteX70" fmla="*/ 545856 w 4884974"/>
              <a:gd name="connsiteY70" fmla="*/ 2512159 h 5531947"/>
              <a:gd name="connsiteX71" fmla="*/ 630767 w 4884974"/>
              <a:gd name="connsiteY71" fmla="*/ 2370092 h 5531947"/>
              <a:gd name="connsiteX72" fmla="*/ 642897 w 4884974"/>
              <a:gd name="connsiteY72" fmla="*/ 2351034 h 5531947"/>
              <a:gd name="connsiteX73" fmla="*/ 675821 w 4884974"/>
              <a:gd name="connsiteY73" fmla="*/ 2297326 h 5531947"/>
              <a:gd name="connsiteX74" fmla="*/ 687951 w 4884974"/>
              <a:gd name="connsiteY74" fmla="*/ 2280001 h 5531947"/>
              <a:gd name="connsiteX75" fmla="*/ 779794 w 4884974"/>
              <a:gd name="connsiteY75" fmla="*/ 2141399 h 5531947"/>
              <a:gd name="connsiteX76" fmla="*/ 791924 w 4884974"/>
              <a:gd name="connsiteY76" fmla="*/ 2122341 h 5531947"/>
              <a:gd name="connsiteX77" fmla="*/ 828314 w 4884974"/>
              <a:gd name="connsiteY77" fmla="*/ 2070366 h 5531947"/>
              <a:gd name="connsiteX78" fmla="*/ 842177 w 4884974"/>
              <a:gd name="connsiteY78" fmla="*/ 2051308 h 5531947"/>
              <a:gd name="connsiteX79" fmla="*/ 940951 w 4884974"/>
              <a:gd name="connsiteY79" fmla="*/ 1917904 h 5531947"/>
              <a:gd name="connsiteX80" fmla="*/ 954814 w 4884974"/>
              <a:gd name="connsiteY80" fmla="*/ 1898846 h 5531947"/>
              <a:gd name="connsiteX81" fmla="*/ 994670 w 4884974"/>
              <a:gd name="connsiteY81" fmla="*/ 1848603 h 5531947"/>
              <a:gd name="connsiteX82" fmla="*/ 1008533 w 4884974"/>
              <a:gd name="connsiteY82" fmla="*/ 1831277 h 5531947"/>
              <a:gd name="connsiteX83" fmla="*/ 1114239 w 4884974"/>
              <a:gd name="connsiteY83" fmla="*/ 1701338 h 5531947"/>
              <a:gd name="connsiteX84" fmla="*/ 1129835 w 4884974"/>
              <a:gd name="connsiteY84" fmla="*/ 1682280 h 5531947"/>
              <a:gd name="connsiteX85" fmla="*/ 1171424 w 4884974"/>
              <a:gd name="connsiteY85" fmla="*/ 1633770 h 5531947"/>
              <a:gd name="connsiteX86" fmla="*/ 1187019 w 4884974"/>
              <a:gd name="connsiteY86" fmla="*/ 1616444 h 5531947"/>
              <a:gd name="connsiteX87" fmla="*/ 1301389 w 4884974"/>
              <a:gd name="connsiteY87" fmla="*/ 1489970 h 5531947"/>
              <a:gd name="connsiteX88" fmla="*/ 1318718 w 4884974"/>
              <a:gd name="connsiteY88" fmla="*/ 1472645 h 5531947"/>
              <a:gd name="connsiteX89" fmla="*/ 1362040 w 4884974"/>
              <a:gd name="connsiteY89" fmla="*/ 1427599 h 5531947"/>
              <a:gd name="connsiteX90" fmla="*/ 1379369 w 4884974"/>
              <a:gd name="connsiteY90" fmla="*/ 1408542 h 5531947"/>
              <a:gd name="connsiteX91" fmla="*/ 1436553 w 4884974"/>
              <a:gd name="connsiteY91" fmla="*/ 1349636 h 5531947"/>
              <a:gd name="connsiteX92" fmla="*/ 1438286 w 4884974"/>
              <a:gd name="connsiteY92" fmla="*/ 1347903 h 5531947"/>
              <a:gd name="connsiteX93" fmla="*/ 3625174 w 4884974"/>
              <a:gd name="connsiteY93" fmla="*/ 0 h 5531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</a:cxnLst>
            <a:rect l="l" t="t" r="r" b="b"/>
            <a:pathLst>
              <a:path w="4884974" h="5531947">
                <a:moveTo>
                  <a:pt x="3625174" y="0"/>
                </a:moveTo>
                <a:lnTo>
                  <a:pt x="4884974" y="0"/>
                </a:lnTo>
                <a:cubicBezTo>
                  <a:pt x="4884974" y="0"/>
                  <a:pt x="4884974" y="0"/>
                  <a:pt x="4884974" y="5531947"/>
                </a:cubicBezTo>
                <a:cubicBezTo>
                  <a:pt x="3732612" y="5223558"/>
                  <a:pt x="3193688" y="5079759"/>
                  <a:pt x="1296191" y="4570397"/>
                </a:cubicBezTo>
                <a:cubicBezTo>
                  <a:pt x="1128102" y="4528816"/>
                  <a:pt x="965211" y="4471643"/>
                  <a:pt x="809253" y="4400610"/>
                </a:cubicBezTo>
                <a:cubicBezTo>
                  <a:pt x="720876" y="4359029"/>
                  <a:pt x="632499" y="4313983"/>
                  <a:pt x="547589" y="4263740"/>
                </a:cubicBezTo>
                <a:cubicBezTo>
                  <a:pt x="493869" y="4232555"/>
                  <a:pt x="443616" y="4199637"/>
                  <a:pt x="393363" y="4164986"/>
                </a:cubicBezTo>
                <a:cubicBezTo>
                  <a:pt x="391630" y="4164986"/>
                  <a:pt x="391630" y="4163254"/>
                  <a:pt x="391630" y="4163254"/>
                </a:cubicBezTo>
                <a:cubicBezTo>
                  <a:pt x="391630" y="4163254"/>
                  <a:pt x="389897" y="4163254"/>
                  <a:pt x="389897" y="4161521"/>
                </a:cubicBezTo>
                <a:cubicBezTo>
                  <a:pt x="384698" y="4159789"/>
                  <a:pt x="381233" y="4156324"/>
                  <a:pt x="377767" y="4152859"/>
                </a:cubicBezTo>
                <a:cubicBezTo>
                  <a:pt x="376034" y="4152859"/>
                  <a:pt x="374301" y="4151126"/>
                  <a:pt x="372568" y="4151126"/>
                </a:cubicBezTo>
                <a:cubicBezTo>
                  <a:pt x="372568" y="4149394"/>
                  <a:pt x="370835" y="4149394"/>
                  <a:pt x="370835" y="4149394"/>
                </a:cubicBezTo>
                <a:cubicBezTo>
                  <a:pt x="369102" y="4147661"/>
                  <a:pt x="369102" y="4147661"/>
                  <a:pt x="367370" y="4147661"/>
                </a:cubicBezTo>
                <a:cubicBezTo>
                  <a:pt x="365637" y="4145928"/>
                  <a:pt x="362171" y="4144196"/>
                  <a:pt x="360438" y="4142463"/>
                </a:cubicBezTo>
                <a:cubicBezTo>
                  <a:pt x="358705" y="4140731"/>
                  <a:pt x="356972" y="4138998"/>
                  <a:pt x="355239" y="4138998"/>
                </a:cubicBezTo>
                <a:cubicBezTo>
                  <a:pt x="353507" y="4137266"/>
                  <a:pt x="353507" y="4137266"/>
                  <a:pt x="351774" y="4135533"/>
                </a:cubicBezTo>
                <a:cubicBezTo>
                  <a:pt x="348308" y="4133801"/>
                  <a:pt x="346575" y="4132068"/>
                  <a:pt x="343109" y="4130336"/>
                </a:cubicBezTo>
                <a:cubicBezTo>
                  <a:pt x="339644" y="4126871"/>
                  <a:pt x="336178" y="4125138"/>
                  <a:pt x="332712" y="4123406"/>
                </a:cubicBezTo>
                <a:cubicBezTo>
                  <a:pt x="330979" y="4121673"/>
                  <a:pt x="329246" y="4119941"/>
                  <a:pt x="325781" y="4118208"/>
                </a:cubicBezTo>
                <a:cubicBezTo>
                  <a:pt x="324048" y="4116476"/>
                  <a:pt x="324048" y="4114743"/>
                  <a:pt x="322315" y="4114743"/>
                </a:cubicBezTo>
                <a:cubicBezTo>
                  <a:pt x="318849" y="4113011"/>
                  <a:pt x="317116" y="4111278"/>
                  <a:pt x="315383" y="4109545"/>
                </a:cubicBezTo>
                <a:cubicBezTo>
                  <a:pt x="313650" y="4107813"/>
                  <a:pt x="310185" y="4106080"/>
                  <a:pt x="308452" y="4104348"/>
                </a:cubicBezTo>
                <a:cubicBezTo>
                  <a:pt x="304986" y="4102615"/>
                  <a:pt x="303253" y="4100883"/>
                  <a:pt x="299787" y="4099150"/>
                </a:cubicBezTo>
                <a:cubicBezTo>
                  <a:pt x="299787" y="4097418"/>
                  <a:pt x="298055" y="4097418"/>
                  <a:pt x="296322" y="4095685"/>
                </a:cubicBezTo>
                <a:cubicBezTo>
                  <a:pt x="294589" y="4093953"/>
                  <a:pt x="292856" y="4092220"/>
                  <a:pt x="291123" y="4090488"/>
                </a:cubicBezTo>
                <a:cubicBezTo>
                  <a:pt x="289390" y="4090488"/>
                  <a:pt x="287657" y="4088755"/>
                  <a:pt x="285924" y="4088755"/>
                </a:cubicBezTo>
                <a:cubicBezTo>
                  <a:pt x="284192" y="4085290"/>
                  <a:pt x="280726" y="4083558"/>
                  <a:pt x="278993" y="4081825"/>
                </a:cubicBezTo>
                <a:cubicBezTo>
                  <a:pt x="277260" y="4081825"/>
                  <a:pt x="277260" y="4080093"/>
                  <a:pt x="275527" y="4080093"/>
                </a:cubicBezTo>
                <a:cubicBezTo>
                  <a:pt x="275527" y="4078360"/>
                  <a:pt x="273794" y="4078360"/>
                  <a:pt x="272061" y="4076628"/>
                </a:cubicBezTo>
                <a:cubicBezTo>
                  <a:pt x="270329" y="4076628"/>
                  <a:pt x="268596" y="4074895"/>
                  <a:pt x="266863" y="4073162"/>
                </a:cubicBezTo>
                <a:cubicBezTo>
                  <a:pt x="265130" y="4071430"/>
                  <a:pt x="263397" y="4069697"/>
                  <a:pt x="259931" y="4067965"/>
                </a:cubicBezTo>
                <a:cubicBezTo>
                  <a:pt x="258198" y="4066232"/>
                  <a:pt x="256466" y="4066232"/>
                  <a:pt x="256466" y="4064500"/>
                </a:cubicBezTo>
                <a:cubicBezTo>
                  <a:pt x="251267" y="4061035"/>
                  <a:pt x="246068" y="4057570"/>
                  <a:pt x="242603" y="4054105"/>
                </a:cubicBezTo>
                <a:cubicBezTo>
                  <a:pt x="240870" y="4052372"/>
                  <a:pt x="239137" y="4052372"/>
                  <a:pt x="239137" y="4050640"/>
                </a:cubicBezTo>
                <a:cubicBezTo>
                  <a:pt x="235671" y="4048907"/>
                  <a:pt x="232205" y="4045442"/>
                  <a:pt x="228740" y="4043710"/>
                </a:cubicBezTo>
                <a:cubicBezTo>
                  <a:pt x="227007" y="4041977"/>
                  <a:pt x="225274" y="4040245"/>
                  <a:pt x="223541" y="4038512"/>
                </a:cubicBezTo>
                <a:cubicBezTo>
                  <a:pt x="216609" y="4033314"/>
                  <a:pt x="211411" y="4028117"/>
                  <a:pt x="206212" y="4024652"/>
                </a:cubicBezTo>
                <a:cubicBezTo>
                  <a:pt x="204479" y="4022919"/>
                  <a:pt x="202746" y="4022919"/>
                  <a:pt x="201014" y="4021187"/>
                </a:cubicBezTo>
                <a:cubicBezTo>
                  <a:pt x="199281" y="4019454"/>
                  <a:pt x="197548" y="4017722"/>
                  <a:pt x="195815" y="4015989"/>
                </a:cubicBezTo>
                <a:cubicBezTo>
                  <a:pt x="192349" y="4014257"/>
                  <a:pt x="190616" y="4012524"/>
                  <a:pt x="187151" y="4009059"/>
                </a:cubicBezTo>
                <a:cubicBezTo>
                  <a:pt x="176753" y="4000396"/>
                  <a:pt x="168089" y="3993466"/>
                  <a:pt x="157692" y="3984804"/>
                </a:cubicBezTo>
                <a:cubicBezTo>
                  <a:pt x="136897" y="3967479"/>
                  <a:pt x="117836" y="3950153"/>
                  <a:pt x="97041" y="3931096"/>
                </a:cubicBezTo>
                <a:cubicBezTo>
                  <a:pt x="76247" y="3912038"/>
                  <a:pt x="53719" y="3891248"/>
                  <a:pt x="31192" y="3870457"/>
                </a:cubicBezTo>
                <a:cubicBezTo>
                  <a:pt x="20795" y="3858330"/>
                  <a:pt x="10397" y="3849667"/>
                  <a:pt x="0" y="3839272"/>
                </a:cubicBezTo>
                <a:cubicBezTo>
                  <a:pt x="0" y="3839272"/>
                  <a:pt x="0" y="3839272"/>
                  <a:pt x="0" y="3835807"/>
                </a:cubicBezTo>
                <a:cubicBezTo>
                  <a:pt x="1733" y="3832342"/>
                  <a:pt x="1733" y="3828877"/>
                  <a:pt x="3466" y="3825412"/>
                </a:cubicBezTo>
                <a:cubicBezTo>
                  <a:pt x="8664" y="3806354"/>
                  <a:pt x="13863" y="3785564"/>
                  <a:pt x="20795" y="3764773"/>
                </a:cubicBezTo>
                <a:cubicBezTo>
                  <a:pt x="22527" y="3757843"/>
                  <a:pt x="24260" y="3750913"/>
                  <a:pt x="25993" y="3745716"/>
                </a:cubicBezTo>
                <a:cubicBezTo>
                  <a:pt x="39856" y="3693740"/>
                  <a:pt x="55452" y="3641764"/>
                  <a:pt x="72781" y="3589788"/>
                </a:cubicBezTo>
                <a:cubicBezTo>
                  <a:pt x="74514" y="3582858"/>
                  <a:pt x="76247" y="3577661"/>
                  <a:pt x="77979" y="3570731"/>
                </a:cubicBezTo>
                <a:cubicBezTo>
                  <a:pt x="84911" y="3549940"/>
                  <a:pt x="91842" y="3530883"/>
                  <a:pt x="98774" y="3511825"/>
                </a:cubicBezTo>
                <a:cubicBezTo>
                  <a:pt x="100507" y="3504895"/>
                  <a:pt x="102240" y="3497965"/>
                  <a:pt x="105705" y="3491035"/>
                </a:cubicBezTo>
                <a:cubicBezTo>
                  <a:pt x="114370" y="3465047"/>
                  <a:pt x="123034" y="3440791"/>
                  <a:pt x="131699" y="3414804"/>
                </a:cubicBezTo>
                <a:cubicBezTo>
                  <a:pt x="140363" y="3388816"/>
                  <a:pt x="149027" y="3362828"/>
                  <a:pt x="159425" y="3338573"/>
                </a:cubicBezTo>
                <a:cubicBezTo>
                  <a:pt x="161157" y="3331642"/>
                  <a:pt x="164623" y="3324712"/>
                  <a:pt x="166356" y="3317782"/>
                </a:cubicBezTo>
                <a:cubicBezTo>
                  <a:pt x="173288" y="3298725"/>
                  <a:pt x="181952" y="3279667"/>
                  <a:pt x="188883" y="3260609"/>
                </a:cubicBezTo>
                <a:cubicBezTo>
                  <a:pt x="190616" y="3253679"/>
                  <a:pt x="194082" y="3246749"/>
                  <a:pt x="197548" y="3239819"/>
                </a:cubicBezTo>
                <a:cubicBezTo>
                  <a:pt x="206212" y="3215563"/>
                  <a:pt x="216609" y="3189576"/>
                  <a:pt x="227007" y="3165320"/>
                </a:cubicBezTo>
                <a:cubicBezTo>
                  <a:pt x="237404" y="3139332"/>
                  <a:pt x="247801" y="3115077"/>
                  <a:pt x="258198" y="3089089"/>
                </a:cubicBezTo>
                <a:cubicBezTo>
                  <a:pt x="261664" y="3083892"/>
                  <a:pt x="263397" y="3076962"/>
                  <a:pt x="266863" y="3070031"/>
                </a:cubicBezTo>
                <a:cubicBezTo>
                  <a:pt x="275527" y="3050974"/>
                  <a:pt x="284192" y="3031916"/>
                  <a:pt x="291123" y="3012858"/>
                </a:cubicBezTo>
                <a:cubicBezTo>
                  <a:pt x="294589" y="3005928"/>
                  <a:pt x="298055" y="2998998"/>
                  <a:pt x="301520" y="2992068"/>
                </a:cubicBezTo>
                <a:cubicBezTo>
                  <a:pt x="311918" y="2967813"/>
                  <a:pt x="324048" y="2943557"/>
                  <a:pt x="334445" y="2919302"/>
                </a:cubicBezTo>
                <a:cubicBezTo>
                  <a:pt x="346575" y="2895047"/>
                  <a:pt x="358705" y="2869059"/>
                  <a:pt x="370835" y="2844803"/>
                </a:cubicBezTo>
                <a:cubicBezTo>
                  <a:pt x="372568" y="2839606"/>
                  <a:pt x="376034" y="2832676"/>
                  <a:pt x="379500" y="2825746"/>
                </a:cubicBezTo>
                <a:cubicBezTo>
                  <a:pt x="388164" y="2806688"/>
                  <a:pt x="398561" y="2789363"/>
                  <a:pt x="407226" y="2770305"/>
                </a:cubicBezTo>
                <a:cubicBezTo>
                  <a:pt x="410691" y="2763375"/>
                  <a:pt x="414157" y="2756445"/>
                  <a:pt x="417623" y="2749515"/>
                </a:cubicBezTo>
                <a:cubicBezTo>
                  <a:pt x="441883" y="2701004"/>
                  <a:pt x="467876" y="2652493"/>
                  <a:pt x="493869" y="2605715"/>
                </a:cubicBezTo>
                <a:cubicBezTo>
                  <a:pt x="497335" y="2598785"/>
                  <a:pt x="500801" y="2591855"/>
                  <a:pt x="504267" y="2586657"/>
                </a:cubicBezTo>
                <a:cubicBezTo>
                  <a:pt x="514664" y="2567600"/>
                  <a:pt x="525061" y="2550274"/>
                  <a:pt x="535458" y="2531217"/>
                </a:cubicBezTo>
                <a:cubicBezTo>
                  <a:pt x="538924" y="2524287"/>
                  <a:pt x="542390" y="2519089"/>
                  <a:pt x="545856" y="2512159"/>
                </a:cubicBezTo>
                <a:cubicBezTo>
                  <a:pt x="573582" y="2463648"/>
                  <a:pt x="601308" y="2416870"/>
                  <a:pt x="630767" y="2370092"/>
                </a:cubicBezTo>
                <a:cubicBezTo>
                  <a:pt x="634232" y="2364894"/>
                  <a:pt x="637698" y="2357964"/>
                  <a:pt x="642897" y="2351034"/>
                </a:cubicBezTo>
                <a:cubicBezTo>
                  <a:pt x="653294" y="2333709"/>
                  <a:pt x="665424" y="2316384"/>
                  <a:pt x="675821" y="2297326"/>
                </a:cubicBezTo>
                <a:cubicBezTo>
                  <a:pt x="679287" y="2292128"/>
                  <a:pt x="684486" y="2285198"/>
                  <a:pt x="687951" y="2280001"/>
                </a:cubicBezTo>
                <a:cubicBezTo>
                  <a:pt x="717410" y="2233223"/>
                  <a:pt x="748602" y="2186445"/>
                  <a:pt x="779794" y="2141399"/>
                </a:cubicBezTo>
                <a:cubicBezTo>
                  <a:pt x="783260" y="2134469"/>
                  <a:pt x="788458" y="2129271"/>
                  <a:pt x="791924" y="2122341"/>
                </a:cubicBezTo>
                <a:cubicBezTo>
                  <a:pt x="804054" y="2105016"/>
                  <a:pt x="816184" y="2087691"/>
                  <a:pt x="828314" y="2070366"/>
                </a:cubicBezTo>
                <a:cubicBezTo>
                  <a:pt x="833513" y="2065168"/>
                  <a:pt x="836979" y="2058238"/>
                  <a:pt x="842177" y="2051308"/>
                </a:cubicBezTo>
                <a:cubicBezTo>
                  <a:pt x="875102" y="2006262"/>
                  <a:pt x="908027" y="1961217"/>
                  <a:pt x="940951" y="1917904"/>
                </a:cubicBezTo>
                <a:cubicBezTo>
                  <a:pt x="946150" y="1910973"/>
                  <a:pt x="951348" y="1905776"/>
                  <a:pt x="954814" y="1898846"/>
                </a:cubicBezTo>
                <a:cubicBezTo>
                  <a:pt x="968677" y="1883253"/>
                  <a:pt x="980807" y="1865928"/>
                  <a:pt x="994670" y="1848603"/>
                </a:cubicBezTo>
                <a:cubicBezTo>
                  <a:pt x="999869" y="1843405"/>
                  <a:pt x="1003335" y="1836475"/>
                  <a:pt x="1008533" y="1831277"/>
                </a:cubicBezTo>
                <a:cubicBezTo>
                  <a:pt x="1043191" y="1786232"/>
                  <a:pt x="1079581" y="1742919"/>
                  <a:pt x="1114239" y="1701338"/>
                </a:cubicBezTo>
                <a:cubicBezTo>
                  <a:pt x="1119437" y="1694408"/>
                  <a:pt x="1124636" y="1689210"/>
                  <a:pt x="1129835" y="1682280"/>
                </a:cubicBezTo>
                <a:cubicBezTo>
                  <a:pt x="1143698" y="1666688"/>
                  <a:pt x="1157561" y="1651095"/>
                  <a:pt x="1171424" y="1633770"/>
                </a:cubicBezTo>
                <a:cubicBezTo>
                  <a:pt x="1176622" y="1628572"/>
                  <a:pt x="1181821" y="1621642"/>
                  <a:pt x="1187019" y="1616444"/>
                </a:cubicBezTo>
                <a:cubicBezTo>
                  <a:pt x="1225143" y="1574864"/>
                  <a:pt x="1263266" y="1531551"/>
                  <a:pt x="1301389" y="1489970"/>
                </a:cubicBezTo>
                <a:cubicBezTo>
                  <a:pt x="1306588" y="1484773"/>
                  <a:pt x="1311786" y="1477843"/>
                  <a:pt x="1318718" y="1472645"/>
                </a:cubicBezTo>
                <a:cubicBezTo>
                  <a:pt x="1332581" y="1457052"/>
                  <a:pt x="1346444" y="1441460"/>
                  <a:pt x="1362040" y="1427599"/>
                </a:cubicBezTo>
                <a:cubicBezTo>
                  <a:pt x="1367238" y="1420669"/>
                  <a:pt x="1374170" y="1415472"/>
                  <a:pt x="1379369" y="1408542"/>
                </a:cubicBezTo>
                <a:cubicBezTo>
                  <a:pt x="1398430" y="1389484"/>
                  <a:pt x="1417492" y="1368694"/>
                  <a:pt x="1436553" y="1349636"/>
                </a:cubicBezTo>
                <a:cubicBezTo>
                  <a:pt x="1438286" y="1349636"/>
                  <a:pt x="1438286" y="1347903"/>
                  <a:pt x="1438286" y="1347903"/>
                </a:cubicBezTo>
                <a:cubicBezTo>
                  <a:pt x="2074251" y="712067"/>
                  <a:pt x="2826319" y="263344"/>
                  <a:pt x="3625174" y="0"/>
                </a:cubicBezTo>
                <a:close/>
              </a:path>
            </a:pathLst>
          </a:custGeom>
        </p:spPr>
        <p:txBody>
          <a:bodyPr wrap="square" tIns="2232000" anchor="t" anchorCtr="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A39898F-060B-CC91-8A38-3BFBD5354CC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8569759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Colou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961795C-4FB4-1DBF-B2FF-C135024E7F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3487" t="24275" r="36846" b="22968"/>
          <a:stretch/>
        </p:blipFill>
        <p:spPr>
          <a:xfrm>
            <a:off x="6547164" y="0"/>
            <a:ext cx="5644837" cy="6858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65042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Colou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69A043F-EC5B-3888-7E67-3E0F750A412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39825" t="27472" b="16565"/>
          <a:stretch/>
        </p:blipFill>
        <p:spPr>
          <a:xfrm flipH="1">
            <a:off x="7378342" y="-26896"/>
            <a:ext cx="4840550" cy="6884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157122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Colou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07F4C44-6C60-E7C8-7939-876180F32FC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6011" r="25038" b="12622"/>
          <a:stretch/>
        </p:blipFill>
        <p:spPr>
          <a:xfrm>
            <a:off x="6957081" y="-13449"/>
            <a:ext cx="5247299" cy="6885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582812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Colou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AEE5F76A-EDD2-2CEE-5784-EFB92164D43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b="2447"/>
          <a:stretch/>
        </p:blipFill>
        <p:spPr>
          <a:xfrm>
            <a:off x="6270172" y="-11148"/>
            <a:ext cx="5959342" cy="688259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737708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Colou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959EBCC-B1E4-EAD3-432C-B443C192BEF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1" t="6603" r="35729" b="10052"/>
          <a:stretch/>
        </p:blipFill>
        <p:spPr>
          <a:xfrm>
            <a:off x="6514138" y="-13445"/>
            <a:ext cx="5687802" cy="6871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10231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Colou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1B67F3C-B23F-37FD-2273-51EAAF7FF8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20488" r="31419" b="6693"/>
          <a:stretch/>
        </p:blipFill>
        <p:spPr>
          <a:xfrm>
            <a:off x="6026568" y="-13447"/>
            <a:ext cx="6192326" cy="6871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285396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Image [Right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orange gradient&#10;&#10;Description automatically generated">
            <a:extLst>
              <a:ext uri="{FF2B5EF4-FFF2-40B4-BE49-F238E27FC236}">
                <a16:creationId xmlns:a16="http://schemas.microsoft.com/office/drawing/2014/main" id="{BB08B6D7-9DFB-0B5A-72BD-AF8D4B6782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8310" y="4267245"/>
            <a:ext cx="2868930" cy="2615879"/>
          </a:xfrm>
          <a:prstGeom prst="rect">
            <a:avLst/>
          </a:prstGeom>
        </p:spPr>
      </p:pic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95F69B26-C1D2-001D-7B52-E91D153AC3C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43611" y="0"/>
            <a:ext cx="5848390" cy="6858000"/>
          </a:xfrm>
          <a:custGeom>
            <a:avLst/>
            <a:gdLst>
              <a:gd name="connsiteX0" fmla="*/ 0 w 2528887"/>
              <a:gd name="connsiteY0" fmla="*/ 0 h 2965450"/>
              <a:gd name="connsiteX1" fmla="*/ 2528887 w 2528887"/>
              <a:gd name="connsiteY1" fmla="*/ 0 h 2965450"/>
              <a:gd name="connsiteX2" fmla="*/ 2528887 w 2528887"/>
              <a:gd name="connsiteY2" fmla="*/ 1860271 h 2965450"/>
              <a:gd name="connsiteX3" fmla="*/ 1471752 w 2528887"/>
              <a:gd name="connsiteY3" fmla="*/ 2471208 h 2965450"/>
              <a:gd name="connsiteX4" fmla="*/ 1355055 w 2528887"/>
              <a:gd name="connsiteY4" fmla="*/ 2587218 h 2965450"/>
              <a:gd name="connsiteX5" fmla="*/ 1355055 w 2528887"/>
              <a:gd name="connsiteY5" fmla="*/ 2905043 h 2965450"/>
              <a:gd name="connsiteX6" fmla="*/ 1381827 w 2528887"/>
              <a:gd name="connsiteY6" fmla="*/ 2965450 h 2965450"/>
              <a:gd name="connsiteX7" fmla="*/ 0 w 2528887"/>
              <a:gd name="connsiteY7" fmla="*/ 2965450 h 2965450"/>
              <a:gd name="connsiteX8" fmla="*/ 0 w 2528887"/>
              <a:gd name="connsiteY8" fmla="*/ 0 h 2965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28887" h="2965450">
                <a:moveTo>
                  <a:pt x="0" y="0"/>
                </a:moveTo>
                <a:lnTo>
                  <a:pt x="2528887" y="0"/>
                </a:lnTo>
                <a:cubicBezTo>
                  <a:pt x="2528887" y="0"/>
                  <a:pt x="2528887" y="0"/>
                  <a:pt x="2528887" y="1860271"/>
                </a:cubicBezTo>
                <a:cubicBezTo>
                  <a:pt x="2528887" y="1860271"/>
                  <a:pt x="2528887" y="1860271"/>
                  <a:pt x="1471752" y="2471208"/>
                </a:cubicBezTo>
                <a:cubicBezTo>
                  <a:pt x="1424387" y="2497980"/>
                  <a:pt x="1383886" y="2537794"/>
                  <a:pt x="1355055" y="2587218"/>
                </a:cubicBezTo>
                <a:cubicBezTo>
                  <a:pt x="1298766" y="2685380"/>
                  <a:pt x="1298766" y="2806881"/>
                  <a:pt x="1355055" y="2905043"/>
                </a:cubicBezTo>
                <a:cubicBezTo>
                  <a:pt x="1366725" y="2924263"/>
                  <a:pt x="1375649" y="2944857"/>
                  <a:pt x="1381827" y="2965450"/>
                </a:cubicBezTo>
                <a:cubicBezTo>
                  <a:pt x="1381827" y="2965450"/>
                  <a:pt x="1381827" y="2965450"/>
                  <a:pt x="0" y="2965450"/>
                </a:cubicBezTo>
                <a:cubicBezTo>
                  <a:pt x="0" y="2965450"/>
                  <a:pt x="0" y="2965450"/>
                  <a:pt x="0" y="0"/>
                </a:cubicBezTo>
                <a:close/>
              </a:path>
            </a:pathLst>
          </a:custGeom>
        </p:spPr>
        <p:txBody>
          <a:bodyPr wrap="square" tIns="2448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63BE2014-6BFF-DAD9-7999-3E949686F4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101263" y="5823685"/>
            <a:ext cx="1837784" cy="51112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7F9764D7-E923-76E5-5F12-8E69C326B0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02ED556-318C-0990-9C21-48245CFA043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79003514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yellow and orange gradient&#10;&#10;Description automatically generated">
            <a:extLst>
              <a:ext uri="{FF2B5EF4-FFF2-40B4-BE49-F238E27FC236}">
                <a16:creationId xmlns:a16="http://schemas.microsoft.com/office/drawing/2014/main" id="{B5EA0191-64B2-37EE-1EB3-A2B96BACF19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5365" y="3952078"/>
            <a:ext cx="3189242" cy="213648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20"/>
            <a:ext cx="5465762" cy="3557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872663" y="4848225"/>
            <a:ext cx="1760013" cy="79819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D5F72E-9CFA-4DC4-D9DD-072AFE58471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61102B7-5897-6D37-B5F8-20800A75B7A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6096" y="1996924"/>
            <a:ext cx="11174232" cy="4054626"/>
          </a:xfrm>
          <a:custGeom>
            <a:avLst/>
            <a:gdLst>
              <a:gd name="connsiteX0" fmla="*/ 0 w 7893376"/>
              <a:gd name="connsiteY0" fmla="*/ 0 h 2864151"/>
              <a:gd name="connsiteX1" fmla="*/ 717120 w 7893376"/>
              <a:gd name="connsiteY1" fmla="*/ 0 h 2864151"/>
              <a:gd name="connsiteX2" fmla="*/ 1389435 w 7893376"/>
              <a:gd name="connsiteY2" fmla="*/ 0 h 2864151"/>
              <a:gd name="connsiteX3" fmla="*/ 2018390 w 7893376"/>
              <a:gd name="connsiteY3" fmla="*/ 0 h 2864151"/>
              <a:gd name="connsiteX4" fmla="*/ 2605431 w 7893376"/>
              <a:gd name="connsiteY4" fmla="*/ 0 h 2864151"/>
              <a:gd name="connsiteX5" fmla="*/ 3152004 w 7893376"/>
              <a:gd name="connsiteY5" fmla="*/ 0 h 2864151"/>
              <a:gd name="connsiteX6" fmla="*/ 3659552 w 7893376"/>
              <a:gd name="connsiteY6" fmla="*/ 0 h 2864151"/>
              <a:gd name="connsiteX7" fmla="*/ 4129522 w 7893376"/>
              <a:gd name="connsiteY7" fmla="*/ 0 h 2864151"/>
              <a:gd name="connsiteX8" fmla="*/ 4563359 w 7893376"/>
              <a:gd name="connsiteY8" fmla="*/ 0 h 2864151"/>
              <a:gd name="connsiteX9" fmla="*/ 4962508 w 7893376"/>
              <a:gd name="connsiteY9" fmla="*/ 0 h 2864151"/>
              <a:gd name="connsiteX10" fmla="*/ 5328415 w 7893376"/>
              <a:gd name="connsiteY10" fmla="*/ 0 h 2864151"/>
              <a:gd name="connsiteX11" fmla="*/ 5662525 w 7893376"/>
              <a:gd name="connsiteY11" fmla="*/ 0 h 2864151"/>
              <a:gd name="connsiteX12" fmla="*/ 5966283 w 7893376"/>
              <a:gd name="connsiteY12" fmla="*/ 0 h 2864151"/>
              <a:gd name="connsiteX13" fmla="*/ 6241135 w 7893376"/>
              <a:gd name="connsiteY13" fmla="*/ 0 h 2864151"/>
              <a:gd name="connsiteX14" fmla="*/ 6488526 w 7893376"/>
              <a:gd name="connsiteY14" fmla="*/ 0 h 2864151"/>
              <a:gd name="connsiteX15" fmla="*/ 6709900 w 7893376"/>
              <a:gd name="connsiteY15" fmla="*/ 0 h 2864151"/>
              <a:gd name="connsiteX16" fmla="*/ 6906705 w 7893376"/>
              <a:gd name="connsiteY16" fmla="*/ 0 h 2864151"/>
              <a:gd name="connsiteX17" fmla="*/ 7080384 w 7893376"/>
              <a:gd name="connsiteY17" fmla="*/ 0 h 2864151"/>
              <a:gd name="connsiteX18" fmla="*/ 7232384 w 7893376"/>
              <a:gd name="connsiteY18" fmla="*/ 0 h 2864151"/>
              <a:gd name="connsiteX19" fmla="*/ 7477125 w 7893376"/>
              <a:gd name="connsiteY19" fmla="*/ 0 h 2864151"/>
              <a:gd name="connsiteX20" fmla="*/ 7652490 w 7893376"/>
              <a:gd name="connsiteY20" fmla="*/ 0 h 2864151"/>
              <a:gd name="connsiteX21" fmla="*/ 7770043 w 7893376"/>
              <a:gd name="connsiteY21" fmla="*/ 0 h 2864151"/>
              <a:gd name="connsiteX22" fmla="*/ 7841345 w 7893376"/>
              <a:gd name="connsiteY22" fmla="*/ 0 h 2864151"/>
              <a:gd name="connsiteX23" fmla="*/ 7877960 w 7893376"/>
              <a:gd name="connsiteY23" fmla="*/ 0 h 2864151"/>
              <a:gd name="connsiteX24" fmla="*/ 7891450 w 7893376"/>
              <a:gd name="connsiteY24" fmla="*/ 0 h 2864151"/>
              <a:gd name="connsiteX25" fmla="*/ 7893376 w 7893376"/>
              <a:gd name="connsiteY25" fmla="*/ 0 h 2864151"/>
              <a:gd name="connsiteX26" fmla="*/ 7893376 w 7893376"/>
              <a:gd name="connsiteY26" fmla="*/ 1424213 h 2864151"/>
              <a:gd name="connsiteX27" fmla="*/ 7343668 w 7893376"/>
              <a:gd name="connsiteY27" fmla="*/ 1424213 h 2864151"/>
              <a:gd name="connsiteX28" fmla="*/ 6951018 w 7893376"/>
              <a:gd name="connsiteY28" fmla="*/ 1424213 h 2864151"/>
              <a:gd name="connsiteX29" fmla="*/ 6735622 w 7893376"/>
              <a:gd name="connsiteY29" fmla="*/ 1426460 h 2864151"/>
              <a:gd name="connsiteX30" fmla="*/ 6567344 w 7893376"/>
              <a:gd name="connsiteY30" fmla="*/ 1469141 h 2864151"/>
              <a:gd name="connsiteX31" fmla="*/ 6307073 w 7893376"/>
              <a:gd name="connsiteY31" fmla="*/ 1709505 h 2864151"/>
              <a:gd name="connsiteX32" fmla="*/ 5782045 w 7893376"/>
              <a:gd name="connsiteY32" fmla="*/ 2646251 h 2864151"/>
              <a:gd name="connsiteX33" fmla="*/ 5708002 w 7893376"/>
              <a:gd name="connsiteY33" fmla="*/ 2864151 h 2864151"/>
              <a:gd name="connsiteX34" fmla="*/ 5189426 w 7893376"/>
              <a:gd name="connsiteY34" fmla="*/ 2864151 h 2864151"/>
              <a:gd name="connsiteX35" fmla="*/ 4703249 w 7893376"/>
              <a:gd name="connsiteY35" fmla="*/ 2864151 h 2864151"/>
              <a:gd name="connsiteX36" fmla="*/ 4248427 w 7893376"/>
              <a:gd name="connsiteY36" fmla="*/ 2864151 h 2864151"/>
              <a:gd name="connsiteX37" fmla="*/ 3823916 w 7893376"/>
              <a:gd name="connsiteY37" fmla="*/ 2864151 h 2864151"/>
              <a:gd name="connsiteX38" fmla="*/ 3428669 w 7893376"/>
              <a:gd name="connsiteY38" fmla="*/ 2864151 h 2864151"/>
              <a:gd name="connsiteX39" fmla="*/ 3061641 w 7893376"/>
              <a:gd name="connsiteY39" fmla="*/ 2864151 h 2864151"/>
              <a:gd name="connsiteX40" fmla="*/ 2721788 w 7893376"/>
              <a:gd name="connsiteY40" fmla="*/ 2864151 h 2864151"/>
              <a:gd name="connsiteX41" fmla="*/ 2408064 w 7893376"/>
              <a:gd name="connsiteY41" fmla="*/ 2864151 h 2864151"/>
              <a:gd name="connsiteX42" fmla="*/ 2119424 w 7893376"/>
              <a:gd name="connsiteY42" fmla="*/ 2864151 h 2864151"/>
              <a:gd name="connsiteX43" fmla="*/ 1854822 w 7893376"/>
              <a:gd name="connsiteY43" fmla="*/ 2864151 h 2864151"/>
              <a:gd name="connsiteX44" fmla="*/ 1613215 w 7893376"/>
              <a:gd name="connsiteY44" fmla="*/ 2864151 h 2864151"/>
              <a:gd name="connsiteX45" fmla="*/ 1393555 w 7893376"/>
              <a:gd name="connsiteY45" fmla="*/ 2864151 h 2864151"/>
              <a:gd name="connsiteX46" fmla="*/ 1194800 w 7893376"/>
              <a:gd name="connsiteY46" fmla="*/ 2864151 h 2864151"/>
              <a:gd name="connsiteX47" fmla="*/ 1015902 w 7893376"/>
              <a:gd name="connsiteY47" fmla="*/ 2864151 h 2864151"/>
              <a:gd name="connsiteX48" fmla="*/ 713501 w 7893376"/>
              <a:gd name="connsiteY48" fmla="*/ 2864151 h 2864151"/>
              <a:gd name="connsiteX49" fmla="*/ 477990 w 7893376"/>
              <a:gd name="connsiteY49" fmla="*/ 2864151 h 2864151"/>
              <a:gd name="connsiteX50" fmla="*/ 301008 w 7893376"/>
              <a:gd name="connsiteY50" fmla="*/ 2864151 h 2864151"/>
              <a:gd name="connsiteX51" fmla="*/ 174195 w 7893376"/>
              <a:gd name="connsiteY51" fmla="*/ 2864151 h 2864151"/>
              <a:gd name="connsiteX52" fmla="*/ 89188 w 7893376"/>
              <a:gd name="connsiteY52" fmla="*/ 2864151 h 2864151"/>
              <a:gd name="connsiteX53" fmla="*/ 37626 w 7893376"/>
              <a:gd name="connsiteY53" fmla="*/ 2864151 h 2864151"/>
              <a:gd name="connsiteX54" fmla="*/ 11149 w 7893376"/>
              <a:gd name="connsiteY54" fmla="*/ 2864151 h 2864151"/>
              <a:gd name="connsiteX55" fmla="*/ 0 w 7893376"/>
              <a:gd name="connsiteY55" fmla="*/ 2864151 h 2864151"/>
              <a:gd name="connsiteX56" fmla="*/ 0 w 7893376"/>
              <a:gd name="connsiteY56" fmla="*/ 0 h 2864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7893376" h="2864151">
                <a:moveTo>
                  <a:pt x="0" y="0"/>
                </a:moveTo>
                <a:lnTo>
                  <a:pt x="717120" y="0"/>
                </a:lnTo>
                <a:lnTo>
                  <a:pt x="1389435" y="0"/>
                </a:lnTo>
                <a:lnTo>
                  <a:pt x="2018390" y="0"/>
                </a:lnTo>
                <a:lnTo>
                  <a:pt x="2605431" y="0"/>
                </a:lnTo>
                <a:lnTo>
                  <a:pt x="3152004" y="0"/>
                </a:lnTo>
                <a:lnTo>
                  <a:pt x="3659552" y="0"/>
                </a:lnTo>
                <a:lnTo>
                  <a:pt x="4129522" y="0"/>
                </a:lnTo>
                <a:lnTo>
                  <a:pt x="4563359" y="0"/>
                </a:lnTo>
                <a:lnTo>
                  <a:pt x="4962508" y="0"/>
                </a:lnTo>
                <a:lnTo>
                  <a:pt x="5328415" y="0"/>
                </a:lnTo>
                <a:lnTo>
                  <a:pt x="5662525" y="0"/>
                </a:lnTo>
                <a:lnTo>
                  <a:pt x="5966283" y="0"/>
                </a:lnTo>
                <a:lnTo>
                  <a:pt x="6241135" y="0"/>
                </a:lnTo>
                <a:lnTo>
                  <a:pt x="6488526" y="0"/>
                </a:lnTo>
                <a:lnTo>
                  <a:pt x="6709900" y="0"/>
                </a:lnTo>
                <a:lnTo>
                  <a:pt x="6906705" y="0"/>
                </a:lnTo>
                <a:lnTo>
                  <a:pt x="7080384" y="0"/>
                </a:lnTo>
                <a:lnTo>
                  <a:pt x="7232384" y="0"/>
                </a:lnTo>
                <a:lnTo>
                  <a:pt x="7477125" y="0"/>
                </a:lnTo>
                <a:lnTo>
                  <a:pt x="7652490" y="0"/>
                </a:lnTo>
                <a:lnTo>
                  <a:pt x="7770043" y="0"/>
                </a:lnTo>
                <a:lnTo>
                  <a:pt x="7841345" y="0"/>
                </a:lnTo>
                <a:lnTo>
                  <a:pt x="7877960" y="0"/>
                </a:lnTo>
                <a:lnTo>
                  <a:pt x="7891450" y="0"/>
                </a:lnTo>
                <a:lnTo>
                  <a:pt x="7893376" y="0"/>
                </a:lnTo>
                <a:lnTo>
                  <a:pt x="7893376" y="1424213"/>
                </a:lnTo>
                <a:lnTo>
                  <a:pt x="7343668" y="1424213"/>
                </a:lnTo>
                <a:cubicBezTo>
                  <a:pt x="7213532" y="1424213"/>
                  <a:pt x="7083397" y="1424213"/>
                  <a:pt x="6951018" y="1424213"/>
                </a:cubicBezTo>
                <a:cubicBezTo>
                  <a:pt x="6879220" y="1424213"/>
                  <a:pt x="6807420" y="1421967"/>
                  <a:pt x="6735622" y="1426460"/>
                </a:cubicBezTo>
                <a:cubicBezTo>
                  <a:pt x="6679529" y="1433199"/>
                  <a:pt x="6621192" y="1444431"/>
                  <a:pt x="6567344" y="1469141"/>
                </a:cubicBezTo>
                <a:cubicBezTo>
                  <a:pt x="6455158" y="1518562"/>
                  <a:pt x="6367653" y="1603925"/>
                  <a:pt x="6307073" y="1709505"/>
                </a:cubicBezTo>
                <a:cubicBezTo>
                  <a:pt x="6044558" y="2174508"/>
                  <a:pt x="6042315" y="2181248"/>
                  <a:pt x="5782045" y="2646251"/>
                </a:cubicBezTo>
                <a:cubicBezTo>
                  <a:pt x="5741658" y="2713643"/>
                  <a:pt x="5716977" y="2787774"/>
                  <a:pt x="5708002" y="2864151"/>
                </a:cubicBezTo>
                <a:lnTo>
                  <a:pt x="5189426" y="2864151"/>
                </a:lnTo>
                <a:lnTo>
                  <a:pt x="4703249" y="2864151"/>
                </a:lnTo>
                <a:lnTo>
                  <a:pt x="4248427" y="2864151"/>
                </a:lnTo>
                <a:lnTo>
                  <a:pt x="3823916" y="2864151"/>
                </a:lnTo>
                <a:lnTo>
                  <a:pt x="3428669" y="2864151"/>
                </a:lnTo>
                <a:lnTo>
                  <a:pt x="3061641" y="2864151"/>
                </a:lnTo>
                <a:lnTo>
                  <a:pt x="2721788" y="2864151"/>
                </a:lnTo>
                <a:lnTo>
                  <a:pt x="2408064" y="2864151"/>
                </a:lnTo>
                <a:lnTo>
                  <a:pt x="2119424" y="2864151"/>
                </a:lnTo>
                <a:lnTo>
                  <a:pt x="1854822" y="2864151"/>
                </a:lnTo>
                <a:lnTo>
                  <a:pt x="1613215" y="2864151"/>
                </a:lnTo>
                <a:lnTo>
                  <a:pt x="1393555" y="2864151"/>
                </a:lnTo>
                <a:lnTo>
                  <a:pt x="1194800" y="2864151"/>
                </a:lnTo>
                <a:lnTo>
                  <a:pt x="1015902" y="2864151"/>
                </a:lnTo>
                <a:lnTo>
                  <a:pt x="713501" y="2864151"/>
                </a:lnTo>
                <a:lnTo>
                  <a:pt x="477990" y="2864151"/>
                </a:lnTo>
                <a:lnTo>
                  <a:pt x="301008" y="2864151"/>
                </a:lnTo>
                <a:lnTo>
                  <a:pt x="174195" y="2864151"/>
                </a:lnTo>
                <a:lnTo>
                  <a:pt x="89188" y="2864151"/>
                </a:lnTo>
                <a:lnTo>
                  <a:pt x="37626" y="2864151"/>
                </a:lnTo>
                <a:lnTo>
                  <a:pt x="11149" y="2864151"/>
                </a:lnTo>
                <a:lnTo>
                  <a:pt x="0" y="2864151"/>
                </a:ln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</p:spPr>
        <p:txBody>
          <a:bodyPr wrap="square" tIns="828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470528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20"/>
            <a:ext cx="5465762" cy="3557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C3183D8-01C0-CEE2-0ACB-5C2FB570104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0313" y="1573619"/>
            <a:ext cx="5465762" cy="35573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900BD1E-106D-6745-BCC4-EA41A3289CE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10313" y="5359139"/>
            <a:ext cx="3582988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AA2C8FF-DAA1-2C51-F06E-EADF564334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4838" y="2073275"/>
            <a:ext cx="5465762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0C074D9A-3ED8-DCC3-7AE2-07A9E42A504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10313" y="2073275"/>
            <a:ext cx="5465762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359139"/>
            <a:ext cx="3582988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10581335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4839" y="1573620"/>
            <a:ext cx="3562349" cy="355738"/>
          </a:xfrm>
        </p:spPr>
        <p:txBody>
          <a:bodyPr/>
          <a:lstStyle/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AA2C8FF-DAA1-2C51-F06E-EADF564334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4838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6930683-2C07-515F-6B98-21313F587FC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406901" y="1573620"/>
            <a:ext cx="3562349" cy="355738"/>
          </a:xfrm>
        </p:spPr>
        <p:txBody>
          <a:bodyPr/>
          <a:lstStyle/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8" name="Picture Placeholder 13">
            <a:extLst>
              <a:ext uri="{FF2B5EF4-FFF2-40B4-BE49-F238E27FC236}">
                <a16:creationId xmlns:a16="http://schemas.microsoft.com/office/drawing/2014/main" id="{5A4C5A24-7447-AF6B-CB8A-1CA59B1247E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406900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A5FB49C-AB6F-0460-96FD-E8379B6900E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06900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DEC9EC0-0A9C-AD30-D8B4-BDAFC16D9D6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210552" y="1573620"/>
            <a:ext cx="3562349" cy="355738"/>
          </a:xfrm>
        </p:spPr>
        <p:txBody>
          <a:bodyPr/>
          <a:lstStyle/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17" name="Picture Placeholder 13">
            <a:extLst>
              <a:ext uri="{FF2B5EF4-FFF2-40B4-BE49-F238E27FC236}">
                <a16:creationId xmlns:a16="http://schemas.microsoft.com/office/drawing/2014/main" id="{6CFA9FC5-F07D-1CC2-DC50-3EB8E61D911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210551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ACC3CE1F-FC53-0F86-9C92-D632E6EFFFF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10551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3855245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Pink, Image)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3" descr="A colorful circle with a white background&#10;&#10;Description automatically generated with medium confidence">
            <a:extLst>
              <a:ext uri="{FF2B5EF4-FFF2-40B4-BE49-F238E27FC236}">
                <a16:creationId xmlns:a16="http://schemas.microsoft.com/office/drawing/2014/main" id="{06EE9A53-1C7B-5979-B7CE-200FF761C9D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5971" y="1890464"/>
            <a:ext cx="3656029" cy="4972199"/>
          </a:xfrm>
          <a:prstGeom prst="rect">
            <a:avLst/>
          </a:prstGeom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AC6C5AD-53E7-7B70-DE54-586A3C97E74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81567" y="0"/>
            <a:ext cx="5310433" cy="4803646"/>
          </a:xfrm>
          <a:custGeom>
            <a:avLst/>
            <a:gdLst>
              <a:gd name="connsiteX0" fmla="*/ 426115 w 5528906"/>
              <a:gd name="connsiteY0" fmla="*/ 0 h 5001270"/>
              <a:gd name="connsiteX1" fmla="*/ 5528906 w 5528906"/>
              <a:gd name="connsiteY1" fmla="*/ 0 h 5001270"/>
              <a:gd name="connsiteX2" fmla="*/ 5527248 w 5528906"/>
              <a:gd name="connsiteY2" fmla="*/ 3025644 h 5001270"/>
              <a:gd name="connsiteX3" fmla="*/ 5527248 w 5528906"/>
              <a:gd name="connsiteY3" fmla="*/ 1973967 h 5001270"/>
              <a:gd name="connsiteX4" fmla="*/ 5522272 w 5528906"/>
              <a:gd name="connsiteY4" fmla="*/ 1975626 h 5001270"/>
              <a:gd name="connsiteX5" fmla="*/ 5505689 w 5528906"/>
              <a:gd name="connsiteY5" fmla="*/ 1978944 h 5001270"/>
              <a:gd name="connsiteX6" fmla="*/ 5444330 w 5528906"/>
              <a:gd name="connsiteY6" fmla="*/ 1992214 h 5001270"/>
              <a:gd name="connsiteX7" fmla="*/ 5427746 w 5528906"/>
              <a:gd name="connsiteY7" fmla="*/ 1997191 h 5001270"/>
              <a:gd name="connsiteX8" fmla="*/ 5368044 w 5528906"/>
              <a:gd name="connsiteY8" fmla="*/ 2012120 h 5001270"/>
              <a:gd name="connsiteX9" fmla="*/ 5351461 w 5528906"/>
              <a:gd name="connsiteY9" fmla="*/ 2015437 h 5001270"/>
              <a:gd name="connsiteX10" fmla="*/ 5290102 w 5528906"/>
              <a:gd name="connsiteY10" fmla="*/ 2032025 h 5001270"/>
              <a:gd name="connsiteX11" fmla="*/ 5276834 w 5528906"/>
              <a:gd name="connsiteY11" fmla="*/ 2037002 h 5001270"/>
              <a:gd name="connsiteX12" fmla="*/ 5212158 w 5528906"/>
              <a:gd name="connsiteY12" fmla="*/ 2053590 h 5001270"/>
              <a:gd name="connsiteX13" fmla="*/ 5203867 w 5528906"/>
              <a:gd name="connsiteY13" fmla="*/ 2056907 h 5001270"/>
              <a:gd name="connsiteX14" fmla="*/ 5135874 w 5528906"/>
              <a:gd name="connsiteY14" fmla="*/ 2076813 h 5001270"/>
              <a:gd name="connsiteX15" fmla="*/ 4905361 w 5528906"/>
              <a:gd name="connsiteY15" fmla="*/ 2154776 h 5001270"/>
              <a:gd name="connsiteX16" fmla="*/ 2882155 w 5528906"/>
              <a:gd name="connsiteY16" fmla="*/ 3558118 h 5001270"/>
              <a:gd name="connsiteX17" fmla="*/ 2880496 w 5528906"/>
              <a:gd name="connsiteY17" fmla="*/ 3561435 h 5001270"/>
              <a:gd name="connsiteX18" fmla="*/ 2872204 w 5528906"/>
              <a:gd name="connsiteY18" fmla="*/ 3569729 h 5001270"/>
              <a:gd name="connsiteX19" fmla="*/ 2840696 w 5528906"/>
              <a:gd name="connsiteY19" fmla="*/ 3609540 h 5001270"/>
              <a:gd name="connsiteX20" fmla="*/ 2829087 w 5528906"/>
              <a:gd name="connsiteY20" fmla="*/ 3621152 h 5001270"/>
              <a:gd name="connsiteX21" fmla="*/ 2829087 w 5528906"/>
              <a:gd name="connsiteY21" fmla="*/ 3622811 h 5001270"/>
              <a:gd name="connsiteX22" fmla="*/ 2785969 w 5528906"/>
              <a:gd name="connsiteY22" fmla="*/ 3674233 h 5001270"/>
              <a:gd name="connsiteX23" fmla="*/ 2776019 w 5528906"/>
              <a:gd name="connsiteY23" fmla="*/ 3687504 h 5001270"/>
              <a:gd name="connsiteX24" fmla="*/ 2734560 w 5528906"/>
              <a:gd name="connsiteY24" fmla="*/ 3740585 h 5001270"/>
              <a:gd name="connsiteX25" fmla="*/ 2731243 w 5528906"/>
              <a:gd name="connsiteY25" fmla="*/ 3745562 h 5001270"/>
              <a:gd name="connsiteX26" fmla="*/ 2693101 w 5528906"/>
              <a:gd name="connsiteY26" fmla="*/ 3795325 h 5001270"/>
              <a:gd name="connsiteX27" fmla="*/ 2683151 w 5528906"/>
              <a:gd name="connsiteY27" fmla="*/ 3808596 h 5001270"/>
              <a:gd name="connsiteX28" fmla="*/ 2643350 w 5528906"/>
              <a:gd name="connsiteY28" fmla="*/ 3861677 h 5001270"/>
              <a:gd name="connsiteX29" fmla="*/ 2638375 w 5528906"/>
              <a:gd name="connsiteY29" fmla="*/ 3869971 h 5001270"/>
              <a:gd name="connsiteX30" fmla="*/ 2603549 w 5528906"/>
              <a:gd name="connsiteY30" fmla="*/ 3918076 h 5001270"/>
              <a:gd name="connsiteX31" fmla="*/ 2593599 w 5528906"/>
              <a:gd name="connsiteY31" fmla="*/ 3931347 h 5001270"/>
              <a:gd name="connsiteX32" fmla="*/ 2557115 w 5528906"/>
              <a:gd name="connsiteY32" fmla="*/ 3986087 h 5001270"/>
              <a:gd name="connsiteX33" fmla="*/ 2548823 w 5528906"/>
              <a:gd name="connsiteY33" fmla="*/ 3996040 h 5001270"/>
              <a:gd name="connsiteX34" fmla="*/ 2517314 w 5528906"/>
              <a:gd name="connsiteY34" fmla="*/ 4044145 h 5001270"/>
              <a:gd name="connsiteX35" fmla="*/ 2509022 w 5528906"/>
              <a:gd name="connsiteY35" fmla="*/ 4059074 h 5001270"/>
              <a:gd name="connsiteX36" fmla="*/ 2474197 w 5528906"/>
              <a:gd name="connsiteY36" fmla="*/ 4113814 h 5001270"/>
              <a:gd name="connsiteX37" fmla="*/ 2465905 w 5528906"/>
              <a:gd name="connsiteY37" fmla="*/ 4125426 h 5001270"/>
              <a:gd name="connsiteX38" fmla="*/ 2436054 w 5528906"/>
              <a:gd name="connsiteY38" fmla="*/ 4173531 h 5001270"/>
              <a:gd name="connsiteX39" fmla="*/ 2427762 w 5528906"/>
              <a:gd name="connsiteY39" fmla="*/ 4186801 h 5001270"/>
              <a:gd name="connsiteX40" fmla="*/ 2394595 w 5528906"/>
              <a:gd name="connsiteY40" fmla="*/ 4243200 h 5001270"/>
              <a:gd name="connsiteX41" fmla="*/ 2386303 w 5528906"/>
              <a:gd name="connsiteY41" fmla="*/ 4256471 h 5001270"/>
              <a:gd name="connsiteX42" fmla="*/ 2359769 w 5528906"/>
              <a:gd name="connsiteY42" fmla="*/ 4304576 h 5001270"/>
              <a:gd name="connsiteX43" fmla="*/ 2351478 w 5528906"/>
              <a:gd name="connsiteY43" fmla="*/ 4317846 h 5001270"/>
              <a:gd name="connsiteX44" fmla="*/ 2319969 w 5528906"/>
              <a:gd name="connsiteY44" fmla="*/ 4374245 h 5001270"/>
              <a:gd name="connsiteX45" fmla="*/ 2311677 w 5528906"/>
              <a:gd name="connsiteY45" fmla="*/ 4389175 h 5001270"/>
              <a:gd name="connsiteX46" fmla="*/ 2285143 w 5528906"/>
              <a:gd name="connsiteY46" fmla="*/ 4438938 h 5001270"/>
              <a:gd name="connsiteX47" fmla="*/ 2278510 w 5528906"/>
              <a:gd name="connsiteY47" fmla="*/ 4450550 h 5001270"/>
              <a:gd name="connsiteX48" fmla="*/ 2248659 w 5528906"/>
              <a:gd name="connsiteY48" fmla="*/ 4508608 h 5001270"/>
              <a:gd name="connsiteX49" fmla="*/ 2242026 w 5528906"/>
              <a:gd name="connsiteY49" fmla="*/ 4525196 h 5001270"/>
              <a:gd name="connsiteX50" fmla="*/ 2215492 w 5528906"/>
              <a:gd name="connsiteY50" fmla="*/ 4574960 h 5001270"/>
              <a:gd name="connsiteX51" fmla="*/ 2210517 w 5528906"/>
              <a:gd name="connsiteY51" fmla="*/ 4586571 h 5001270"/>
              <a:gd name="connsiteX52" fmla="*/ 2182324 w 5528906"/>
              <a:gd name="connsiteY52" fmla="*/ 4644629 h 5001270"/>
              <a:gd name="connsiteX53" fmla="*/ 2175691 w 5528906"/>
              <a:gd name="connsiteY53" fmla="*/ 4661217 h 5001270"/>
              <a:gd name="connsiteX54" fmla="*/ 2150815 w 5528906"/>
              <a:gd name="connsiteY54" fmla="*/ 4715957 h 5001270"/>
              <a:gd name="connsiteX55" fmla="*/ 2147499 w 5528906"/>
              <a:gd name="connsiteY55" fmla="*/ 4724251 h 5001270"/>
              <a:gd name="connsiteX56" fmla="*/ 2120965 w 5528906"/>
              <a:gd name="connsiteY56" fmla="*/ 4783968 h 5001270"/>
              <a:gd name="connsiteX57" fmla="*/ 2112673 w 5528906"/>
              <a:gd name="connsiteY57" fmla="*/ 4800556 h 5001270"/>
              <a:gd name="connsiteX58" fmla="*/ 2089456 w 5528906"/>
              <a:gd name="connsiteY58" fmla="*/ 4858614 h 5001270"/>
              <a:gd name="connsiteX59" fmla="*/ 2087798 w 5528906"/>
              <a:gd name="connsiteY59" fmla="*/ 4863590 h 5001270"/>
              <a:gd name="connsiteX60" fmla="*/ 2062922 w 5528906"/>
              <a:gd name="connsiteY60" fmla="*/ 4924966 h 5001270"/>
              <a:gd name="connsiteX61" fmla="*/ 2056289 w 5528906"/>
              <a:gd name="connsiteY61" fmla="*/ 4939895 h 5001270"/>
              <a:gd name="connsiteX62" fmla="*/ 2033072 w 5528906"/>
              <a:gd name="connsiteY62" fmla="*/ 5001270 h 5001270"/>
              <a:gd name="connsiteX63" fmla="*/ 598585 w 5528906"/>
              <a:gd name="connsiteY63" fmla="*/ 3808596 h 5001270"/>
              <a:gd name="connsiteX64" fmla="*/ 106051 w 5528906"/>
              <a:gd name="connsiteY64" fmla="*/ 3128489 h 5001270"/>
              <a:gd name="connsiteX65" fmla="*/ 104392 w 5528906"/>
              <a:gd name="connsiteY65" fmla="*/ 3126831 h 5001270"/>
              <a:gd name="connsiteX66" fmla="*/ 104392 w 5528906"/>
              <a:gd name="connsiteY66" fmla="*/ 3123513 h 5001270"/>
              <a:gd name="connsiteX67" fmla="*/ 101076 w 5528906"/>
              <a:gd name="connsiteY67" fmla="*/ 3116878 h 5001270"/>
              <a:gd name="connsiteX68" fmla="*/ 96100 w 5528906"/>
              <a:gd name="connsiteY68" fmla="*/ 3103607 h 5001270"/>
              <a:gd name="connsiteX69" fmla="*/ 94442 w 5528906"/>
              <a:gd name="connsiteY69" fmla="*/ 3096972 h 5001270"/>
              <a:gd name="connsiteX70" fmla="*/ 91125 w 5528906"/>
              <a:gd name="connsiteY70" fmla="*/ 3087020 h 5001270"/>
              <a:gd name="connsiteX71" fmla="*/ 87809 w 5528906"/>
              <a:gd name="connsiteY71" fmla="*/ 3082043 h 5001270"/>
              <a:gd name="connsiteX72" fmla="*/ 87809 w 5528906"/>
              <a:gd name="connsiteY72" fmla="*/ 3078726 h 5001270"/>
              <a:gd name="connsiteX73" fmla="*/ 82834 w 5528906"/>
              <a:gd name="connsiteY73" fmla="*/ 3065455 h 5001270"/>
              <a:gd name="connsiteX74" fmla="*/ 82834 w 5528906"/>
              <a:gd name="connsiteY74" fmla="*/ 3063796 h 5001270"/>
              <a:gd name="connsiteX75" fmla="*/ 24791 w 5528906"/>
              <a:gd name="connsiteY75" fmla="*/ 2274209 h 5001270"/>
              <a:gd name="connsiteX76" fmla="*/ 28107 w 5528906"/>
              <a:gd name="connsiteY76" fmla="*/ 2259280 h 5001270"/>
              <a:gd name="connsiteX77" fmla="*/ 426115 w 5528906"/>
              <a:gd name="connsiteY77" fmla="*/ 0 h 50012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5528906" h="5001270">
                <a:moveTo>
                  <a:pt x="426115" y="0"/>
                </a:moveTo>
                <a:cubicBezTo>
                  <a:pt x="426115" y="0"/>
                  <a:pt x="426115" y="0"/>
                  <a:pt x="5528906" y="0"/>
                </a:cubicBezTo>
                <a:cubicBezTo>
                  <a:pt x="5528906" y="0"/>
                  <a:pt x="5528906" y="0"/>
                  <a:pt x="5527248" y="3025644"/>
                </a:cubicBezTo>
                <a:cubicBezTo>
                  <a:pt x="5527248" y="3025644"/>
                  <a:pt x="5527248" y="3025644"/>
                  <a:pt x="5527248" y="1973967"/>
                </a:cubicBezTo>
                <a:cubicBezTo>
                  <a:pt x="5525590" y="1973967"/>
                  <a:pt x="5523931" y="1973967"/>
                  <a:pt x="5522272" y="1975626"/>
                </a:cubicBezTo>
                <a:cubicBezTo>
                  <a:pt x="5517298" y="1975626"/>
                  <a:pt x="5510664" y="1977285"/>
                  <a:pt x="5505689" y="1978944"/>
                </a:cubicBezTo>
                <a:cubicBezTo>
                  <a:pt x="5485788" y="1983920"/>
                  <a:pt x="5464230" y="1987238"/>
                  <a:pt x="5444330" y="1992214"/>
                </a:cubicBezTo>
                <a:cubicBezTo>
                  <a:pt x="5439354" y="1993873"/>
                  <a:pt x="5432721" y="1995532"/>
                  <a:pt x="5427746" y="1997191"/>
                </a:cubicBezTo>
                <a:cubicBezTo>
                  <a:pt x="5407846" y="2002167"/>
                  <a:pt x="5387945" y="2007143"/>
                  <a:pt x="5368044" y="2012120"/>
                </a:cubicBezTo>
                <a:cubicBezTo>
                  <a:pt x="5361411" y="2013779"/>
                  <a:pt x="5356436" y="2015437"/>
                  <a:pt x="5351461" y="2015437"/>
                </a:cubicBezTo>
                <a:cubicBezTo>
                  <a:pt x="5329902" y="2022073"/>
                  <a:pt x="5310002" y="2027049"/>
                  <a:pt x="5290102" y="2032025"/>
                </a:cubicBezTo>
                <a:cubicBezTo>
                  <a:pt x="5285126" y="2033684"/>
                  <a:pt x="5280151" y="2035343"/>
                  <a:pt x="5276834" y="2037002"/>
                </a:cubicBezTo>
                <a:cubicBezTo>
                  <a:pt x="5255276" y="2041978"/>
                  <a:pt x="5233717" y="2048613"/>
                  <a:pt x="5212158" y="2053590"/>
                </a:cubicBezTo>
                <a:cubicBezTo>
                  <a:pt x="5210500" y="2055248"/>
                  <a:pt x="5207183" y="2055248"/>
                  <a:pt x="5203867" y="2056907"/>
                </a:cubicBezTo>
                <a:cubicBezTo>
                  <a:pt x="5180649" y="2063542"/>
                  <a:pt x="5159091" y="2070178"/>
                  <a:pt x="5135874" y="2076813"/>
                </a:cubicBezTo>
                <a:cubicBezTo>
                  <a:pt x="5057930" y="2101695"/>
                  <a:pt x="4981646" y="2126577"/>
                  <a:pt x="4905361" y="2154776"/>
                </a:cubicBezTo>
                <a:cubicBezTo>
                  <a:pt x="4091103" y="2450042"/>
                  <a:pt x="3406198" y="2942704"/>
                  <a:pt x="2882155" y="3558118"/>
                </a:cubicBezTo>
                <a:cubicBezTo>
                  <a:pt x="2882155" y="3559776"/>
                  <a:pt x="2880496" y="3559776"/>
                  <a:pt x="2880496" y="3561435"/>
                </a:cubicBezTo>
                <a:cubicBezTo>
                  <a:pt x="2877180" y="3564753"/>
                  <a:pt x="2875521" y="3568070"/>
                  <a:pt x="2872204" y="3569729"/>
                </a:cubicBezTo>
                <a:cubicBezTo>
                  <a:pt x="2862254" y="3583000"/>
                  <a:pt x="2850646" y="3596270"/>
                  <a:pt x="2840696" y="3609540"/>
                </a:cubicBezTo>
                <a:cubicBezTo>
                  <a:pt x="2835720" y="3612858"/>
                  <a:pt x="2832404" y="3617834"/>
                  <a:pt x="2829087" y="3621152"/>
                </a:cubicBezTo>
                <a:cubicBezTo>
                  <a:pt x="2829087" y="3621152"/>
                  <a:pt x="2829087" y="3621152"/>
                  <a:pt x="2829087" y="3622811"/>
                </a:cubicBezTo>
                <a:cubicBezTo>
                  <a:pt x="2814162" y="3639399"/>
                  <a:pt x="2800895" y="3655987"/>
                  <a:pt x="2785969" y="3674233"/>
                </a:cubicBezTo>
                <a:cubicBezTo>
                  <a:pt x="2782653" y="3679210"/>
                  <a:pt x="2779336" y="3682527"/>
                  <a:pt x="2776019" y="3687504"/>
                </a:cubicBezTo>
                <a:cubicBezTo>
                  <a:pt x="2761094" y="3705750"/>
                  <a:pt x="2747827" y="3722338"/>
                  <a:pt x="2734560" y="3740585"/>
                </a:cubicBezTo>
                <a:cubicBezTo>
                  <a:pt x="2732902" y="3742244"/>
                  <a:pt x="2731243" y="3743903"/>
                  <a:pt x="2731243" y="3745562"/>
                </a:cubicBezTo>
                <a:cubicBezTo>
                  <a:pt x="2717976" y="3762149"/>
                  <a:pt x="2704710" y="3778737"/>
                  <a:pt x="2693101" y="3795325"/>
                </a:cubicBezTo>
                <a:cubicBezTo>
                  <a:pt x="2689784" y="3798643"/>
                  <a:pt x="2686468" y="3803619"/>
                  <a:pt x="2683151" y="3808596"/>
                </a:cubicBezTo>
                <a:cubicBezTo>
                  <a:pt x="2669884" y="3826843"/>
                  <a:pt x="2656617" y="3843431"/>
                  <a:pt x="2643350" y="3861677"/>
                </a:cubicBezTo>
                <a:cubicBezTo>
                  <a:pt x="2641692" y="3864995"/>
                  <a:pt x="2640033" y="3866654"/>
                  <a:pt x="2638375" y="3869971"/>
                </a:cubicBezTo>
                <a:cubicBezTo>
                  <a:pt x="2626766" y="3886559"/>
                  <a:pt x="2615158" y="3901488"/>
                  <a:pt x="2603549" y="3918076"/>
                </a:cubicBezTo>
                <a:cubicBezTo>
                  <a:pt x="2600232" y="3923053"/>
                  <a:pt x="2596916" y="3928029"/>
                  <a:pt x="2593599" y="3931347"/>
                </a:cubicBezTo>
                <a:cubicBezTo>
                  <a:pt x="2581990" y="3949593"/>
                  <a:pt x="2568724" y="3967840"/>
                  <a:pt x="2557115" y="3986087"/>
                </a:cubicBezTo>
                <a:cubicBezTo>
                  <a:pt x="2553798" y="3989405"/>
                  <a:pt x="2552140" y="3992722"/>
                  <a:pt x="2548823" y="3996040"/>
                </a:cubicBezTo>
                <a:cubicBezTo>
                  <a:pt x="2538873" y="4012628"/>
                  <a:pt x="2528923" y="4029216"/>
                  <a:pt x="2517314" y="4044145"/>
                </a:cubicBezTo>
                <a:cubicBezTo>
                  <a:pt x="2515656" y="4049121"/>
                  <a:pt x="2512339" y="4054098"/>
                  <a:pt x="2509022" y="4059074"/>
                </a:cubicBezTo>
                <a:cubicBezTo>
                  <a:pt x="2497414" y="4077321"/>
                  <a:pt x="2485805" y="4095567"/>
                  <a:pt x="2474197" y="4113814"/>
                </a:cubicBezTo>
                <a:cubicBezTo>
                  <a:pt x="2470880" y="4117132"/>
                  <a:pt x="2469222" y="4122108"/>
                  <a:pt x="2465905" y="4125426"/>
                </a:cubicBezTo>
                <a:cubicBezTo>
                  <a:pt x="2455955" y="4142014"/>
                  <a:pt x="2446004" y="4156943"/>
                  <a:pt x="2436054" y="4173531"/>
                </a:cubicBezTo>
                <a:cubicBezTo>
                  <a:pt x="2434396" y="4178507"/>
                  <a:pt x="2431079" y="4181825"/>
                  <a:pt x="2427762" y="4186801"/>
                </a:cubicBezTo>
                <a:cubicBezTo>
                  <a:pt x="2416154" y="4205048"/>
                  <a:pt x="2406204" y="4224954"/>
                  <a:pt x="2394595" y="4243200"/>
                </a:cubicBezTo>
                <a:cubicBezTo>
                  <a:pt x="2391278" y="4248177"/>
                  <a:pt x="2389620" y="4251494"/>
                  <a:pt x="2386303" y="4256471"/>
                </a:cubicBezTo>
                <a:cubicBezTo>
                  <a:pt x="2378012" y="4273059"/>
                  <a:pt x="2368061" y="4287988"/>
                  <a:pt x="2359769" y="4304576"/>
                </a:cubicBezTo>
                <a:cubicBezTo>
                  <a:pt x="2356453" y="4309552"/>
                  <a:pt x="2354794" y="4312870"/>
                  <a:pt x="2351478" y="4317846"/>
                </a:cubicBezTo>
                <a:cubicBezTo>
                  <a:pt x="2341527" y="4336093"/>
                  <a:pt x="2329919" y="4355999"/>
                  <a:pt x="2319969" y="4374245"/>
                </a:cubicBezTo>
                <a:cubicBezTo>
                  <a:pt x="2316652" y="4379222"/>
                  <a:pt x="2314994" y="4384198"/>
                  <a:pt x="2311677" y="4389175"/>
                </a:cubicBezTo>
                <a:cubicBezTo>
                  <a:pt x="2303385" y="4405762"/>
                  <a:pt x="2295093" y="4422350"/>
                  <a:pt x="2285143" y="4438938"/>
                </a:cubicBezTo>
                <a:cubicBezTo>
                  <a:pt x="2283485" y="4442256"/>
                  <a:pt x="2281826" y="4447232"/>
                  <a:pt x="2278510" y="4450550"/>
                </a:cubicBezTo>
                <a:cubicBezTo>
                  <a:pt x="2268559" y="4470456"/>
                  <a:pt x="2258609" y="4488702"/>
                  <a:pt x="2248659" y="4508608"/>
                </a:cubicBezTo>
                <a:cubicBezTo>
                  <a:pt x="2247001" y="4513584"/>
                  <a:pt x="2243684" y="4520219"/>
                  <a:pt x="2242026" y="4525196"/>
                </a:cubicBezTo>
                <a:cubicBezTo>
                  <a:pt x="2232075" y="4541784"/>
                  <a:pt x="2223784" y="4558372"/>
                  <a:pt x="2215492" y="4574960"/>
                </a:cubicBezTo>
                <a:cubicBezTo>
                  <a:pt x="2213833" y="4578277"/>
                  <a:pt x="2212175" y="4583254"/>
                  <a:pt x="2210517" y="4586571"/>
                </a:cubicBezTo>
                <a:cubicBezTo>
                  <a:pt x="2202225" y="4606477"/>
                  <a:pt x="2192275" y="4624724"/>
                  <a:pt x="2182324" y="4644629"/>
                </a:cubicBezTo>
                <a:cubicBezTo>
                  <a:pt x="2180666" y="4651264"/>
                  <a:pt x="2177349" y="4656241"/>
                  <a:pt x="2175691" y="4661217"/>
                </a:cubicBezTo>
                <a:cubicBezTo>
                  <a:pt x="2167399" y="4679464"/>
                  <a:pt x="2159107" y="4697711"/>
                  <a:pt x="2150815" y="4715957"/>
                </a:cubicBezTo>
                <a:cubicBezTo>
                  <a:pt x="2149157" y="4717616"/>
                  <a:pt x="2147499" y="4720934"/>
                  <a:pt x="2147499" y="4724251"/>
                </a:cubicBezTo>
                <a:cubicBezTo>
                  <a:pt x="2137548" y="4744157"/>
                  <a:pt x="2129257" y="4764062"/>
                  <a:pt x="2120965" y="4783968"/>
                </a:cubicBezTo>
                <a:cubicBezTo>
                  <a:pt x="2117648" y="4788944"/>
                  <a:pt x="2115990" y="4793921"/>
                  <a:pt x="2112673" y="4800556"/>
                </a:cubicBezTo>
                <a:cubicBezTo>
                  <a:pt x="2104381" y="4820461"/>
                  <a:pt x="2096089" y="4838708"/>
                  <a:pt x="2089456" y="4858614"/>
                </a:cubicBezTo>
                <a:cubicBezTo>
                  <a:pt x="2087798" y="4860273"/>
                  <a:pt x="2087798" y="4861931"/>
                  <a:pt x="2087798" y="4863590"/>
                </a:cubicBezTo>
                <a:cubicBezTo>
                  <a:pt x="2079506" y="4883496"/>
                  <a:pt x="2071214" y="4903401"/>
                  <a:pt x="2062922" y="4924966"/>
                </a:cubicBezTo>
                <a:cubicBezTo>
                  <a:pt x="2061264" y="4929942"/>
                  <a:pt x="2057947" y="4934918"/>
                  <a:pt x="2056289" y="4939895"/>
                </a:cubicBezTo>
                <a:cubicBezTo>
                  <a:pt x="2047997" y="4961459"/>
                  <a:pt x="2039705" y="4981365"/>
                  <a:pt x="2033072" y="5001270"/>
                </a:cubicBezTo>
                <a:lnTo>
                  <a:pt x="598585" y="3808596"/>
                </a:lnTo>
                <a:cubicBezTo>
                  <a:pt x="378023" y="3629446"/>
                  <a:pt x="207211" y="3393897"/>
                  <a:pt x="106051" y="3128489"/>
                </a:cubicBezTo>
                <a:cubicBezTo>
                  <a:pt x="106051" y="3128489"/>
                  <a:pt x="104392" y="3126831"/>
                  <a:pt x="104392" y="3126831"/>
                </a:cubicBezTo>
                <a:cubicBezTo>
                  <a:pt x="104392" y="3125172"/>
                  <a:pt x="104392" y="3125172"/>
                  <a:pt x="104392" y="3123513"/>
                </a:cubicBezTo>
                <a:cubicBezTo>
                  <a:pt x="102734" y="3121854"/>
                  <a:pt x="102734" y="3118537"/>
                  <a:pt x="101076" y="3116878"/>
                </a:cubicBezTo>
                <a:cubicBezTo>
                  <a:pt x="99417" y="3111901"/>
                  <a:pt x="97759" y="3108584"/>
                  <a:pt x="96100" y="3103607"/>
                </a:cubicBezTo>
                <a:cubicBezTo>
                  <a:pt x="96100" y="3101949"/>
                  <a:pt x="94442" y="3100290"/>
                  <a:pt x="94442" y="3096972"/>
                </a:cubicBezTo>
                <a:cubicBezTo>
                  <a:pt x="92784" y="3093655"/>
                  <a:pt x="91125" y="3090337"/>
                  <a:pt x="91125" y="3087020"/>
                </a:cubicBezTo>
                <a:cubicBezTo>
                  <a:pt x="89467" y="3085361"/>
                  <a:pt x="89467" y="3083702"/>
                  <a:pt x="87809" y="3082043"/>
                </a:cubicBezTo>
                <a:cubicBezTo>
                  <a:pt x="87809" y="3080384"/>
                  <a:pt x="87809" y="3080384"/>
                  <a:pt x="87809" y="3078726"/>
                </a:cubicBezTo>
                <a:cubicBezTo>
                  <a:pt x="86150" y="3073749"/>
                  <a:pt x="84492" y="3070432"/>
                  <a:pt x="82834" y="3065455"/>
                </a:cubicBezTo>
                <a:cubicBezTo>
                  <a:pt x="82834" y="3065455"/>
                  <a:pt x="82834" y="3063796"/>
                  <a:pt x="82834" y="3063796"/>
                </a:cubicBezTo>
                <a:cubicBezTo>
                  <a:pt x="-85" y="2816636"/>
                  <a:pt x="-23302" y="2547911"/>
                  <a:pt x="24791" y="2274209"/>
                </a:cubicBezTo>
                <a:cubicBezTo>
                  <a:pt x="24791" y="2269233"/>
                  <a:pt x="26449" y="2264257"/>
                  <a:pt x="28107" y="2259280"/>
                </a:cubicBezTo>
                <a:cubicBezTo>
                  <a:pt x="28107" y="2259280"/>
                  <a:pt x="28107" y="2259280"/>
                  <a:pt x="426115" y="0"/>
                </a:cubicBezTo>
                <a:close/>
              </a:path>
            </a:pathLst>
          </a:custGeom>
        </p:spPr>
        <p:txBody>
          <a:bodyPr wrap="square" tIns="1800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BA4DE77-9882-E7B6-8FB7-7ECB44BA0D8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7221098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/Caption + Large Copy [Light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84EBD29-A2BA-219B-6568-CD365506F9B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6070600" cy="6858000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/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233035"/>
            <a:ext cx="3562390" cy="81851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403375930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olorful gradient on a white background&#10;&#10;Description automatically generated">
            <a:extLst>
              <a:ext uri="{FF2B5EF4-FFF2-40B4-BE49-F238E27FC236}">
                <a16:creationId xmlns:a16="http://schemas.microsoft.com/office/drawing/2014/main" id="{BE488759-E3E9-A6FC-71CC-4B41E86D47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086856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3625" y="300038"/>
            <a:ext cx="5614985" cy="5751512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5pPr>
          </a:lstStyle>
          <a:p>
            <a:pPr lvl="0"/>
            <a:r>
              <a:rPr lang="en-US" dirty="0"/>
              <a:t>“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0EB4079-A5FD-C3C8-29D8-4AFFAD91CC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5814479" cy="5895975"/>
          </a:xfrm>
          <a:custGeom>
            <a:avLst/>
            <a:gdLst>
              <a:gd name="connsiteX0" fmla="*/ 2035735 w 3796509"/>
              <a:gd name="connsiteY0" fmla="*/ 0 h 3849721"/>
              <a:gd name="connsiteX1" fmla="*/ 3026232 w 3796509"/>
              <a:gd name="connsiteY1" fmla="*/ 0 h 3849721"/>
              <a:gd name="connsiteX2" fmla="*/ 3033499 w 3796509"/>
              <a:gd name="connsiteY2" fmla="*/ 9346 h 3849721"/>
              <a:gd name="connsiteX3" fmla="*/ 3036614 w 3796509"/>
              <a:gd name="connsiteY3" fmla="*/ 13500 h 3849721"/>
              <a:gd name="connsiteX4" fmla="*/ 3043882 w 3796509"/>
              <a:gd name="connsiteY4" fmla="*/ 23884 h 3849721"/>
              <a:gd name="connsiteX5" fmla="*/ 3048035 w 3796509"/>
              <a:gd name="connsiteY5" fmla="*/ 29076 h 3849721"/>
              <a:gd name="connsiteX6" fmla="*/ 3061532 w 3796509"/>
              <a:gd name="connsiteY6" fmla="*/ 49844 h 3849721"/>
              <a:gd name="connsiteX7" fmla="*/ 3063609 w 3796509"/>
              <a:gd name="connsiteY7" fmla="*/ 52960 h 3849721"/>
              <a:gd name="connsiteX8" fmla="*/ 3079183 w 3796509"/>
              <a:gd name="connsiteY8" fmla="*/ 77882 h 3849721"/>
              <a:gd name="connsiteX9" fmla="*/ 3711481 w 3796509"/>
              <a:gd name="connsiteY9" fmla="*/ 1173416 h 3849721"/>
              <a:gd name="connsiteX10" fmla="*/ 3767547 w 3796509"/>
              <a:gd name="connsiteY10" fmla="*/ 1678089 h 3849721"/>
              <a:gd name="connsiteX11" fmla="*/ 3478911 w 3796509"/>
              <a:gd name="connsiteY11" fmla="*/ 2038421 h 3849721"/>
              <a:gd name="connsiteX12" fmla="*/ 3164320 w 3796509"/>
              <a:gd name="connsiteY12" fmla="*/ 2555555 h 3849721"/>
              <a:gd name="connsiteX13" fmla="*/ 2995084 w 3796509"/>
              <a:gd name="connsiteY13" fmla="*/ 3217030 h 3849721"/>
              <a:gd name="connsiteX14" fmla="*/ 1266387 w 3796509"/>
              <a:gd name="connsiteY14" fmla="*/ 3680166 h 3849721"/>
              <a:gd name="connsiteX15" fmla="*/ 634089 w 3796509"/>
              <a:gd name="connsiteY15" fmla="*/ 2629283 h 3849721"/>
              <a:gd name="connsiteX16" fmla="*/ 633051 w 3796509"/>
              <a:gd name="connsiteY16" fmla="*/ 2586708 h 3849721"/>
              <a:gd name="connsiteX17" fmla="*/ 430591 w 3796509"/>
              <a:gd name="connsiteY17" fmla="*/ 2123572 h 3849721"/>
              <a:gd name="connsiteX18" fmla="*/ 348569 w 3796509"/>
              <a:gd name="connsiteY18" fmla="*/ 2058151 h 3849721"/>
              <a:gd name="connsiteX19" fmla="*/ 345454 w 3796509"/>
              <a:gd name="connsiteY19" fmla="*/ 2056075 h 3849721"/>
              <a:gd name="connsiteX20" fmla="*/ 334033 w 3796509"/>
              <a:gd name="connsiteY20" fmla="*/ 2048806 h 3849721"/>
              <a:gd name="connsiteX21" fmla="*/ 317421 w 3796509"/>
              <a:gd name="connsiteY21" fmla="*/ 2039460 h 3849721"/>
              <a:gd name="connsiteX22" fmla="*/ 84851 w 3796509"/>
              <a:gd name="connsiteY22" fmla="*/ 1173416 h 3849721"/>
              <a:gd name="connsiteX23" fmla="*/ 948681 w 3796509"/>
              <a:gd name="connsiteY23" fmla="*/ 941848 h 3849721"/>
              <a:gd name="connsiteX24" fmla="*/ 1265349 w 3796509"/>
              <a:gd name="connsiteY24" fmla="*/ 1026999 h 3849721"/>
              <a:gd name="connsiteX25" fmla="*/ 1897647 w 3796509"/>
              <a:gd name="connsiteY25" fmla="*/ 395639 h 3849721"/>
              <a:gd name="connsiteX26" fmla="*/ 2035735 w 3796509"/>
              <a:gd name="connsiteY26" fmla="*/ 0 h 3849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3796509" h="3849721">
                <a:moveTo>
                  <a:pt x="2035735" y="0"/>
                </a:moveTo>
                <a:cubicBezTo>
                  <a:pt x="2035735" y="0"/>
                  <a:pt x="2035735" y="0"/>
                  <a:pt x="3026232" y="0"/>
                </a:cubicBezTo>
                <a:cubicBezTo>
                  <a:pt x="3028308" y="3115"/>
                  <a:pt x="3031423" y="6231"/>
                  <a:pt x="3033499" y="9346"/>
                </a:cubicBezTo>
                <a:cubicBezTo>
                  <a:pt x="3034538" y="11423"/>
                  <a:pt x="3035576" y="12461"/>
                  <a:pt x="3036614" y="13500"/>
                </a:cubicBezTo>
                <a:cubicBezTo>
                  <a:pt x="3039729" y="16615"/>
                  <a:pt x="3041805" y="20769"/>
                  <a:pt x="3043882" y="23884"/>
                </a:cubicBezTo>
                <a:cubicBezTo>
                  <a:pt x="3045958" y="25961"/>
                  <a:pt x="3046997" y="26999"/>
                  <a:pt x="3048035" y="29076"/>
                </a:cubicBezTo>
                <a:cubicBezTo>
                  <a:pt x="3052188" y="36345"/>
                  <a:pt x="3057379" y="42575"/>
                  <a:pt x="3061532" y="49844"/>
                </a:cubicBezTo>
                <a:cubicBezTo>
                  <a:pt x="3062571" y="50883"/>
                  <a:pt x="3063609" y="51921"/>
                  <a:pt x="3063609" y="52960"/>
                </a:cubicBezTo>
                <a:cubicBezTo>
                  <a:pt x="3068800" y="61267"/>
                  <a:pt x="3073991" y="69574"/>
                  <a:pt x="3079183" y="77882"/>
                </a:cubicBezTo>
                <a:cubicBezTo>
                  <a:pt x="3079183" y="77882"/>
                  <a:pt x="3079183" y="77882"/>
                  <a:pt x="3711481" y="1173416"/>
                </a:cubicBezTo>
                <a:cubicBezTo>
                  <a:pt x="3796618" y="1321911"/>
                  <a:pt x="3822574" y="1502596"/>
                  <a:pt x="3767547" y="1678089"/>
                </a:cubicBezTo>
                <a:cubicBezTo>
                  <a:pt x="3718748" y="1836968"/>
                  <a:pt x="3612846" y="1961578"/>
                  <a:pt x="3478911" y="2038421"/>
                </a:cubicBezTo>
                <a:cubicBezTo>
                  <a:pt x="3286834" y="2150571"/>
                  <a:pt x="3174702" y="2347871"/>
                  <a:pt x="3164320" y="2555555"/>
                </a:cubicBezTo>
                <a:cubicBezTo>
                  <a:pt x="3169511" y="2779854"/>
                  <a:pt x="3115522" y="3008307"/>
                  <a:pt x="2995084" y="3217030"/>
                </a:cubicBezTo>
                <a:cubicBezTo>
                  <a:pt x="2645191" y="3822429"/>
                  <a:pt x="1871691" y="4029075"/>
                  <a:pt x="1266387" y="3680166"/>
                </a:cubicBezTo>
                <a:cubicBezTo>
                  <a:pt x="874965" y="3453790"/>
                  <a:pt x="649663" y="3049844"/>
                  <a:pt x="634089" y="2629283"/>
                </a:cubicBezTo>
                <a:cubicBezTo>
                  <a:pt x="633051" y="2614745"/>
                  <a:pt x="633051" y="2601246"/>
                  <a:pt x="633051" y="2586708"/>
                </a:cubicBezTo>
                <a:cubicBezTo>
                  <a:pt x="633051" y="2403946"/>
                  <a:pt x="555182" y="2238837"/>
                  <a:pt x="430591" y="2123572"/>
                </a:cubicBezTo>
                <a:cubicBezTo>
                  <a:pt x="405673" y="2099688"/>
                  <a:pt x="377640" y="2077881"/>
                  <a:pt x="348569" y="2058151"/>
                </a:cubicBezTo>
                <a:cubicBezTo>
                  <a:pt x="347530" y="2058151"/>
                  <a:pt x="346492" y="2057113"/>
                  <a:pt x="345454" y="2056075"/>
                </a:cubicBezTo>
                <a:cubicBezTo>
                  <a:pt x="341301" y="2053998"/>
                  <a:pt x="337148" y="2050882"/>
                  <a:pt x="334033" y="2048806"/>
                </a:cubicBezTo>
                <a:cubicBezTo>
                  <a:pt x="328842" y="2045690"/>
                  <a:pt x="322612" y="2042575"/>
                  <a:pt x="317421" y="2039460"/>
                </a:cubicBezTo>
                <a:cubicBezTo>
                  <a:pt x="15288" y="1865005"/>
                  <a:pt x="-90614" y="1476635"/>
                  <a:pt x="84851" y="1173416"/>
                </a:cubicBezTo>
                <a:cubicBezTo>
                  <a:pt x="259279" y="871236"/>
                  <a:pt x="646548" y="767394"/>
                  <a:pt x="948681" y="941848"/>
                </a:cubicBezTo>
                <a:cubicBezTo>
                  <a:pt x="1042124" y="995846"/>
                  <a:pt x="1151141" y="1026999"/>
                  <a:pt x="1265349" y="1026999"/>
                </a:cubicBezTo>
                <a:cubicBezTo>
                  <a:pt x="1614203" y="1026999"/>
                  <a:pt x="1897647" y="744548"/>
                  <a:pt x="1897647" y="395639"/>
                </a:cubicBezTo>
                <a:cubicBezTo>
                  <a:pt x="1897647" y="253375"/>
                  <a:pt x="1946445" y="113188"/>
                  <a:pt x="2035735" y="0"/>
                </a:cubicBezTo>
                <a:close/>
              </a:path>
            </a:pathLst>
          </a:custGeom>
        </p:spPr>
        <p:txBody>
          <a:bodyPr wrap="square" tIns="2160000">
            <a:noAutofit/>
          </a:bodyPr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1006595"/>
      </p:ext>
    </p:extLst>
  </p:cSld>
  <p:clrMapOvr>
    <a:masterClrMapping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4">
            <a:extLst>
              <a:ext uri="{FF2B5EF4-FFF2-40B4-BE49-F238E27FC236}">
                <a16:creationId xmlns:a16="http://schemas.microsoft.com/office/drawing/2014/main" id="{B1A874DA-2624-30D0-FB18-BB1F902853B0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624878" y="0"/>
            <a:ext cx="5567122" cy="6858000"/>
          </a:xfrm>
          <a:custGeom>
            <a:avLst/>
            <a:gdLst>
              <a:gd name="connsiteX0" fmla="*/ 1285861 w 2649538"/>
              <a:gd name="connsiteY0" fmla="*/ 0 h 3263900"/>
              <a:gd name="connsiteX1" fmla="*/ 2117666 w 2649538"/>
              <a:gd name="connsiteY1" fmla="*/ 0 h 3263900"/>
              <a:gd name="connsiteX2" fmla="*/ 2249879 w 2649538"/>
              <a:gd name="connsiteY2" fmla="*/ 154884 h 3263900"/>
              <a:gd name="connsiteX3" fmla="*/ 2252145 w 2649538"/>
              <a:gd name="connsiteY3" fmla="*/ 158662 h 3263900"/>
              <a:gd name="connsiteX4" fmla="*/ 2257433 w 2649538"/>
              <a:gd name="connsiteY4" fmla="*/ 168484 h 3263900"/>
              <a:gd name="connsiteX5" fmla="*/ 2259700 w 2649538"/>
              <a:gd name="connsiteY5" fmla="*/ 172261 h 3263900"/>
              <a:gd name="connsiteX6" fmla="*/ 2339027 w 2649538"/>
              <a:gd name="connsiteY6" fmla="*/ 477497 h 3263900"/>
              <a:gd name="connsiteX7" fmla="*/ 2259700 w 2649538"/>
              <a:gd name="connsiteY7" fmla="*/ 781976 h 3263900"/>
              <a:gd name="connsiteX8" fmla="*/ 2249879 w 2649538"/>
              <a:gd name="connsiteY8" fmla="*/ 799353 h 3263900"/>
              <a:gd name="connsiteX9" fmla="*/ 2170551 w 2649538"/>
              <a:gd name="connsiteY9" fmla="*/ 1103833 h 3263900"/>
              <a:gd name="connsiteX10" fmla="*/ 2249879 w 2649538"/>
              <a:gd name="connsiteY10" fmla="*/ 1409068 h 3263900"/>
              <a:gd name="connsiteX11" fmla="*/ 2259700 w 2649538"/>
              <a:gd name="connsiteY11" fmla="*/ 1425690 h 3263900"/>
              <a:gd name="connsiteX12" fmla="*/ 2649538 w 2649538"/>
              <a:gd name="connsiteY12" fmla="*/ 1712792 h 3263900"/>
              <a:gd name="connsiteX13" fmla="*/ 2649538 w 2649538"/>
              <a:gd name="connsiteY13" fmla="*/ 3263900 h 3263900"/>
              <a:gd name="connsiteX14" fmla="*/ 942108 w 2649538"/>
              <a:gd name="connsiteY14" fmla="*/ 3263900 h 3263900"/>
              <a:gd name="connsiteX15" fmla="*/ 323354 w 2649538"/>
              <a:gd name="connsiteY15" fmla="*/ 2905778 h 3263900"/>
              <a:gd name="connsiteX16" fmla="*/ 0 w 2649538"/>
              <a:gd name="connsiteY16" fmla="*/ 2357261 h 3263900"/>
              <a:gd name="connsiteX17" fmla="*/ 0 w 2649538"/>
              <a:gd name="connsiteY17" fmla="*/ 2349706 h 3263900"/>
              <a:gd name="connsiteX18" fmla="*/ 77061 w 2649538"/>
              <a:gd name="connsiteY18" fmla="*/ 2055804 h 3263900"/>
              <a:gd name="connsiteX19" fmla="*/ 90660 w 2649538"/>
              <a:gd name="connsiteY19" fmla="*/ 2032382 h 3263900"/>
              <a:gd name="connsiteX20" fmla="*/ 167721 w 2649538"/>
              <a:gd name="connsiteY20" fmla="*/ 1730925 h 3263900"/>
              <a:gd name="connsiteX21" fmla="*/ 90660 w 2649538"/>
              <a:gd name="connsiteY21" fmla="*/ 1429468 h 3263900"/>
              <a:gd name="connsiteX22" fmla="*/ 77061 w 2649538"/>
              <a:gd name="connsiteY22" fmla="*/ 1406046 h 3263900"/>
              <a:gd name="connsiteX23" fmla="*/ 0 w 2649538"/>
              <a:gd name="connsiteY23" fmla="*/ 1111388 h 3263900"/>
              <a:gd name="connsiteX24" fmla="*/ 0 w 2649538"/>
              <a:gd name="connsiteY24" fmla="*/ 1103833 h 3263900"/>
              <a:gd name="connsiteX25" fmla="*/ 323354 w 2649538"/>
              <a:gd name="connsiteY25" fmla="*/ 555316 h 3263900"/>
              <a:gd name="connsiteX26" fmla="*/ 1285861 w 2649538"/>
              <a:gd name="connsiteY26" fmla="*/ 0 h 326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649538" h="3263900">
                <a:moveTo>
                  <a:pt x="1285861" y="0"/>
                </a:moveTo>
                <a:cubicBezTo>
                  <a:pt x="1285861" y="0"/>
                  <a:pt x="1285861" y="0"/>
                  <a:pt x="2117666" y="0"/>
                </a:cubicBezTo>
                <a:cubicBezTo>
                  <a:pt x="2169795" y="43821"/>
                  <a:pt x="2214370" y="96708"/>
                  <a:pt x="2249879" y="154884"/>
                </a:cubicBezTo>
                <a:cubicBezTo>
                  <a:pt x="2250634" y="156395"/>
                  <a:pt x="2251389" y="157151"/>
                  <a:pt x="2252145" y="158662"/>
                </a:cubicBezTo>
                <a:cubicBezTo>
                  <a:pt x="2253656" y="161684"/>
                  <a:pt x="2255923" y="164706"/>
                  <a:pt x="2257433" y="168484"/>
                </a:cubicBezTo>
                <a:cubicBezTo>
                  <a:pt x="2258189" y="169995"/>
                  <a:pt x="2258945" y="170750"/>
                  <a:pt x="2259700" y="172261"/>
                </a:cubicBezTo>
                <a:cubicBezTo>
                  <a:pt x="2310319" y="262925"/>
                  <a:pt x="2339027" y="366433"/>
                  <a:pt x="2339027" y="477497"/>
                </a:cubicBezTo>
                <a:cubicBezTo>
                  <a:pt x="2339027" y="587804"/>
                  <a:pt x="2310319" y="692068"/>
                  <a:pt x="2259700" y="781976"/>
                </a:cubicBezTo>
                <a:cubicBezTo>
                  <a:pt x="2256678" y="788020"/>
                  <a:pt x="2253656" y="793309"/>
                  <a:pt x="2249879" y="799353"/>
                </a:cubicBezTo>
                <a:cubicBezTo>
                  <a:pt x="2199260" y="889262"/>
                  <a:pt x="2170551" y="993525"/>
                  <a:pt x="2170551" y="1103833"/>
                </a:cubicBezTo>
                <a:cubicBezTo>
                  <a:pt x="2170551" y="1214896"/>
                  <a:pt x="2199260" y="1318404"/>
                  <a:pt x="2249879" y="1409068"/>
                </a:cubicBezTo>
                <a:cubicBezTo>
                  <a:pt x="2253656" y="1414357"/>
                  <a:pt x="2256678" y="1420401"/>
                  <a:pt x="2259700" y="1425690"/>
                </a:cubicBezTo>
                <a:cubicBezTo>
                  <a:pt x="2345071" y="1567730"/>
                  <a:pt x="2484839" y="1673504"/>
                  <a:pt x="2649538" y="1712792"/>
                </a:cubicBezTo>
                <a:lnTo>
                  <a:pt x="2649538" y="3263900"/>
                </a:lnTo>
                <a:cubicBezTo>
                  <a:pt x="2649538" y="3263900"/>
                  <a:pt x="2649538" y="3263900"/>
                  <a:pt x="942108" y="3263900"/>
                </a:cubicBezTo>
                <a:cubicBezTo>
                  <a:pt x="942108" y="3263900"/>
                  <a:pt x="942108" y="3263900"/>
                  <a:pt x="323354" y="2905778"/>
                </a:cubicBezTo>
                <a:cubicBezTo>
                  <a:pt x="129946" y="2799248"/>
                  <a:pt x="0" y="2593743"/>
                  <a:pt x="0" y="2357261"/>
                </a:cubicBezTo>
                <a:cubicBezTo>
                  <a:pt x="0" y="2357261"/>
                  <a:pt x="0" y="2357261"/>
                  <a:pt x="0" y="2349706"/>
                </a:cubicBezTo>
                <a:cubicBezTo>
                  <a:pt x="756" y="2243176"/>
                  <a:pt x="28709" y="2143446"/>
                  <a:pt x="77061" y="2055804"/>
                </a:cubicBezTo>
                <a:cubicBezTo>
                  <a:pt x="81594" y="2048249"/>
                  <a:pt x="85372" y="2039938"/>
                  <a:pt x="90660" y="2032382"/>
                </a:cubicBezTo>
                <a:cubicBezTo>
                  <a:pt x="139768" y="1943230"/>
                  <a:pt x="167721" y="1839722"/>
                  <a:pt x="167721" y="1730925"/>
                </a:cubicBezTo>
                <a:cubicBezTo>
                  <a:pt x="167721" y="1621373"/>
                  <a:pt x="139768" y="1518620"/>
                  <a:pt x="90660" y="1429468"/>
                </a:cubicBezTo>
                <a:cubicBezTo>
                  <a:pt x="85372" y="1421157"/>
                  <a:pt x="81594" y="1413601"/>
                  <a:pt x="77061" y="1406046"/>
                </a:cubicBezTo>
                <a:cubicBezTo>
                  <a:pt x="28709" y="1318404"/>
                  <a:pt x="756" y="1217918"/>
                  <a:pt x="0" y="1111388"/>
                </a:cubicBezTo>
                <a:cubicBezTo>
                  <a:pt x="0" y="1111388"/>
                  <a:pt x="0" y="1111388"/>
                  <a:pt x="0" y="1103833"/>
                </a:cubicBezTo>
                <a:cubicBezTo>
                  <a:pt x="0" y="868107"/>
                  <a:pt x="129946" y="662602"/>
                  <a:pt x="323354" y="555316"/>
                </a:cubicBezTo>
                <a:cubicBezTo>
                  <a:pt x="815940" y="271236"/>
                  <a:pt x="855981" y="247815"/>
                  <a:pt x="1285861" y="0"/>
                </a:cubicBezTo>
                <a:close/>
              </a:path>
            </a:pathLst>
          </a:custGeom>
        </p:spPr>
        <p:txBody>
          <a:bodyPr wrap="square" tIns="2340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836" y="698400"/>
            <a:ext cx="5614985" cy="5004000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5pPr>
          </a:lstStyle>
          <a:p>
            <a:pPr lvl="0"/>
            <a:r>
              <a:rPr lang="en-US" dirty="0"/>
              <a:t>“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0085689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yellow and orange balloon&#10;&#10;Description automatically generated">
            <a:extLst>
              <a:ext uri="{FF2B5EF4-FFF2-40B4-BE49-F238E27FC236}">
                <a16:creationId xmlns:a16="http://schemas.microsoft.com/office/drawing/2014/main" id="{34032CAB-E697-0EB5-3A72-119C2294E4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1"/>
          <a:stretch/>
        </p:blipFill>
        <p:spPr>
          <a:xfrm>
            <a:off x="7338727" y="-1"/>
            <a:ext cx="4853273" cy="6858001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836" y="698400"/>
            <a:ext cx="5614985" cy="5004000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5pPr>
          </a:lstStyle>
          <a:p>
            <a:pPr lvl="0"/>
            <a:r>
              <a:rPr lang="en-US" dirty="0"/>
              <a:t>“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835594"/>
      </p:ext>
    </p:extLst>
  </p:cSld>
  <p:clrMapOvr>
    <a:masterClrMapping/>
  </p:clrMapOvr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756BABC-2963-28E2-5B08-F41D44CABD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75F0A8D-0120-75B1-B12F-5E64C97F259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06900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041B38E8-6A7F-0F95-D2F5-B1112565052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4626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D4AF94E-695F-27BB-AE3B-C84EADC2889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532800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54402087-7467-27FD-561D-E2965002769E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4326163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29385420-6F31-EC68-9C2D-7259D954F02B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8119526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45613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756BABC-2963-28E2-5B08-F41D44CABD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30324" y="1564849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2B7FAE0-3A20-3BA3-BBC0-9EF931A4140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1830324" y="3040144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BE7DE02-9488-C606-02DD-66DBAE64E2D7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830324" y="4688498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1D61909-44A1-96C5-24EC-29733C083C5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7542968" y="1564849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8F03D7E-D948-AE8B-6268-D0445FA4845C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7542968" y="3040144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4A89A1F-F10B-C531-B279-7F71EB330ED8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7542968" y="4688498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9" name="Picture Placeholder 11">
            <a:extLst>
              <a:ext uri="{FF2B5EF4-FFF2-40B4-BE49-F238E27FC236}">
                <a16:creationId xmlns:a16="http://schemas.microsoft.com/office/drawing/2014/main" id="{F107629B-0875-A1BC-15AB-C67AC1624DC0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536400" y="1540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0" name="Picture Placeholder 11">
            <a:extLst>
              <a:ext uri="{FF2B5EF4-FFF2-40B4-BE49-F238E27FC236}">
                <a16:creationId xmlns:a16="http://schemas.microsoft.com/office/drawing/2014/main" id="{49B4C2D4-3903-C213-FD24-64CE96C1979D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536400" y="3016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1" name="Picture Placeholder 11">
            <a:extLst>
              <a:ext uri="{FF2B5EF4-FFF2-40B4-BE49-F238E27FC236}">
                <a16:creationId xmlns:a16="http://schemas.microsoft.com/office/drawing/2014/main" id="{678E3C09-3971-E762-E888-4774BB750A4A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536400" y="46620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2" name="Picture Placeholder 11">
            <a:extLst>
              <a:ext uri="{FF2B5EF4-FFF2-40B4-BE49-F238E27FC236}">
                <a16:creationId xmlns:a16="http://schemas.microsoft.com/office/drawing/2014/main" id="{FD5D5F0F-3A8C-9DD5-15CE-6B7C3E9DB5BB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238800" y="1540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3" name="Picture Placeholder 11">
            <a:extLst>
              <a:ext uri="{FF2B5EF4-FFF2-40B4-BE49-F238E27FC236}">
                <a16:creationId xmlns:a16="http://schemas.microsoft.com/office/drawing/2014/main" id="{780CB698-AA0E-BBD2-304B-B4C34811DE8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238800" y="3016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4" name="Picture Placeholder 11">
            <a:extLst>
              <a:ext uri="{FF2B5EF4-FFF2-40B4-BE49-F238E27FC236}">
                <a16:creationId xmlns:a16="http://schemas.microsoft.com/office/drawing/2014/main" id="{C2BCE056-E4A2-EC44-5C8D-36D0C79AB593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238800" y="46620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509554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E5924D82-B442-36B8-3020-4B80CF88B468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310313" y="385763"/>
            <a:ext cx="5462587" cy="5665787"/>
          </a:xfrm>
        </p:spPr>
        <p:txBody>
          <a:bodyPr/>
          <a:lstStyle>
            <a:lvl1pPr>
              <a:defRPr sz="1400" b="0"/>
            </a:lvl1pPr>
          </a:lstStyle>
          <a:p>
            <a:r>
              <a:rPr lang="de-DE"/>
              <a:t>Diagramm durch Klicken auf Symbol hinzufügen</a:t>
            </a:r>
            <a:endParaRPr lang="en-GB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E06E48C0-76C8-28BD-C1B7-163ED41712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55466171"/>
      </p:ext>
    </p:extLst>
  </p:cSld>
  <p:clrMapOvr>
    <a:masterClrMapping/>
  </p:clrMapOvr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Table Placeholder 9">
            <a:extLst>
              <a:ext uri="{FF2B5EF4-FFF2-40B4-BE49-F238E27FC236}">
                <a16:creationId xmlns:a16="http://schemas.microsoft.com/office/drawing/2014/main" id="{23A5ABD4-0980-C4E1-2D35-C1A5E7B7C5AF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310313" y="1947863"/>
            <a:ext cx="5462587" cy="4103687"/>
          </a:xfrm>
        </p:spPr>
        <p:txBody>
          <a:bodyPr/>
          <a:lstStyle>
            <a:lvl1pPr>
              <a:defRPr sz="1400" b="0"/>
            </a:lvl1pPr>
          </a:lstStyle>
          <a:p>
            <a:r>
              <a:rPr lang="de-DE"/>
              <a:t>Tabelle durch Klicken auf Symbol hinzufügen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10D3C37-C70E-A0DC-24F2-9973C328C5EF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13051" y="1573620"/>
            <a:ext cx="4770000" cy="33614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CA4EA38-F567-390A-BFCA-BAFFDD3657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34895045"/>
      </p:ext>
    </p:extLst>
  </p:cSld>
  <p:clrMapOvr>
    <a:masterClrMapping/>
  </p:clrMapOvr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489E1D8-D4B0-C77A-AB21-F17122178A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40210906"/>
      </p:ext>
    </p:extLst>
  </p:cSld>
  <p:clrMapOvr>
    <a:masterClrMapping/>
  </p:clrMapOvr>
  <p:hf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C29F56FE-6896-93B5-300C-73E8064C8D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299143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Full Colour)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colorful background with a white background&#10;&#10;Description automatically generated with medium confidence">
            <a:extLst>
              <a:ext uri="{FF2B5EF4-FFF2-40B4-BE49-F238E27FC236}">
                <a16:creationId xmlns:a16="http://schemas.microsoft.com/office/drawing/2014/main" id="{EAAADDCE-325A-64FA-E1F0-74611D7996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8761" y="0"/>
            <a:ext cx="538323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736441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20" name="AutoShape 3">
            <a:extLst>
              <a:ext uri="{FF2B5EF4-FFF2-40B4-BE49-F238E27FC236}">
                <a16:creationId xmlns:a16="http://schemas.microsoft.com/office/drawing/2014/main" id="{8823F573-A3DF-8EC5-FC9A-A27AF8C52AE5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057775" y="0"/>
            <a:ext cx="71342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E369C37-70C6-FCF2-DB71-DC0419FDC4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4371552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76199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ue and orange logo&#10;&#10;Description automatically generated with medium confidence">
            <a:extLst>
              <a:ext uri="{FF2B5EF4-FFF2-40B4-BE49-F238E27FC236}">
                <a16:creationId xmlns:a16="http://schemas.microsoft.com/office/drawing/2014/main" id="{D1EAC1AC-EEBE-D382-F66C-C7D0E767E6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4494" y="0"/>
            <a:ext cx="5687505" cy="6081941"/>
          </a:xfrm>
          <a:prstGeom prst="rect">
            <a:avLst/>
          </a:prstGeom>
        </p:spPr>
      </p:pic>
      <p:sp>
        <p:nvSpPr>
          <p:cNvPr id="3" name="Picture Placeholder 17">
            <a:extLst>
              <a:ext uri="{FF2B5EF4-FFF2-40B4-BE49-F238E27FC236}">
                <a16:creationId xmlns:a16="http://schemas.microsoft.com/office/drawing/2014/main" id="{AB93F112-F5A8-1616-4D16-ECB2D1CC908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658520" y="1823213"/>
            <a:ext cx="3533479" cy="5030026"/>
          </a:xfrm>
          <a:custGeom>
            <a:avLst/>
            <a:gdLst>
              <a:gd name="connsiteX0" fmla="*/ 3066855 w 3068236"/>
              <a:gd name="connsiteY0" fmla="*/ 0 h 4367737"/>
              <a:gd name="connsiteX1" fmla="*/ 3068236 w 3068236"/>
              <a:gd name="connsiteY1" fmla="*/ 0 h 4367737"/>
              <a:gd name="connsiteX2" fmla="*/ 3068236 w 3068236"/>
              <a:gd name="connsiteY2" fmla="*/ 4367737 h 4367737"/>
              <a:gd name="connsiteX3" fmla="*/ 1362126 w 3068236"/>
              <a:gd name="connsiteY3" fmla="*/ 4367737 h 4367737"/>
              <a:gd name="connsiteX4" fmla="*/ 951830 w 3068236"/>
              <a:gd name="connsiteY4" fmla="*/ 3609871 h 4367737"/>
              <a:gd name="connsiteX5" fmla="*/ 936634 w 3068236"/>
              <a:gd name="connsiteY5" fmla="*/ 3590545 h 4367737"/>
              <a:gd name="connsiteX6" fmla="*/ 909005 w 3068236"/>
              <a:gd name="connsiteY6" fmla="*/ 3557414 h 4367737"/>
              <a:gd name="connsiteX7" fmla="*/ 896572 w 3068236"/>
              <a:gd name="connsiteY7" fmla="*/ 3542229 h 4367737"/>
              <a:gd name="connsiteX8" fmla="*/ 864798 w 3068236"/>
              <a:gd name="connsiteY8" fmla="*/ 3502196 h 4367737"/>
              <a:gd name="connsiteX9" fmla="*/ 856509 w 3068236"/>
              <a:gd name="connsiteY9" fmla="*/ 3491153 h 4367737"/>
              <a:gd name="connsiteX10" fmla="*/ 817828 w 3068236"/>
              <a:gd name="connsiteY10" fmla="*/ 3440076 h 4367737"/>
              <a:gd name="connsiteX11" fmla="*/ 816447 w 3068236"/>
              <a:gd name="connsiteY11" fmla="*/ 3438696 h 4367737"/>
              <a:gd name="connsiteX12" fmla="*/ 779147 w 3068236"/>
              <a:gd name="connsiteY12" fmla="*/ 3389000 h 4367737"/>
              <a:gd name="connsiteX13" fmla="*/ 768095 w 3068236"/>
              <a:gd name="connsiteY13" fmla="*/ 3373815 h 4367737"/>
              <a:gd name="connsiteX14" fmla="*/ 741847 w 3068236"/>
              <a:gd name="connsiteY14" fmla="*/ 3337923 h 4367737"/>
              <a:gd name="connsiteX15" fmla="*/ 728033 w 3068236"/>
              <a:gd name="connsiteY15" fmla="*/ 3318597 h 4367737"/>
              <a:gd name="connsiteX16" fmla="*/ 704548 w 3068236"/>
              <a:gd name="connsiteY16" fmla="*/ 3284086 h 4367737"/>
              <a:gd name="connsiteX17" fmla="*/ 690733 w 3068236"/>
              <a:gd name="connsiteY17" fmla="*/ 3263379 h 4367737"/>
              <a:gd name="connsiteX18" fmla="*/ 670011 w 3068236"/>
              <a:gd name="connsiteY18" fmla="*/ 3231629 h 4367737"/>
              <a:gd name="connsiteX19" fmla="*/ 654815 w 3068236"/>
              <a:gd name="connsiteY19" fmla="*/ 3209541 h 4367737"/>
              <a:gd name="connsiteX20" fmla="*/ 634093 w 3068236"/>
              <a:gd name="connsiteY20" fmla="*/ 3177791 h 4367737"/>
              <a:gd name="connsiteX21" fmla="*/ 620278 w 3068236"/>
              <a:gd name="connsiteY21" fmla="*/ 3154323 h 4367737"/>
              <a:gd name="connsiteX22" fmla="*/ 599556 w 3068236"/>
              <a:gd name="connsiteY22" fmla="*/ 3122573 h 4367737"/>
              <a:gd name="connsiteX23" fmla="*/ 585742 w 3068236"/>
              <a:gd name="connsiteY23" fmla="*/ 3099106 h 4367737"/>
              <a:gd name="connsiteX24" fmla="*/ 566401 w 3068236"/>
              <a:gd name="connsiteY24" fmla="*/ 3067355 h 4367737"/>
              <a:gd name="connsiteX25" fmla="*/ 552587 w 3068236"/>
              <a:gd name="connsiteY25" fmla="*/ 3042507 h 4367737"/>
              <a:gd name="connsiteX26" fmla="*/ 534628 w 3068236"/>
              <a:gd name="connsiteY26" fmla="*/ 3012137 h 4367737"/>
              <a:gd name="connsiteX27" fmla="*/ 519431 w 3068236"/>
              <a:gd name="connsiteY27" fmla="*/ 2985909 h 4367737"/>
              <a:gd name="connsiteX28" fmla="*/ 502854 w 3068236"/>
              <a:gd name="connsiteY28" fmla="*/ 2955539 h 4367737"/>
              <a:gd name="connsiteX29" fmla="*/ 489039 w 3068236"/>
              <a:gd name="connsiteY29" fmla="*/ 2929310 h 4367737"/>
              <a:gd name="connsiteX30" fmla="*/ 472462 w 3068236"/>
              <a:gd name="connsiteY30" fmla="*/ 2898941 h 4367737"/>
              <a:gd name="connsiteX31" fmla="*/ 458647 w 3068236"/>
              <a:gd name="connsiteY31" fmla="*/ 2871332 h 4367737"/>
              <a:gd name="connsiteX32" fmla="*/ 442069 w 3068236"/>
              <a:gd name="connsiteY32" fmla="*/ 2840962 h 4367737"/>
              <a:gd name="connsiteX33" fmla="*/ 428255 w 3068236"/>
              <a:gd name="connsiteY33" fmla="*/ 2813353 h 4367737"/>
              <a:gd name="connsiteX34" fmla="*/ 413058 w 3068236"/>
              <a:gd name="connsiteY34" fmla="*/ 2782983 h 4367737"/>
              <a:gd name="connsiteX35" fmla="*/ 399244 w 3068236"/>
              <a:gd name="connsiteY35" fmla="*/ 2755374 h 4367737"/>
              <a:gd name="connsiteX36" fmla="*/ 384048 w 3068236"/>
              <a:gd name="connsiteY36" fmla="*/ 2723624 h 4367737"/>
              <a:gd name="connsiteX37" fmla="*/ 371614 w 3068236"/>
              <a:gd name="connsiteY37" fmla="*/ 2696015 h 4367737"/>
              <a:gd name="connsiteX38" fmla="*/ 357800 w 3068236"/>
              <a:gd name="connsiteY38" fmla="*/ 2664264 h 4367737"/>
              <a:gd name="connsiteX39" fmla="*/ 345367 w 3068236"/>
              <a:gd name="connsiteY39" fmla="*/ 2635275 h 4367737"/>
              <a:gd name="connsiteX40" fmla="*/ 331552 w 3068236"/>
              <a:gd name="connsiteY40" fmla="*/ 2604905 h 4367737"/>
              <a:gd name="connsiteX41" fmla="*/ 319119 w 3068236"/>
              <a:gd name="connsiteY41" fmla="*/ 2575916 h 4367737"/>
              <a:gd name="connsiteX42" fmla="*/ 305304 w 3068236"/>
              <a:gd name="connsiteY42" fmla="*/ 2544166 h 4367737"/>
              <a:gd name="connsiteX43" fmla="*/ 294252 w 3068236"/>
              <a:gd name="connsiteY43" fmla="*/ 2515176 h 4367737"/>
              <a:gd name="connsiteX44" fmla="*/ 281819 w 3068236"/>
              <a:gd name="connsiteY44" fmla="*/ 2482045 h 4367737"/>
              <a:gd name="connsiteX45" fmla="*/ 269386 w 3068236"/>
              <a:gd name="connsiteY45" fmla="*/ 2453056 h 4367737"/>
              <a:gd name="connsiteX46" fmla="*/ 256953 w 3068236"/>
              <a:gd name="connsiteY46" fmla="*/ 2421306 h 4367737"/>
              <a:gd name="connsiteX47" fmla="*/ 245901 w 3068236"/>
              <a:gd name="connsiteY47" fmla="*/ 2390936 h 4367737"/>
              <a:gd name="connsiteX48" fmla="*/ 234849 w 3068236"/>
              <a:gd name="connsiteY48" fmla="*/ 2359186 h 4367737"/>
              <a:gd name="connsiteX49" fmla="*/ 223798 w 3068236"/>
              <a:gd name="connsiteY49" fmla="*/ 2328816 h 4367737"/>
              <a:gd name="connsiteX50" fmla="*/ 214127 w 3068236"/>
              <a:gd name="connsiteY50" fmla="*/ 2297065 h 4367737"/>
              <a:gd name="connsiteX51" fmla="*/ 203076 w 3068236"/>
              <a:gd name="connsiteY51" fmla="*/ 2265315 h 4367737"/>
              <a:gd name="connsiteX52" fmla="*/ 193405 w 3068236"/>
              <a:gd name="connsiteY52" fmla="*/ 2233565 h 4367737"/>
              <a:gd name="connsiteX53" fmla="*/ 182354 w 3068236"/>
              <a:gd name="connsiteY53" fmla="*/ 2201814 h 4367737"/>
              <a:gd name="connsiteX54" fmla="*/ 172683 w 3068236"/>
              <a:gd name="connsiteY54" fmla="*/ 2170064 h 4367737"/>
              <a:gd name="connsiteX55" fmla="*/ 163013 w 3068236"/>
              <a:gd name="connsiteY55" fmla="*/ 2136933 h 4367737"/>
              <a:gd name="connsiteX56" fmla="*/ 154724 w 3068236"/>
              <a:gd name="connsiteY56" fmla="*/ 2107944 h 4367737"/>
              <a:gd name="connsiteX57" fmla="*/ 145054 w 3068236"/>
              <a:gd name="connsiteY57" fmla="*/ 2072052 h 4367737"/>
              <a:gd name="connsiteX58" fmla="*/ 138147 w 3068236"/>
              <a:gd name="connsiteY58" fmla="*/ 2044443 h 4367737"/>
              <a:gd name="connsiteX59" fmla="*/ 127095 w 3068236"/>
              <a:gd name="connsiteY59" fmla="*/ 2007171 h 4367737"/>
              <a:gd name="connsiteX60" fmla="*/ 121569 w 3068236"/>
              <a:gd name="connsiteY60" fmla="*/ 1985084 h 4367737"/>
              <a:gd name="connsiteX61" fmla="*/ 96703 w 3068236"/>
              <a:gd name="connsiteY61" fmla="*/ 1876029 h 4367737"/>
              <a:gd name="connsiteX62" fmla="*/ 93940 w 3068236"/>
              <a:gd name="connsiteY62" fmla="*/ 1863605 h 4367737"/>
              <a:gd name="connsiteX63" fmla="*/ 87032 w 3068236"/>
              <a:gd name="connsiteY63" fmla="*/ 1833235 h 4367737"/>
              <a:gd name="connsiteX64" fmla="*/ 82888 w 3068236"/>
              <a:gd name="connsiteY64" fmla="*/ 1813909 h 4367737"/>
              <a:gd name="connsiteX65" fmla="*/ 77362 w 3068236"/>
              <a:gd name="connsiteY65" fmla="*/ 1786300 h 4367737"/>
              <a:gd name="connsiteX66" fmla="*/ 74599 w 3068236"/>
              <a:gd name="connsiteY66" fmla="*/ 1769734 h 4367737"/>
              <a:gd name="connsiteX67" fmla="*/ 66310 w 3068236"/>
              <a:gd name="connsiteY67" fmla="*/ 1728321 h 4367737"/>
              <a:gd name="connsiteX68" fmla="*/ 63548 w 3068236"/>
              <a:gd name="connsiteY68" fmla="*/ 1710375 h 4367737"/>
              <a:gd name="connsiteX69" fmla="*/ 58022 w 3068236"/>
              <a:gd name="connsiteY69" fmla="*/ 1682766 h 4367737"/>
              <a:gd name="connsiteX70" fmla="*/ 55259 w 3068236"/>
              <a:gd name="connsiteY70" fmla="*/ 1664820 h 4367737"/>
              <a:gd name="connsiteX71" fmla="*/ 48351 w 3068236"/>
              <a:gd name="connsiteY71" fmla="*/ 1623407 h 4367737"/>
              <a:gd name="connsiteX72" fmla="*/ 46970 w 3068236"/>
              <a:gd name="connsiteY72" fmla="*/ 1609602 h 4367737"/>
              <a:gd name="connsiteX73" fmla="*/ 41444 w 3068236"/>
              <a:gd name="connsiteY73" fmla="*/ 1579233 h 4367737"/>
              <a:gd name="connsiteX74" fmla="*/ 38681 w 3068236"/>
              <a:gd name="connsiteY74" fmla="*/ 1561287 h 4367737"/>
              <a:gd name="connsiteX75" fmla="*/ 34537 w 3068236"/>
              <a:gd name="connsiteY75" fmla="*/ 1529536 h 4367737"/>
              <a:gd name="connsiteX76" fmla="*/ 33155 w 3068236"/>
              <a:gd name="connsiteY76" fmla="*/ 1515732 h 4367737"/>
              <a:gd name="connsiteX77" fmla="*/ 27629 w 3068236"/>
              <a:gd name="connsiteY77" fmla="*/ 1474318 h 4367737"/>
              <a:gd name="connsiteX78" fmla="*/ 26248 w 3068236"/>
              <a:gd name="connsiteY78" fmla="*/ 1456373 h 4367737"/>
              <a:gd name="connsiteX79" fmla="*/ 23485 w 3068236"/>
              <a:gd name="connsiteY79" fmla="*/ 1428764 h 4367737"/>
              <a:gd name="connsiteX80" fmla="*/ 20722 w 3068236"/>
              <a:gd name="connsiteY80" fmla="*/ 1410818 h 4367737"/>
              <a:gd name="connsiteX81" fmla="*/ 16578 w 3068236"/>
              <a:gd name="connsiteY81" fmla="*/ 1370785 h 4367737"/>
              <a:gd name="connsiteX82" fmla="*/ 15196 w 3068236"/>
              <a:gd name="connsiteY82" fmla="*/ 1354220 h 4367737"/>
              <a:gd name="connsiteX83" fmla="*/ 13815 w 3068236"/>
              <a:gd name="connsiteY83" fmla="*/ 1325230 h 4367737"/>
              <a:gd name="connsiteX84" fmla="*/ 11052 w 3068236"/>
              <a:gd name="connsiteY84" fmla="*/ 1307284 h 4367737"/>
              <a:gd name="connsiteX85" fmla="*/ 9670 w 3068236"/>
              <a:gd name="connsiteY85" fmla="*/ 1275534 h 4367737"/>
              <a:gd name="connsiteX86" fmla="*/ 8289 w 3068236"/>
              <a:gd name="connsiteY86" fmla="*/ 1253447 h 4367737"/>
              <a:gd name="connsiteX87" fmla="*/ 5526 w 3068236"/>
              <a:gd name="connsiteY87" fmla="*/ 1221697 h 4367737"/>
              <a:gd name="connsiteX88" fmla="*/ 5526 w 3068236"/>
              <a:gd name="connsiteY88" fmla="*/ 1202370 h 4367737"/>
              <a:gd name="connsiteX89" fmla="*/ 4145 w 3068236"/>
              <a:gd name="connsiteY89" fmla="*/ 1176142 h 4367737"/>
              <a:gd name="connsiteX90" fmla="*/ 2763 w 3068236"/>
              <a:gd name="connsiteY90" fmla="*/ 1158196 h 4367737"/>
              <a:gd name="connsiteX91" fmla="*/ 1382 w 3068236"/>
              <a:gd name="connsiteY91" fmla="*/ 1118163 h 4367737"/>
              <a:gd name="connsiteX92" fmla="*/ 1382 w 3068236"/>
              <a:gd name="connsiteY92" fmla="*/ 1098837 h 4367737"/>
              <a:gd name="connsiteX93" fmla="*/ 0 w 3068236"/>
              <a:gd name="connsiteY93" fmla="*/ 1073989 h 4367737"/>
              <a:gd name="connsiteX94" fmla="*/ 0 w 3068236"/>
              <a:gd name="connsiteY94" fmla="*/ 1054662 h 4367737"/>
              <a:gd name="connsiteX95" fmla="*/ 0 w 3068236"/>
              <a:gd name="connsiteY95" fmla="*/ 1022912 h 4367737"/>
              <a:gd name="connsiteX96" fmla="*/ 0 w 3068236"/>
              <a:gd name="connsiteY96" fmla="*/ 996684 h 4367737"/>
              <a:gd name="connsiteX97" fmla="*/ 0 w 3068236"/>
              <a:gd name="connsiteY97" fmla="*/ 971835 h 4367737"/>
              <a:gd name="connsiteX98" fmla="*/ 0 w 3068236"/>
              <a:gd name="connsiteY98" fmla="*/ 949748 h 4367737"/>
              <a:gd name="connsiteX99" fmla="*/ 0 w 3068236"/>
              <a:gd name="connsiteY99" fmla="*/ 927661 h 4367737"/>
              <a:gd name="connsiteX100" fmla="*/ 1382 w 3068236"/>
              <a:gd name="connsiteY100" fmla="*/ 895911 h 4367737"/>
              <a:gd name="connsiteX101" fmla="*/ 1382 w 3068236"/>
              <a:gd name="connsiteY101" fmla="*/ 869682 h 4367737"/>
              <a:gd name="connsiteX102" fmla="*/ 2763 w 3068236"/>
              <a:gd name="connsiteY102" fmla="*/ 847595 h 4367737"/>
              <a:gd name="connsiteX103" fmla="*/ 2763 w 3068236"/>
              <a:gd name="connsiteY103" fmla="*/ 826888 h 4367737"/>
              <a:gd name="connsiteX104" fmla="*/ 4145 w 3068236"/>
              <a:gd name="connsiteY104" fmla="*/ 803421 h 4367737"/>
              <a:gd name="connsiteX105" fmla="*/ 5526 w 3068236"/>
              <a:gd name="connsiteY105" fmla="*/ 773051 h 4367737"/>
              <a:gd name="connsiteX106" fmla="*/ 8289 w 3068236"/>
              <a:gd name="connsiteY106" fmla="*/ 744062 h 4367737"/>
              <a:gd name="connsiteX107" fmla="*/ 8289 w 3068236"/>
              <a:gd name="connsiteY107" fmla="*/ 731637 h 4367737"/>
              <a:gd name="connsiteX108" fmla="*/ 11052 w 3068236"/>
              <a:gd name="connsiteY108" fmla="*/ 733018 h 4367737"/>
              <a:gd name="connsiteX109" fmla="*/ 40063 w 3068236"/>
              <a:gd name="connsiteY109" fmla="*/ 745442 h 4367737"/>
              <a:gd name="connsiteX110" fmla="*/ 42826 w 3068236"/>
              <a:gd name="connsiteY110" fmla="*/ 746822 h 4367737"/>
              <a:gd name="connsiteX111" fmla="*/ 71836 w 3068236"/>
              <a:gd name="connsiteY111" fmla="*/ 760627 h 4367737"/>
              <a:gd name="connsiteX112" fmla="*/ 74599 w 3068236"/>
              <a:gd name="connsiteY112" fmla="*/ 762007 h 4367737"/>
              <a:gd name="connsiteX113" fmla="*/ 102229 w 3068236"/>
              <a:gd name="connsiteY113" fmla="*/ 777192 h 4367737"/>
              <a:gd name="connsiteX114" fmla="*/ 107754 w 3068236"/>
              <a:gd name="connsiteY114" fmla="*/ 778573 h 4367737"/>
              <a:gd name="connsiteX115" fmla="*/ 135384 w 3068236"/>
              <a:gd name="connsiteY115" fmla="*/ 795138 h 4367737"/>
              <a:gd name="connsiteX116" fmla="*/ 138147 w 3068236"/>
              <a:gd name="connsiteY116" fmla="*/ 796519 h 4367737"/>
              <a:gd name="connsiteX117" fmla="*/ 165776 w 3068236"/>
              <a:gd name="connsiteY117" fmla="*/ 811703 h 4367737"/>
              <a:gd name="connsiteX118" fmla="*/ 168539 w 3068236"/>
              <a:gd name="connsiteY118" fmla="*/ 813084 h 4367737"/>
              <a:gd name="connsiteX119" fmla="*/ 196168 w 3068236"/>
              <a:gd name="connsiteY119" fmla="*/ 831030 h 4367737"/>
              <a:gd name="connsiteX120" fmla="*/ 201694 w 3068236"/>
              <a:gd name="connsiteY120" fmla="*/ 833791 h 4367737"/>
              <a:gd name="connsiteX121" fmla="*/ 227942 w 3068236"/>
              <a:gd name="connsiteY121" fmla="*/ 851736 h 4367737"/>
              <a:gd name="connsiteX122" fmla="*/ 230705 w 3068236"/>
              <a:gd name="connsiteY122" fmla="*/ 853117 h 4367737"/>
              <a:gd name="connsiteX123" fmla="*/ 256953 w 3068236"/>
              <a:gd name="connsiteY123" fmla="*/ 871063 h 4367737"/>
              <a:gd name="connsiteX124" fmla="*/ 259716 w 3068236"/>
              <a:gd name="connsiteY124" fmla="*/ 873824 h 4367737"/>
              <a:gd name="connsiteX125" fmla="*/ 285964 w 3068236"/>
              <a:gd name="connsiteY125" fmla="*/ 891769 h 4367737"/>
              <a:gd name="connsiteX126" fmla="*/ 291489 w 3068236"/>
              <a:gd name="connsiteY126" fmla="*/ 895911 h 4367737"/>
              <a:gd name="connsiteX127" fmla="*/ 316356 w 3068236"/>
              <a:gd name="connsiteY127" fmla="*/ 916617 h 4367737"/>
              <a:gd name="connsiteX128" fmla="*/ 317737 w 3068236"/>
              <a:gd name="connsiteY128" fmla="*/ 916617 h 4367737"/>
              <a:gd name="connsiteX129" fmla="*/ 342604 w 3068236"/>
              <a:gd name="connsiteY129" fmla="*/ 937324 h 4367737"/>
              <a:gd name="connsiteX130" fmla="*/ 346748 w 3068236"/>
              <a:gd name="connsiteY130" fmla="*/ 941466 h 4367737"/>
              <a:gd name="connsiteX131" fmla="*/ 371614 w 3068236"/>
              <a:gd name="connsiteY131" fmla="*/ 962172 h 4367737"/>
              <a:gd name="connsiteX132" fmla="*/ 375759 w 3068236"/>
              <a:gd name="connsiteY132" fmla="*/ 966314 h 4367737"/>
              <a:gd name="connsiteX133" fmla="*/ 400625 w 3068236"/>
              <a:gd name="connsiteY133" fmla="*/ 988401 h 4367737"/>
              <a:gd name="connsiteX134" fmla="*/ 402007 w 3068236"/>
              <a:gd name="connsiteY134" fmla="*/ 989781 h 4367737"/>
              <a:gd name="connsiteX135" fmla="*/ 425492 w 3068236"/>
              <a:gd name="connsiteY135" fmla="*/ 1011868 h 4367737"/>
              <a:gd name="connsiteX136" fmla="*/ 429636 w 3068236"/>
              <a:gd name="connsiteY136" fmla="*/ 1016010 h 4367737"/>
              <a:gd name="connsiteX137" fmla="*/ 453121 w 3068236"/>
              <a:gd name="connsiteY137" fmla="*/ 1039477 h 4367737"/>
              <a:gd name="connsiteX138" fmla="*/ 457265 w 3068236"/>
              <a:gd name="connsiteY138" fmla="*/ 1044999 h 4367737"/>
              <a:gd name="connsiteX139" fmla="*/ 479369 w 3068236"/>
              <a:gd name="connsiteY139" fmla="*/ 1069847 h 4367737"/>
              <a:gd name="connsiteX140" fmla="*/ 1743410 w 3068236"/>
              <a:gd name="connsiteY140" fmla="*/ 1490884 h 4367737"/>
              <a:gd name="connsiteX141" fmla="*/ 1786236 w 3068236"/>
              <a:gd name="connsiteY141" fmla="*/ 1482601 h 4367737"/>
              <a:gd name="connsiteX142" fmla="*/ 2124695 w 3068236"/>
              <a:gd name="connsiteY142" fmla="*/ 1355600 h 4367737"/>
              <a:gd name="connsiteX143" fmla="*/ 2388555 w 3068236"/>
              <a:gd name="connsiteY143" fmla="*/ 1169240 h 4367737"/>
              <a:gd name="connsiteX144" fmla="*/ 2762932 w 3068236"/>
              <a:gd name="connsiteY144" fmla="*/ 603256 h 4367737"/>
              <a:gd name="connsiteX145" fmla="*/ 2775365 w 3068236"/>
              <a:gd name="connsiteY145" fmla="*/ 563223 h 4367737"/>
              <a:gd name="connsiteX146" fmla="*/ 3066855 w 3068236"/>
              <a:gd name="connsiteY146" fmla="*/ 80066 h 4367737"/>
              <a:gd name="connsiteX147" fmla="*/ 3066855 w 3068236"/>
              <a:gd name="connsiteY147" fmla="*/ 0 h 436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3068236" h="4367737">
                <a:moveTo>
                  <a:pt x="3066855" y="0"/>
                </a:moveTo>
                <a:lnTo>
                  <a:pt x="3068236" y="0"/>
                </a:lnTo>
                <a:cubicBezTo>
                  <a:pt x="3068236" y="0"/>
                  <a:pt x="3068236" y="0"/>
                  <a:pt x="3068236" y="4367737"/>
                </a:cubicBezTo>
                <a:cubicBezTo>
                  <a:pt x="3068236" y="4367737"/>
                  <a:pt x="3068236" y="4367737"/>
                  <a:pt x="1362126" y="4367737"/>
                </a:cubicBezTo>
                <a:cubicBezTo>
                  <a:pt x="1333115" y="4008821"/>
                  <a:pt x="951830" y="3609871"/>
                  <a:pt x="951830" y="3609871"/>
                </a:cubicBezTo>
                <a:cubicBezTo>
                  <a:pt x="947686" y="3602969"/>
                  <a:pt x="942160" y="3597447"/>
                  <a:pt x="936634" y="3590545"/>
                </a:cubicBezTo>
                <a:cubicBezTo>
                  <a:pt x="926964" y="3579501"/>
                  <a:pt x="918675" y="3568458"/>
                  <a:pt x="909005" y="3557414"/>
                </a:cubicBezTo>
                <a:cubicBezTo>
                  <a:pt x="904860" y="3551892"/>
                  <a:pt x="900716" y="3547751"/>
                  <a:pt x="896572" y="3542229"/>
                </a:cubicBezTo>
                <a:cubicBezTo>
                  <a:pt x="885520" y="3528425"/>
                  <a:pt x="874468" y="3514620"/>
                  <a:pt x="864798" y="3502196"/>
                </a:cubicBezTo>
                <a:cubicBezTo>
                  <a:pt x="862035" y="3498055"/>
                  <a:pt x="859272" y="3495294"/>
                  <a:pt x="856509" y="3491153"/>
                </a:cubicBezTo>
                <a:cubicBezTo>
                  <a:pt x="842694" y="3474587"/>
                  <a:pt x="830261" y="3458022"/>
                  <a:pt x="817828" y="3440076"/>
                </a:cubicBezTo>
                <a:cubicBezTo>
                  <a:pt x="816447" y="3440076"/>
                  <a:pt x="816447" y="3440076"/>
                  <a:pt x="816447" y="3438696"/>
                </a:cubicBezTo>
                <a:cubicBezTo>
                  <a:pt x="804013" y="3422130"/>
                  <a:pt x="791580" y="3405565"/>
                  <a:pt x="779147" y="3389000"/>
                </a:cubicBezTo>
                <a:cubicBezTo>
                  <a:pt x="775003" y="3384858"/>
                  <a:pt x="772240" y="3379336"/>
                  <a:pt x="768095" y="3373815"/>
                </a:cubicBezTo>
                <a:cubicBezTo>
                  <a:pt x="759807" y="3361391"/>
                  <a:pt x="750136" y="3348967"/>
                  <a:pt x="741847" y="3337923"/>
                </a:cubicBezTo>
                <a:cubicBezTo>
                  <a:pt x="737703" y="3331021"/>
                  <a:pt x="733559" y="3324119"/>
                  <a:pt x="728033" y="3318597"/>
                </a:cubicBezTo>
                <a:cubicBezTo>
                  <a:pt x="721125" y="3307553"/>
                  <a:pt x="712837" y="3296510"/>
                  <a:pt x="704548" y="3284086"/>
                </a:cubicBezTo>
                <a:cubicBezTo>
                  <a:pt x="700403" y="3277183"/>
                  <a:pt x="696259" y="3270281"/>
                  <a:pt x="690733" y="3263379"/>
                </a:cubicBezTo>
                <a:cubicBezTo>
                  <a:pt x="683826" y="3252335"/>
                  <a:pt x="676919" y="3242672"/>
                  <a:pt x="670011" y="3231629"/>
                </a:cubicBezTo>
                <a:cubicBezTo>
                  <a:pt x="664485" y="3223346"/>
                  <a:pt x="658960" y="3216444"/>
                  <a:pt x="654815" y="3209541"/>
                </a:cubicBezTo>
                <a:cubicBezTo>
                  <a:pt x="647908" y="3198498"/>
                  <a:pt x="641000" y="3187454"/>
                  <a:pt x="634093" y="3177791"/>
                </a:cubicBezTo>
                <a:cubicBezTo>
                  <a:pt x="629949" y="3169508"/>
                  <a:pt x="624423" y="3161226"/>
                  <a:pt x="620278" y="3154323"/>
                </a:cubicBezTo>
                <a:cubicBezTo>
                  <a:pt x="613371" y="3143280"/>
                  <a:pt x="606464" y="3133617"/>
                  <a:pt x="599556" y="3122573"/>
                </a:cubicBezTo>
                <a:cubicBezTo>
                  <a:pt x="595412" y="3114290"/>
                  <a:pt x="589886" y="3107388"/>
                  <a:pt x="585742" y="3099106"/>
                </a:cubicBezTo>
                <a:cubicBezTo>
                  <a:pt x="578834" y="3088062"/>
                  <a:pt x="573309" y="3078399"/>
                  <a:pt x="566401" y="3067355"/>
                </a:cubicBezTo>
                <a:cubicBezTo>
                  <a:pt x="562257" y="3059073"/>
                  <a:pt x="556731" y="3050790"/>
                  <a:pt x="552587" y="3042507"/>
                </a:cubicBezTo>
                <a:cubicBezTo>
                  <a:pt x="545679" y="3032844"/>
                  <a:pt x="540153" y="3021800"/>
                  <a:pt x="534628" y="3012137"/>
                </a:cubicBezTo>
                <a:cubicBezTo>
                  <a:pt x="529102" y="3003855"/>
                  <a:pt x="524957" y="2995572"/>
                  <a:pt x="519431" y="2985909"/>
                </a:cubicBezTo>
                <a:cubicBezTo>
                  <a:pt x="513905" y="2976246"/>
                  <a:pt x="508380" y="2965202"/>
                  <a:pt x="502854" y="2955539"/>
                </a:cubicBezTo>
                <a:cubicBezTo>
                  <a:pt x="497328" y="2947256"/>
                  <a:pt x="493184" y="2937593"/>
                  <a:pt x="489039" y="2929310"/>
                </a:cubicBezTo>
                <a:cubicBezTo>
                  <a:pt x="483513" y="2919647"/>
                  <a:pt x="477987" y="2908604"/>
                  <a:pt x="472462" y="2898941"/>
                </a:cubicBezTo>
                <a:cubicBezTo>
                  <a:pt x="466936" y="2889277"/>
                  <a:pt x="462791" y="2880995"/>
                  <a:pt x="458647" y="2871332"/>
                </a:cubicBezTo>
                <a:cubicBezTo>
                  <a:pt x="453121" y="2861669"/>
                  <a:pt x="447595" y="2850625"/>
                  <a:pt x="442069" y="2840962"/>
                </a:cubicBezTo>
                <a:cubicBezTo>
                  <a:pt x="437925" y="2831299"/>
                  <a:pt x="432399" y="2823016"/>
                  <a:pt x="428255" y="2813353"/>
                </a:cubicBezTo>
                <a:cubicBezTo>
                  <a:pt x="422729" y="2803690"/>
                  <a:pt x="418584" y="2792646"/>
                  <a:pt x="413058" y="2782983"/>
                </a:cubicBezTo>
                <a:cubicBezTo>
                  <a:pt x="408914" y="2773320"/>
                  <a:pt x="403388" y="2763657"/>
                  <a:pt x="399244" y="2755374"/>
                </a:cubicBezTo>
                <a:cubicBezTo>
                  <a:pt x="395099" y="2744330"/>
                  <a:pt x="389574" y="2734667"/>
                  <a:pt x="384048" y="2723624"/>
                </a:cubicBezTo>
                <a:cubicBezTo>
                  <a:pt x="379903" y="2713961"/>
                  <a:pt x="375759" y="2705678"/>
                  <a:pt x="371614" y="2696015"/>
                </a:cubicBezTo>
                <a:cubicBezTo>
                  <a:pt x="367470" y="2684971"/>
                  <a:pt x="361944" y="2675308"/>
                  <a:pt x="357800" y="2664264"/>
                </a:cubicBezTo>
                <a:cubicBezTo>
                  <a:pt x="353655" y="2654601"/>
                  <a:pt x="349511" y="2644938"/>
                  <a:pt x="345367" y="2635275"/>
                </a:cubicBezTo>
                <a:cubicBezTo>
                  <a:pt x="339841" y="2625612"/>
                  <a:pt x="335696" y="2614568"/>
                  <a:pt x="331552" y="2604905"/>
                </a:cubicBezTo>
                <a:cubicBezTo>
                  <a:pt x="327408" y="2595242"/>
                  <a:pt x="323263" y="2585579"/>
                  <a:pt x="319119" y="2575916"/>
                </a:cubicBezTo>
                <a:cubicBezTo>
                  <a:pt x="314974" y="2564872"/>
                  <a:pt x="309449" y="2553829"/>
                  <a:pt x="305304" y="2544166"/>
                </a:cubicBezTo>
                <a:cubicBezTo>
                  <a:pt x="301160" y="2534502"/>
                  <a:pt x="297015" y="2524839"/>
                  <a:pt x="294252" y="2515176"/>
                </a:cubicBezTo>
                <a:cubicBezTo>
                  <a:pt x="290108" y="2504133"/>
                  <a:pt x="285964" y="2493089"/>
                  <a:pt x="281819" y="2482045"/>
                </a:cubicBezTo>
                <a:cubicBezTo>
                  <a:pt x="277675" y="2472382"/>
                  <a:pt x="273530" y="2462719"/>
                  <a:pt x="269386" y="2453056"/>
                </a:cubicBezTo>
                <a:cubicBezTo>
                  <a:pt x="265242" y="2442012"/>
                  <a:pt x="261097" y="2432349"/>
                  <a:pt x="256953" y="2421306"/>
                </a:cubicBezTo>
                <a:cubicBezTo>
                  <a:pt x="254190" y="2411643"/>
                  <a:pt x="250045" y="2400599"/>
                  <a:pt x="245901" y="2390936"/>
                </a:cubicBezTo>
                <a:cubicBezTo>
                  <a:pt x="243138" y="2379892"/>
                  <a:pt x="238994" y="2370229"/>
                  <a:pt x="234849" y="2359186"/>
                </a:cubicBezTo>
                <a:cubicBezTo>
                  <a:pt x="230705" y="2349522"/>
                  <a:pt x="227942" y="2338479"/>
                  <a:pt x="223798" y="2328816"/>
                </a:cubicBezTo>
                <a:cubicBezTo>
                  <a:pt x="221035" y="2317772"/>
                  <a:pt x="216890" y="2306728"/>
                  <a:pt x="214127" y="2297065"/>
                </a:cubicBezTo>
                <a:cubicBezTo>
                  <a:pt x="209983" y="2286022"/>
                  <a:pt x="205839" y="2274978"/>
                  <a:pt x="203076" y="2265315"/>
                </a:cubicBezTo>
                <a:cubicBezTo>
                  <a:pt x="198931" y="2254271"/>
                  <a:pt x="196168" y="2244608"/>
                  <a:pt x="193405" y="2233565"/>
                </a:cubicBezTo>
                <a:cubicBezTo>
                  <a:pt x="189261" y="2222521"/>
                  <a:pt x="186498" y="2212858"/>
                  <a:pt x="182354" y="2201814"/>
                </a:cubicBezTo>
                <a:cubicBezTo>
                  <a:pt x="179591" y="2190771"/>
                  <a:pt x="176828" y="2181108"/>
                  <a:pt x="172683" y="2170064"/>
                </a:cubicBezTo>
                <a:cubicBezTo>
                  <a:pt x="169920" y="2159021"/>
                  <a:pt x="167158" y="2147977"/>
                  <a:pt x="163013" y="2136933"/>
                </a:cubicBezTo>
                <a:cubicBezTo>
                  <a:pt x="160250" y="2127270"/>
                  <a:pt x="157487" y="2117607"/>
                  <a:pt x="154724" y="2107944"/>
                </a:cubicBezTo>
                <a:cubicBezTo>
                  <a:pt x="151961" y="2095520"/>
                  <a:pt x="147817" y="2084476"/>
                  <a:pt x="145054" y="2072052"/>
                </a:cubicBezTo>
                <a:cubicBezTo>
                  <a:pt x="142291" y="2063770"/>
                  <a:pt x="139528" y="2054107"/>
                  <a:pt x="138147" y="2044443"/>
                </a:cubicBezTo>
                <a:cubicBezTo>
                  <a:pt x="134002" y="2032019"/>
                  <a:pt x="131239" y="2019595"/>
                  <a:pt x="127095" y="2007171"/>
                </a:cubicBezTo>
                <a:cubicBezTo>
                  <a:pt x="125714" y="2000269"/>
                  <a:pt x="124332" y="1991986"/>
                  <a:pt x="121569" y="1985084"/>
                </a:cubicBezTo>
                <a:cubicBezTo>
                  <a:pt x="113280" y="1949193"/>
                  <a:pt x="104992" y="1913301"/>
                  <a:pt x="96703" y="1876029"/>
                </a:cubicBezTo>
                <a:cubicBezTo>
                  <a:pt x="95321" y="1871887"/>
                  <a:pt x="95321" y="1867746"/>
                  <a:pt x="93940" y="1863605"/>
                </a:cubicBezTo>
                <a:cubicBezTo>
                  <a:pt x="91177" y="1853942"/>
                  <a:pt x="89795" y="1844279"/>
                  <a:pt x="87032" y="1833235"/>
                </a:cubicBezTo>
                <a:cubicBezTo>
                  <a:pt x="85651" y="1827713"/>
                  <a:pt x="84270" y="1820811"/>
                  <a:pt x="82888" y="1813909"/>
                </a:cubicBezTo>
                <a:cubicBezTo>
                  <a:pt x="81507" y="1805626"/>
                  <a:pt x="80125" y="1795963"/>
                  <a:pt x="77362" y="1786300"/>
                </a:cubicBezTo>
                <a:cubicBezTo>
                  <a:pt x="75981" y="1780778"/>
                  <a:pt x="75981" y="1775256"/>
                  <a:pt x="74599" y="1769734"/>
                </a:cubicBezTo>
                <a:cubicBezTo>
                  <a:pt x="71836" y="1755930"/>
                  <a:pt x="69073" y="1742125"/>
                  <a:pt x="66310" y="1728321"/>
                </a:cubicBezTo>
                <a:cubicBezTo>
                  <a:pt x="64929" y="1722799"/>
                  <a:pt x="64929" y="1717277"/>
                  <a:pt x="63548" y="1710375"/>
                </a:cubicBezTo>
                <a:cubicBezTo>
                  <a:pt x="62166" y="1702092"/>
                  <a:pt x="59403" y="1692429"/>
                  <a:pt x="58022" y="1682766"/>
                </a:cubicBezTo>
                <a:cubicBezTo>
                  <a:pt x="58022" y="1677244"/>
                  <a:pt x="56640" y="1670342"/>
                  <a:pt x="55259" y="1664820"/>
                </a:cubicBezTo>
                <a:cubicBezTo>
                  <a:pt x="52496" y="1651016"/>
                  <a:pt x="51114" y="1637211"/>
                  <a:pt x="48351" y="1623407"/>
                </a:cubicBezTo>
                <a:cubicBezTo>
                  <a:pt x="48351" y="1619266"/>
                  <a:pt x="46970" y="1613744"/>
                  <a:pt x="46970" y="1609602"/>
                </a:cubicBezTo>
                <a:cubicBezTo>
                  <a:pt x="45589" y="1598559"/>
                  <a:pt x="42826" y="1588896"/>
                  <a:pt x="41444" y="1579233"/>
                </a:cubicBezTo>
                <a:cubicBezTo>
                  <a:pt x="41444" y="1572330"/>
                  <a:pt x="40063" y="1566808"/>
                  <a:pt x="38681" y="1561287"/>
                </a:cubicBezTo>
                <a:cubicBezTo>
                  <a:pt x="37300" y="1550243"/>
                  <a:pt x="35918" y="1540580"/>
                  <a:pt x="34537" y="1529536"/>
                </a:cubicBezTo>
                <a:cubicBezTo>
                  <a:pt x="34537" y="1525395"/>
                  <a:pt x="34537" y="1519873"/>
                  <a:pt x="33155" y="1515732"/>
                </a:cubicBezTo>
                <a:cubicBezTo>
                  <a:pt x="31774" y="1501927"/>
                  <a:pt x="30392" y="1488123"/>
                  <a:pt x="27629" y="1474318"/>
                </a:cubicBezTo>
                <a:cubicBezTo>
                  <a:pt x="27629" y="1468797"/>
                  <a:pt x="26248" y="1463275"/>
                  <a:pt x="26248" y="1456373"/>
                </a:cubicBezTo>
                <a:cubicBezTo>
                  <a:pt x="24867" y="1446710"/>
                  <a:pt x="23485" y="1438427"/>
                  <a:pt x="23485" y="1428764"/>
                </a:cubicBezTo>
                <a:cubicBezTo>
                  <a:pt x="22104" y="1423242"/>
                  <a:pt x="22104" y="1416340"/>
                  <a:pt x="20722" y="1410818"/>
                </a:cubicBezTo>
                <a:cubicBezTo>
                  <a:pt x="19341" y="1397013"/>
                  <a:pt x="17959" y="1384589"/>
                  <a:pt x="16578" y="1370785"/>
                </a:cubicBezTo>
                <a:cubicBezTo>
                  <a:pt x="16578" y="1365263"/>
                  <a:pt x="16578" y="1359741"/>
                  <a:pt x="15196" y="1354220"/>
                </a:cubicBezTo>
                <a:cubicBezTo>
                  <a:pt x="15196" y="1344556"/>
                  <a:pt x="13815" y="1334893"/>
                  <a:pt x="13815" y="1325230"/>
                </a:cubicBezTo>
                <a:cubicBezTo>
                  <a:pt x="12433" y="1319708"/>
                  <a:pt x="12433" y="1312806"/>
                  <a:pt x="11052" y="1307284"/>
                </a:cubicBezTo>
                <a:cubicBezTo>
                  <a:pt x="11052" y="1296241"/>
                  <a:pt x="9670" y="1285197"/>
                  <a:pt x="9670" y="1275534"/>
                </a:cubicBezTo>
                <a:cubicBezTo>
                  <a:pt x="8289" y="1267251"/>
                  <a:pt x="8289" y="1260349"/>
                  <a:pt x="8289" y="1253447"/>
                </a:cubicBezTo>
                <a:cubicBezTo>
                  <a:pt x="6907" y="1242403"/>
                  <a:pt x="6907" y="1232740"/>
                  <a:pt x="5526" y="1221697"/>
                </a:cubicBezTo>
                <a:cubicBezTo>
                  <a:pt x="5526" y="1216175"/>
                  <a:pt x="5526" y="1209273"/>
                  <a:pt x="5526" y="1202370"/>
                </a:cubicBezTo>
                <a:cubicBezTo>
                  <a:pt x="4145" y="1194088"/>
                  <a:pt x="4145" y="1185805"/>
                  <a:pt x="4145" y="1176142"/>
                </a:cubicBezTo>
                <a:cubicBezTo>
                  <a:pt x="4145" y="1170620"/>
                  <a:pt x="2763" y="1163718"/>
                  <a:pt x="2763" y="1158196"/>
                </a:cubicBezTo>
                <a:cubicBezTo>
                  <a:pt x="2763" y="1144391"/>
                  <a:pt x="1382" y="1131967"/>
                  <a:pt x="1382" y="1118163"/>
                </a:cubicBezTo>
                <a:cubicBezTo>
                  <a:pt x="1382" y="1112641"/>
                  <a:pt x="1382" y="1105739"/>
                  <a:pt x="1382" y="1098837"/>
                </a:cubicBezTo>
                <a:cubicBezTo>
                  <a:pt x="1382" y="1090554"/>
                  <a:pt x="0" y="1082271"/>
                  <a:pt x="0" y="1073989"/>
                </a:cubicBezTo>
                <a:cubicBezTo>
                  <a:pt x="0" y="1068467"/>
                  <a:pt x="0" y="1061565"/>
                  <a:pt x="0" y="1054662"/>
                </a:cubicBezTo>
                <a:cubicBezTo>
                  <a:pt x="0" y="1043619"/>
                  <a:pt x="0" y="1033956"/>
                  <a:pt x="0" y="1022912"/>
                </a:cubicBezTo>
                <a:cubicBezTo>
                  <a:pt x="0" y="1014629"/>
                  <a:pt x="0" y="1004966"/>
                  <a:pt x="0" y="996684"/>
                </a:cubicBezTo>
                <a:cubicBezTo>
                  <a:pt x="0" y="988401"/>
                  <a:pt x="0" y="980118"/>
                  <a:pt x="0" y="971835"/>
                </a:cubicBezTo>
                <a:cubicBezTo>
                  <a:pt x="0" y="964933"/>
                  <a:pt x="0" y="958031"/>
                  <a:pt x="0" y="949748"/>
                </a:cubicBezTo>
                <a:cubicBezTo>
                  <a:pt x="0" y="942846"/>
                  <a:pt x="0" y="934563"/>
                  <a:pt x="0" y="927661"/>
                </a:cubicBezTo>
                <a:cubicBezTo>
                  <a:pt x="0" y="916617"/>
                  <a:pt x="1382" y="906954"/>
                  <a:pt x="1382" y="895911"/>
                </a:cubicBezTo>
                <a:cubicBezTo>
                  <a:pt x="1382" y="887628"/>
                  <a:pt x="1382" y="877965"/>
                  <a:pt x="1382" y="869682"/>
                </a:cubicBezTo>
                <a:cubicBezTo>
                  <a:pt x="1382" y="862780"/>
                  <a:pt x="2763" y="854497"/>
                  <a:pt x="2763" y="847595"/>
                </a:cubicBezTo>
                <a:cubicBezTo>
                  <a:pt x="2763" y="840693"/>
                  <a:pt x="2763" y="833791"/>
                  <a:pt x="2763" y="826888"/>
                </a:cubicBezTo>
                <a:cubicBezTo>
                  <a:pt x="4145" y="818606"/>
                  <a:pt x="4145" y="811703"/>
                  <a:pt x="4145" y="803421"/>
                </a:cubicBezTo>
                <a:cubicBezTo>
                  <a:pt x="5526" y="793758"/>
                  <a:pt x="5526" y="782714"/>
                  <a:pt x="5526" y="773051"/>
                </a:cubicBezTo>
                <a:cubicBezTo>
                  <a:pt x="6907" y="763388"/>
                  <a:pt x="6907" y="753725"/>
                  <a:pt x="8289" y="744062"/>
                </a:cubicBezTo>
                <a:cubicBezTo>
                  <a:pt x="8289" y="739920"/>
                  <a:pt x="8289" y="735779"/>
                  <a:pt x="8289" y="731637"/>
                </a:cubicBezTo>
                <a:cubicBezTo>
                  <a:pt x="9670" y="731637"/>
                  <a:pt x="9670" y="733018"/>
                  <a:pt x="11052" y="733018"/>
                </a:cubicBezTo>
                <a:cubicBezTo>
                  <a:pt x="20722" y="737159"/>
                  <a:pt x="30392" y="741301"/>
                  <a:pt x="40063" y="745442"/>
                </a:cubicBezTo>
                <a:cubicBezTo>
                  <a:pt x="41444" y="746822"/>
                  <a:pt x="42826" y="746822"/>
                  <a:pt x="42826" y="746822"/>
                </a:cubicBezTo>
                <a:cubicBezTo>
                  <a:pt x="52496" y="752344"/>
                  <a:pt x="62166" y="756486"/>
                  <a:pt x="71836" y="760627"/>
                </a:cubicBezTo>
                <a:cubicBezTo>
                  <a:pt x="71836" y="760627"/>
                  <a:pt x="73218" y="762007"/>
                  <a:pt x="74599" y="762007"/>
                </a:cubicBezTo>
                <a:cubicBezTo>
                  <a:pt x="84270" y="766149"/>
                  <a:pt x="92558" y="771670"/>
                  <a:pt x="102229" y="777192"/>
                </a:cubicBezTo>
                <a:cubicBezTo>
                  <a:pt x="104992" y="777192"/>
                  <a:pt x="106373" y="778573"/>
                  <a:pt x="107754" y="778573"/>
                </a:cubicBezTo>
                <a:cubicBezTo>
                  <a:pt x="117425" y="784095"/>
                  <a:pt x="127095" y="789616"/>
                  <a:pt x="135384" y="795138"/>
                </a:cubicBezTo>
                <a:cubicBezTo>
                  <a:pt x="136765" y="795138"/>
                  <a:pt x="138147" y="795138"/>
                  <a:pt x="138147" y="796519"/>
                </a:cubicBezTo>
                <a:cubicBezTo>
                  <a:pt x="147817" y="800660"/>
                  <a:pt x="156106" y="806182"/>
                  <a:pt x="165776" y="811703"/>
                </a:cubicBezTo>
                <a:cubicBezTo>
                  <a:pt x="167158" y="811703"/>
                  <a:pt x="167158" y="813084"/>
                  <a:pt x="168539" y="813084"/>
                </a:cubicBezTo>
                <a:cubicBezTo>
                  <a:pt x="178209" y="818606"/>
                  <a:pt x="186498" y="824128"/>
                  <a:pt x="196168" y="831030"/>
                </a:cubicBezTo>
                <a:cubicBezTo>
                  <a:pt x="197550" y="831030"/>
                  <a:pt x="198931" y="832410"/>
                  <a:pt x="201694" y="833791"/>
                </a:cubicBezTo>
                <a:cubicBezTo>
                  <a:pt x="209983" y="839312"/>
                  <a:pt x="219653" y="844834"/>
                  <a:pt x="227942" y="851736"/>
                </a:cubicBezTo>
                <a:cubicBezTo>
                  <a:pt x="229323" y="851736"/>
                  <a:pt x="229323" y="851736"/>
                  <a:pt x="230705" y="853117"/>
                </a:cubicBezTo>
                <a:cubicBezTo>
                  <a:pt x="238994" y="858639"/>
                  <a:pt x="247283" y="864161"/>
                  <a:pt x="256953" y="871063"/>
                </a:cubicBezTo>
                <a:cubicBezTo>
                  <a:pt x="258334" y="871063"/>
                  <a:pt x="258334" y="872443"/>
                  <a:pt x="259716" y="873824"/>
                </a:cubicBezTo>
                <a:cubicBezTo>
                  <a:pt x="269386" y="879345"/>
                  <a:pt x="277675" y="886248"/>
                  <a:pt x="285964" y="891769"/>
                </a:cubicBezTo>
                <a:cubicBezTo>
                  <a:pt x="287345" y="893150"/>
                  <a:pt x="288727" y="894530"/>
                  <a:pt x="291489" y="895911"/>
                </a:cubicBezTo>
                <a:cubicBezTo>
                  <a:pt x="299778" y="902813"/>
                  <a:pt x="308067" y="909715"/>
                  <a:pt x="316356" y="916617"/>
                </a:cubicBezTo>
                <a:cubicBezTo>
                  <a:pt x="317737" y="916617"/>
                  <a:pt x="317737" y="916617"/>
                  <a:pt x="317737" y="916617"/>
                </a:cubicBezTo>
                <a:cubicBezTo>
                  <a:pt x="326026" y="923520"/>
                  <a:pt x="334315" y="930422"/>
                  <a:pt x="342604" y="937324"/>
                </a:cubicBezTo>
                <a:cubicBezTo>
                  <a:pt x="343985" y="938705"/>
                  <a:pt x="345367" y="940085"/>
                  <a:pt x="346748" y="941466"/>
                </a:cubicBezTo>
                <a:cubicBezTo>
                  <a:pt x="355037" y="948368"/>
                  <a:pt x="363326" y="955270"/>
                  <a:pt x="371614" y="962172"/>
                </a:cubicBezTo>
                <a:cubicBezTo>
                  <a:pt x="372996" y="963553"/>
                  <a:pt x="374377" y="964933"/>
                  <a:pt x="375759" y="966314"/>
                </a:cubicBezTo>
                <a:cubicBezTo>
                  <a:pt x="384048" y="973216"/>
                  <a:pt x="392336" y="981499"/>
                  <a:pt x="400625" y="988401"/>
                </a:cubicBezTo>
                <a:cubicBezTo>
                  <a:pt x="400625" y="988401"/>
                  <a:pt x="402007" y="989781"/>
                  <a:pt x="402007" y="989781"/>
                </a:cubicBezTo>
                <a:cubicBezTo>
                  <a:pt x="408914" y="996684"/>
                  <a:pt x="417203" y="1004966"/>
                  <a:pt x="425492" y="1011868"/>
                </a:cubicBezTo>
                <a:cubicBezTo>
                  <a:pt x="426873" y="1013249"/>
                  <a:pt x="428255" y="1014629"/>
                  <a:pt x="429636" y="1016010"/>
                </a:cubicBezTo>
                <a:cubicBezTo>
                  <a:pt x="436543" y="1024292"/>
                  <a:pt x="444832" y="1032575"/>
                  <a:pt x="453121" y="1039477"/>
                </a:cubicBezTo>
                <a:cubicBezTo>
                  <a:pt x="454502" y="1040858"/>
                  <a:pt x="455884" y="1043619"/>
                  <a:pt x="457265" y="1044999"/>
                </a:cubicBezTo>
                <a:cubicBezTo>
                  <a:pt x="464173" y="1053282"/>
                  <a:pt x="472462" y="1061565"/>
                  <a:pt x="479369" y="1069847"/>
                </a:cubicBezTo>
                <a:cubicBezTo>
                  <a:pt x="809539" y="1435666"/>
                  <a:pt x="1293052" y="1579233"/>
                  <a:pt x="1743410" y="1490884"/>
                </a:cubicBezTo>
                <a:cubicBezTo>
                  <a:pt x="1758606" y="1488123"/>
                  <a:pt x="1772421" y="1485362"/>
                  <a:pt x="1786236" y="1482601"/>
                </a:cubicBezTo>
                <a:cubicBezTo>
                  <a:pt x="1902279" y="1456373"/>
                  <a:pt x="2016941" y="1413579"/>
                  <a:pt x="2124695" y="1355600"/>
                </a:cubicBezTo>
                <a:cubicBezTo>
                  <a:pt x="2217253" y="1305904"/>
                  <a:pt x="2305667" y="1243784"/>
                  <a:pt x="2388555" y="1169240"/>
                </a:cubicBezTo>
                <a:cubicBezTo>
                  <a:pt x="2565382" y="1010488"/>
                  <a:pt x="2691096" y="814464"/>
                  <a:pt x="2762932" y="603256"/>
                </a:cubicBezTo>
                <a:cubicBezTo>
                  <a:pt x="2767077" y="590832"/>
                  <a:pt x="2771221" y="577027"/>
                  <a:pt x="2775365" y="563223"/>
                </a:cubicBezTo>
                <a:cubicBezTo>
                  <a:pt x="2836150" y="386526"/>
                  <a:pt x="2932852" y="222252"/>
                  <a:pt x="3066855" y="80066"/>
                </a:cubicBezTo>
                <a:cubicBezTo>
                  <a:pt x="3066855" y="80066"/>
                  <a:pt x="3066855" y="80066"/>
                  <a:pt x="3066855" y="0"/>
                </a:cubicBezTo>
                <a:close/>
              </a:path>
            </a:pathLst>
          </a:custGeom>
        </p:spPr>
        <p:txBody>
          <a:bodyPr wrap="square" tIns="2808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143DEFF-7B37-AEB7-BAB3-BA96DA878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5465762" cy="2280285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7D66186-3CF2-1211-7819-DF6B04FF02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338018"/>
            <a:ext cx="3802062" cy="1253173"/>
          </a:xfrm>
        </p:spPr>
        <p:txBody>
          <a:bodyPr/>
          <a:lstStyle>
            <a:lvl1pPr>
              <a:defRPr sz="2000"/>
            </a:lvl1pPr>
            <a:lvl2pPr>
              <a:spcBef>
                <a:spcPts val="0"/>
              </a:spcBef>
              <a:defRPr sz="2000">
                <a:solidFill>
                  <a:srgbClr val="0460A9"/>
                </a:solidFill>
              </a:defRPr>
            </a:lvl2pPr>
            <a:lvl3pPr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82846509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colorful circle shapes&#10;&#10;Description automatically generated with medium confidence">
            <a:extLst>
              <a:ext uri="{FF2B5EF4-FFF2-40B4-BE49-F238E27FC236}">
                <a16:creationId xmlns:a16="http://schemas.microsoft.com/office/drawing/2014/main" id="{359161E4-197E-88D5-EB0B-C36268C2180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2190" y="-1"/>
            <a:ext cx="5179810" cy="5898875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143DEFF-7B37-AEB7-BAB3-BA96DA878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5465762" cy="2280285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7D66186-3CF2-1211-7819-DF6B04FF02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338018"/>
            <a:ext cx="3802062" cy="1253173"/>
          </a:xfrm>
        </p:spPr>
        <p:txBody>
          <a:bodyPr/>
          <a:lstStyle>
            <a:lvl1pPr>
              <a:defRPr sz="2000"/>
            </a:lvl1pPr>
            <a:lvl2pPr>
              <a:spcBef>
                <a:spcPts val="0"/>
              </a:spcBef>
              <a:defRPr sz="2000">
                <a:solidFill>
                  <a:srgbClr val="0460A9"/>
                </a:solidFill>
              </a:defRPr>
            </a:lvl2pPr>
            <a:lvl3pPr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41355607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colorful background with different shapes&#10;&#10;Description automatically generated with medium confidence">
            <a:extLst>
              <a:ext uri="{FF2B5EF4-FFF2-40B4-BE49-F238E27FC236}">
                <a16:creationId xmlns:a16="http://schemas.microsoft.com/office/drawing/2014/main" id="{41CB0998-F869-8C2B-5155-25159CF65E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9900" y="0"/>
            <a:ext cx="53721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143DEFF-7B37-AEB7-BAB3-BA96DA878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5465762" cy="2280285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7D66186-3CF2-1211-7819-DF6B04FF02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338018"/>
            <a:ext cx="3802062" cy="1253173"/>
          </a:xfrm>
        </p:spPr>
        <p:txBody>
          <a:bodyPr/>
          <a:lstStyle>
            <a:lvl1pPr>
              <a:defRPr sz="2000"/>
            </a:lvl1pPr>
            <a:lvl2pPr>
              <a:spcBef>
                <a:spcPts val="0"/>
              </a:spcBef>
              <a:defRPr sz="2000">
                <a:solidFill>
                  <a:srgbClr val="0460A9"/>
                </a:solidFill>
              </a:defRPr>
            </a:lvl2pPr>
            <a:lvl3pPr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42343139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1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olorful circle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FF6A30E8-B7D4-ED0A-B735-3EFA819596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6601" y="0"/>
            <a:ext cx="25653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421656"/>
            <a:ext cx="5705475" cy="1231106"/>
          </a:xfrm>
        </p:spPr>
        <p:txBody>
          <a:bodyPr anchor="b" anchorCtr="0"/>
          <a:lstStyle>
            <a:lvl1pPr algn="l">
              <a:lnSpc>
                <a:spcPct val="100000"/>
              </a:lnSpc>
              <a:defRPr sz="4000" spc="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or reactive use only - Not for further distribu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5477607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9DBD6D8B-48F1-5D66-CD84-ED9EFC62A6F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37" y="6051550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8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36695356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Blue, Image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blue and orange logo&#10;&#10;Description automatically generated with medium confidence">
            <a:extLst>
              <a:ext uri="{FF2B5EF4-FFF2-40B4-BE49-F238E27FC236}">
                <a16:creationId xmlns:a16="http://schemas.microsoft.com/office/drawing/2014/main" id="{DA746F40-D9E5-EE54-9147-0C10275E9B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4494" y="0"/>
            <a:ext cx="5687505" cy="6081941"/>
          </a:xfrm>
          <a:prstGeom prst="rect">
            <a:avLst/>
          </a:prstGeom>
        </p:spPr>
      </p:pic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684AD74C-D134-954A-A43E-286899A1AE0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658520" y="1823213"/>
            <a:ext cx="3533479" cy="5030026"/>
          </a:xfrm>
          <a:custGeom>
            <a:avLst/>
            <a:gdLst>
              <a:gd name="connsiteX0" fmla="*/ 3066855 w 3068236"/>
              <a:gd name="connsiteY0" fmla="*/ 0 h 4367737"/>
              <a:gd name="connsiteX1" fmla="*/ 3068236 w 3068236"/>
              <a:gd name="connsiteY1" fmla="*/ 0 h 4367737"/>
              <a:gd name="connsiteX2" fmla="*/ 3068236 w 3068236"/>
              <a:gd name="connsiteY2" fmla="*/ 4367737 h 4367737"/>
              <a:gd name="connsiteX3" fmla="*/ 1362126 w 3068236"/>
              <a:gd name="connsiteY3" fmla="*/ 4367737 h 4367737"/>
              <a:gd name="connsiteX4" fmla="*/ 951830 w 3068236"/>
              <a:gd name="connsiteY4" fmla="*/ 3609871 h 4367737"/>
              <a:gd name="connsiteX5" fmla="*/ 936634 w 3068236"/>
              <a:gd name="connsiteY5" fmla="*/ 3590545 h 4367737"/>
              <a:gd name="connsiteX6" fmla="*/ 909005 w 3068236"/>
              <a:gd name="connsiteY6" fmla="*/ 3557414 h 4367737"/>
              <a:gd name="connsiteX7" fmla="*/ 896572 w 3068236"/>
              <a:gd name="connsiteY7" fmla="*/ 3542229 h 4367737"/>
              <a:gd name="connsiteX8" fmla="*/ 864798 w 3068236"/>
              <a:gd name="connsiteY8" fmla="*/ 3502196 h 4367737"/>
              <a:gd name="connsiteX9" fmla="*/ 856509 w 3068236"/>
              <a:gd name="connsiteY9" fmla="*/ 3491153 h 4367737"/>
              <a:gd name="connsiteX10" fmla="*/ 817828 w 3068236"/>
              <a:gd name="connsiteY10" fmla="*/ 3440076 h 4367737"/>
              <a:gd name="connsiteX11" fmla="*/ 816447 w 3068236"/>
              <a:gd name="connsiteY11" fmla="*/ 3438696 h 4367737"/>
              <a:gd name="connsiteX12" fmla="*/ 779147 w 3068236"/>
              <a:gd name="connsiteY12" fmla="*/ 3389000 h 4367737"/>
              <a:gd name="connsiteX13" fmla="*/ 768095 w 3068236"/>
              <a:gd name="connsiteY13" fmla="*/ 3373815 h 4367737"/>
              <a:gd name="connsiteX14" fmla="*/ 741847 w 3068236"/>
              <a:gd name="connsiteY14" fmla="*/ 3337923 h 4367737"/>
              <a:gd name="connsiteX15" fmla="*/ 728033 w 3068236"/>
              <a:gd name="connsiteY15" fmla="*/ 3318597 h 4367737"/>
              <a:gd name="connsiteX16" fmla="*/ 704548 w 3068236"/>
              <a:gd name="connsiteY16" fmla="*/ 3284086 h 4367737"/>
              <a:gd name="connsiteX17" fmla="*/ 690733 w 3068236"/>
              <a:gd name="connsiteY17" fmla="*/ 3263379 h 4367737"/>
              <a:gd name="connsiteX18" fmla="*/ 670011 w 3068236"/>
              <a:gd name="connsiteY18" fmla="*/ 3231629 h 4367737"/>
              <a:gd name="connsiteX19" fmla="*/ 654815 w 3068236"/>
              <a:gd name="connsiteY19" fmla="*/ 3209541 h 4367737"/>
              <a:gd name="connsiteX20" fmla="*/ 634093 w 3068236"/>
              <a:gd name="connsiteY20" fmla="*/ 3177791 h 4367737"/>
              <a:gd name="connsiteX21" fmla="*/ 620278 w 3068236"/>
              <a:gd name="connsiteY21" fmla="*/ 3154323 h 4367737"/>
              <a:gd name="connsiteX22" fmla="*/ 599556 w 3068236"/>
              <a:gd name="connsiteY22" fmla="*/ 3122573 h 4367737"/>
              <a:gd name="connsiteX23" fmla="*/ 585742 w 3068236"/>
              <a:gd name="connsiteY23" fmla="*/ 3099106 h 4367737"/>
              <a:gd name="connsiteX24" fmla="*/ 566401 w 3068236"/>
              <a:gd name="connsiteY24" fmla="*/ 3067355 h 4367737"/>
              <a:gd name="connsiteX25" fmla="*/ 552587 w 3068236"/>
              <a:gd name="connsiteY25" fmla="*/ 3042507 h 4367737"/>
              <a:gd name="connsiteX26" fmla="*/ 534628 w 3068236"/>
              <a:gd name="connsiteY26" fmla="*/ 3012137 h 4367737"/>
              <a:gd name="connsiteX27" fmla="*/ 519431 w 3068236"/>
              <a:gd name="connsiteY27" fmla="*/ 2985909 h 4367737"/>
              <a:gd name="connsiteX28" fmla="*/ 502854 w 3068236"/>
              <a:gd name="connsiteY28" fmla="*/ 2955539 h 4367737"/>
              <a:gd name="connsiteX29" fmla="*/ 489039 w 3068236"/>
              <a:gd name="connsiteY29" fmla="*/ 2929310 h 4367737"/>
              <a:gd name="connsiteX30" fmla="*/ 472462 w 3068236"/>
              <a:gd name="connsiteY30" fmla="*/ 2898941 h 4367737"/>
              <a:gd name="connsiteX31" fmla="*/ 458647 w 3068236"/>
              <a:gd name="connsiteY31" fmla="*/ 2871332 h 4367737"/>
              <a:gd name="connsiteX32" fmla="*/ 442069 w 3068236"/>
              <a:gd name="connsiteY32" fmla="*/ 2840962 h 4367737"/>
              <a:gd name="connsiteX33" fmla="*/ 428255 w 3068236"/>
              <a:gd name="connsiteY33" fmla="*/ 2813353 h 4367737"/>
              <a:gd name="connsiteX34" fmla="*/ 413058 w 3068236"/>
              <a:gd name="connsiteY34" fmla="*/ 2782983 h 4367737"/>
              <a:gd name="connsiteX35" fmla="*/ 399244 w 3068236"/>
              <a:gd name="connsiteY35" fmla="*/ 2755374 h 4367737"/>
              <a:gd name="connsiteX36" fmla="*/ 384048 w 3068236"/>
              <a:gd name="connsiteY36" fmla="*/ 2723624 h 4367737"/>
              <a:gd name="connsiteX37" fmla="*/ 371614 w 3068236"/>
              <a:gd name="connsiteY37" fmla="*/ 2696015 h 4367737"/>
              <a:gd name="connsiteX38" fmla="*/ 357800 w 3068236"/>
              <a:gd name="connsiteY38" fmla="*/ 2664264 h 4367737"/>
              <a:gd name="connsiteX39" fmla="*/ 345367 w 3068236"/>
              <a:gd name="connsiteY39" fmla="*/ 2635275 h 4367737"/>
              <a:gd name="connsiteX40" fmla="*/ 331552 w 3068236"/>
              <a:gd name="connsiteY40" fmla="*/ 2604905 h 4367737"/>
              <a:gd name="connsiteX41" fmla="*/ 319119 w 3068236"/>
              <a:gd name="connsiteY41" fmla="*/ 2575916 h 4367737"/>
              <a:gd name="connsiteX42" fmla="*/ 305304 w 3068236"/>
              <a:gd name="connsiteY42" fmla="*/ 2544166 h 4367737"/>
              <a:gd name="connsiteX43" fmla="*/ 294252 w 3068236"/>
              <a:gd name="connsiteY43" fmla="*/ 2515176 h 4367737"/>
              <a:gd name="connsiteX44" fmla="*/ 281819 w 3068236"/>
              <a:gd name="connsiteY44" fmla="*/ 2482045 h 4367737"/>
              <a:gd name="connsiteX45" fmla="*/ 269386 w 3068236"/>
              <a:gd name="connsiteY45" fmla="*/ 2453056 h 4367737"/>
              <a:gd name="connsiteX46" fmla="*/ 256953 w 3068236"/>
              <a:gd name="connsiteY46" fmla="*/ 2421306 h 4367737"/>
              <a:gd name="connsiteX47" fmla="*/ 245901 w 3068236"/>
              <a:gd name="connsiteY47" fmla="*/ 2390936 h 4367737"/>
              <a:gd name="connsiteX48" fmla="*/ 234849 w 3068236"/>
              <a:gd name="connsiteY48" fmla="*/ 2359186 h 4367737"/>
              <a:gd name="connsiteX49" fmla="*/ 223798 w 3068236"/>
              <a:gd name="connsiteY49" fmla="*/ 2328816 h 4367737"/>
              <a:gd name="connsiteX50" fmla="*/ 214127 w 3068236"/>
              <a:gd name="connsiteY50" fmla="*/ 2297065 h 4367737"/>
              <a:gd name="connsiteX51" fmla="*/ 203076 w 3068236"/>
              <a:gd name="connsiteY51" fmla="*/ 2265315 h 4367737"/>
              <a:gd name="connsiteX52" fmla="*/ 193405 w 3068236"/>
              <a:gd name="connsiteY52" fmla="*/ 2233565 h 4367737"/>
              <a:gd name="connsiteX53" fmla="*/ 182354 w 3068236"/>
              <a:gd name="connsiteY53" fmla="*/ 2201814 h 4367737"/>
              <a:gd name="connsiteX54" fmla="*/ 172683 w 3068236"/>
              <a:gd name="connsiteY54" fmla="*/ 2170064 h 4367737"/>
              <a:gd name="connsiteX55" fmla="*/ 163013 w 3068236"/>
              <a:gd name="connsiteY55" fmla="*/ 2136933 h 4367737"/>
              <a:gd name="connsiteX56" fmla="*/ 154724 w 3068236"/>
              <a:gd name="connsiteY56" fmla="*/ 2107944 h 4367737"/>
              <a:gd name="connsiteX57" fmla="*/ 145054 w 3068236"/>
              <a:gd name="connsiteY57" fmla="*/ 2072052 h 4367737"/>
              <a:gd name="connsiteX58" fmla="*/ 138147 w 3068236"/>
              <a:gd name="connsiteY58" fmla="*/ 2044443 h 4367737"/>
              <a:gd name="connsiteX59" fmla="*/ 127095 w 3068236"/>
              <a:gd name="connsiteY59" fmla="*/ 2007171 h 4367737"/>
              <a:gd name="connsiteX60" fmla="*/ 121569 w 3068236"/>
              <a:gd name="connsiteY60" fmla="*/ 1985084 h 4367737"/>
              <a:gd name="connsiteX61" fmla="*/ 96703 w 3068236"/>
              <a:gd name="connsiteY61" fmla="*/ 1876029 h 4367737"/>
              <a:gd name="connsiteX62" fmla="*/ 93940 w 3068236"/>
              <a:gd name="connsiteY62" fmla="*/ 1863605 h 4367737"/>
              <a:gd name="connsiteX63" fmla="*/ 87032 w 3068236"/>
              <a:gd name="connsiteY63" fmla="*/ 1833235 h 4367737"/>
              <a:gd name="connsiteX64" fmla="*/ 82888 w 3068236"/>
              <a:gd name="connsiteY64" fmla="*/ 1813909 h 4367737"/>
              <a:gd name="connsiteX65" fmla="*/ 77362 w 3068236"/>
              <a:gd name="connsiteY65" fmla="*/ 1786300 h 4367737"/>
              <a:gd name="connsiteX66" fmla="*/ 74599 w 3068236"/>
              <a:gd name="connsiteY66" fmla="*/ 1769734 h 4367737"/>
              <a:gd name="connsiteX67" fmla="*/ 66310 w 3068236"/>
              <a:gd name="connsiteY67" fmla="*/ 1728321 h 4367737"/>
              <a:gd name="connsiteX68" fmla="*/ 63548 w 3068236"/>
              <a:gd name="connsiteY68" fmla="*/ 1710375 h 4367737"/>
              <a:gd name="connsiteX69" fmla="*/ 58022 w 3068236"/>
              <a:gd name="connsiteY69" fmla="*/ 1682766 h 4367737"/>
              <a:gd name="connsiteX70" fmla="*/ 55259 w 3068236"/>
              <a:gd name="connsiteY70" fmla="*/ 1664820 h 4367737"/>
              <a:gd name="connsiteX71" fmla="*/ 48351 w 3068236"/>
              <a:gd name="connsiteY71" fmla="*/ 1623407 h 4367737"/>
              <a:gd name="connsiteX72" fmla="*/ 46970 w 3068236"/>
              <a:gd name="connsiteY72" fmla="*/ 1609602 h 4367737"/>
              <a:gd name="connsiteX73" fmla="*/ 41444 w 3068236"/>
              <a:gd name="connsiteY73" fmla="*/ 1579233 h 4367737"/>
              <a:gd name="connsiteX74" fmla="*/ 38681 w 3068236"/>
              <a:gd name="connsiteY74" fmla="*/ 1561287 h 4367737"/>
              <a:gd name="connsiteX75" fmla="*/ 34537 w 3068236"/>
              <a:gd name="connsiteY75" fmla="*/ 1529536 h 4367737"/>
              <a:gd name="connsiteX76" fmla="*/ 33155 w 3068236"/>
              <a:gd name="connsiteY76" fmla="*/ 1515732 h 4367737"/>
              <a:gd name="connsiteX77" fmla="*/ 27629 w 3068236"/>
              <a:gd name="connsiteY77" fmla="*/ 1474318 h 4367737"/>
              <a:gd name="connsiteX78" fmla="*/ 26248 w 3068236"/>
              <a:gd name="connsiteY78" fmla="*/ 1456373 h 4367737"/>
              <a:gd name="connsiteX79" fmla="*/ 23485 w 3068236"/>
              <a:gd name="connsiteY79" fmla="*/ 1428764 h 4367737"/>
              <a:gd name="connsiteX80" fmla="*/ 20722 w 3068236"/>
              <a:gd name="connsiteY80" fmla="*/ 1410818 h 4367737"/>
              <a:gd name="connsiteX81" fmla="*/ 16578 w 3068236"/>
              <a:gd name="connsiteY81" fmla="*/ 1370785 h 4367737"/>
              <a:gd name="connsiteX82" fmla="*/ 15196 w 3068236"/>
              <a:gd name="connsiteY82" fmla="*/ 1354220 h 4367737"/>
              <a:gd name="connsiteX83" fmla="*/ 13815 w 3068236"/>
              <a:gd name="connsiteY83" fmla="*/ 1325230 h 4367737"/>
              <a:gd name="connsiteX84" fmla="*/ 11052 w 3068236"/>
              <a:gd name="connsiteY84" fmla="*/ 1307284 h 4367737"/>
              <a:gd name="connsiteX85" fmla="*/ 9670 w 3068236"/>
              <a:gd name="connsiteY85" fmla="*/ 1275534 h 4367737"/>
              <a:gd name="connsiteX86" fmla="*/ 8289 w 3068236"/>
              <a:gd name="connsiteY86" fmla="*/ 1253447 h 4367737"/>
              <a:gd name="connsiteX87" fmla="*/ 5526 w 3068236"/>
              <a:gd name="connsiteY87" fmla="*/ 1221697 h 4367737"/>
              <a:gd name="connsiteX88" fmla="*/ 5526 w 3068236"/>
              <a:gd name="connsiteY88" fmla="*/ 1202370 h 4367737"/>
              <a:gd name="connsiteX89" fmla="*/ 4145 w 3068236"/>
              <a:gd name="connsiteY89" fmla="*/ 1176142 h 4367737"/>
              <a:gd name="connsiteX90" fmla="*/ 2763 w 3068236"/>
              <a:gd name="connsiteY90" fmla="*/ 1158196 h 4367737"/>
              <a:gd name="connsiteX91" fmla="*/ 1382 w 3068236"/>
              <a:gd name="connsiteY91" fmla="*/ 1118163 h 4367737"/>
              <a:gd name="connsiteX92" fmla="*/ 1382 w 3068236"/>
              <a:gd name="connsiteY92" fmla="*/ 1098837 h 4367737"/>
              <a:gd name="connsiteX93" fmla="*/ 0 w 3068236"/>
              <a:gd name="connsiteY93" fmla="*/ 1073989 h 4367737"/>
              <a:gd name="connsiteX94" fmla="*/ 0 w 3068236"/>
              <a:gd name="connsiteY94" fmla="*/ 1054662 h 4367737"/>
              <a:gd name="connsiteX95" fmla="*/ 0 w 3068236"/>
              <a:gd name="connsiteY95" fmla="*/ 1022912 h 4367737"/>
              <a:gd name="connsiteX96" fmla="*/ 0 w 3068236"/>
              <a:gd name="connsiteY96" fmla="*/ 996684 h 4367737"/>
              <a:gd name="connsiteX97" fmla="*/ 0 w 3068236"/>
              <a:gd name="connsiteY97" fmla="*/ 971835 h 4367737"/>
              <a:gd name="connsiteX98" fmla="*/ 0 w 3068236"/>
              <a:gd name="connsiteY98" fmla="*/ 949748 h 4367737"/>
              <a:gd name="connsiteX99" fmla="*/ 0 w 3068236"/>
              <a:gd name="connsiteY99" fmla="*/ 927661 h 4367737"/>
              <a:gd name="connsiteX100" fmla="*/ 1382 w 3068236"/>
              <a:gd name="connsiteY100" fmla="*/ 895911 h 4367737"/>
              <a:gd name="connsiteX101" fmla="*/ 1382 w 3068236"/>
              <a:gd name="connsiteY101" fmla="*/ 869682 h 4367737"/>
              <a:gd name="connsiteX102" fmla="*/ 2763 w 3068236"/>
              <a:gd name="connsiteY102" fmla="*/ 847595 h 4367737"/>
              <a:gd name="connsiteX103" fmla="*/ 2763 w 3068236"/>
              <a:gd name="connsiteY103" fmla="*/ 826888 h 4367737"/>
              <a:gd name="connsiteX104" fmla="*/ 4145 w 3068236"/>
              <a:gd name="connsiteY104" fmla="*/ 803421 h 4367737"/>
              <a:gd name="connsiteX105" fmla="*/ 5526 w 3068236"/>
              <a:gd name="connsiteY105" fmla="*/ 773051 h 4367737"/>
              <a:gd name="connsiteX106" fmla="*/ 8289 w 3068236"/>
              <a:gd name="connsiteY106" fmla="*/ 744062 h 4367737"/>
              <a:gd name="connsiteX107" fmla="*/ 8289 w 3068236"/>
              <a:gd name="connsiteY107" fmla="*/ 731637 h 4367737"/>
              <a:gd name="connsiteX108" fmla="*/ 11052 w 3068236"/>
              <a:gd name="connsiteY108" fmla="*/ 733018 h 4367737"/>
              <a:gd name="connsiteX109" fmla="*/ 40063 w 3068236"/>
              <a:gd name="connsiteY109" fmla="*/ 745442 h 4367737"/>
              <a:gd name="connsiteX110" fmla="*/ 42826 w 3068236"/>
              <a:gd name="connsiteY110" fmla="*/ 746822 h 4367737"/>
              <a:gd name="connsiteX111" fmla="*/ 71836 w 3068236"/>
              <a:gd name="connsiteY111" fmla="*/ 760627 h 4367737"/>
              <a:gd name="connsiteX112" fmla="*/ 74599 w 3068236"/>
              <a:gd name="connsiteY112" fmla="*/ 762007 h 4367737"/>
              <a:gd name="connsiteX113" fmla="*/ 102229 w 3068236"/>
              <a:gd name="connsiteY113" fmla="*/ 777192 h 4367737"/>
              <a:gd name="connsiteX114" fmla="*/ 107754 w 3068236"/>
              <a:gd name="connsiteY114" fmla="*/ 778573 h 4367737"/>
              <a:gd name="connsiteX115" fmla="*/ 135384 w 3068236"/>
              <a:gd name="connsiteY115" fmla="*/ 795138 h 4367737"/>
              <a:gd name="connsiteX116" fmla="*/ 138147 w 3068236"/>
              <a:gd name="connsiteY116" fmla="*/ 796519 h 4367737"/>
              <a:gd name="connsiteX117" fmla="*/ 165776 w 3068236"/>
              <a:gd name="connsiteY117" fmla="*/ 811703 h 4367737"/>
              <a:gd name="connsiteX118" fmla="*/ 168539 w 3068236"/>
              <a:gd name="connsiteY118" fmla="*/ 813084 h 4367737"/>
              <a:gd name="connsiteX119" fmla="*/ 196168 w 3068236"/>
              <a:gd name="connsiteY119" fmla="*/ 831030 h 4367737"/>
              <a:gd name="connsiteX120" fmla="*/ 201694 w 3068236"/>
              <a:gd name="connsiteY120" fmla="*/ 833791 h 4367737"/>
              <a:gd name="connsiteX121" fmla="*/ 227942 w 3068236"/>
              <a:gd name="connsiteY121" fmla="*/ 851736 h 4367737"/>
              <a:gd name="connsiteX122" fmla="*/ 230705 w 3068236"/>
              <a:gd name="connsiteY122" fmla="*/ 853117 h 4367737"/>
              <a:gd name="connsiteX123" fmla="*/ 256953 w 3068236"/>
              <a:gd name="connsiteY123" fmla="*/ 871063 h 4367737"/>
              <a:gd name="connsiteX124" fmla="*/ 259716 w 3068236"/>
              <a:gd name="connsiteY124" fmla="*/ 873824 h 4367737"/>
              <a:gd name="connsiteX125" fmla="*/ 285964 w 3068236"/>
              <a:gd name="connsiteY125" fmla="*/ 891769 h 4367737"/>
              <a:gd name="connsiteX126" fmla="*/ 291489 w 3068236"/>
              <a:gd name="connsiteY126" fmla="*/ 895911 h 4367737"/>
              <a:gd name="connsiteX127" fmla="*/ 316356 w 3068236"/>
              <a:gd name="connsiteY127" fmla="*/ 916617 h 4367737"/>
              <a:gd name="connsiteX128" fmla="*/ 317737 w 3068236"/>
              <a:gd name="connsiteY128" fmla="*/ 916617 h 4367737"/>
              <a:gd name="connsiteX129" fmla="*/ 342604 w 3068236"/>
              <a:gd name="connsiteY129" fmla="*/ 937324 h 4367737"/>
              <a:gd name="connsiteX130" fmla="*/ 346748 w 3068236"/>
              <a:gd name="connsiteY130" fmla="*/ 941466 h 4367737"/>
              <a:gd name="connsiteX131" fmla="*/ 371614 w 3068236"/>
              <a:gd name="connsiteY131" fmla="*/ 962172 h 4367737"/>
              <a:gd name="connsiteX132" fmla="*/ 375759 w 3068236"/>
              <a:gd name="connsiteY132" fmla="*/ 966314 h 4367737"/>
              <a:gd name="connsiteX133" fmla="*/ 400625 w 3068236"/>
              <a:gd name="connsiteY133" fmla="*/ 988401 h 4367737"/>
              <a:gd name="connsiteX134" fmla="*/ 402007 w 3068236"/>
              <a:gd name="connsiteY134" fmla="*/ 989781 h 4367737"/>
              <a:gd name="connsiteX135" fmla="*/ 425492 w 3068236"/>
              <a:gd name="connsiteY135" fmla="*/ 1011868 h 4367737"/>
              <a:gd name="connsiteX136" fmla="*/ 429636 w 3068236"/>
              <a:gd name="connsiteY136" fmla="*/ 1016010 h 4367737"/>
              <a:gd name="connsiteX137" fmla="*/ 453121 w 3068236"/>
              <a:gd name="connsiteY137" fmla="*/ 1039477 h 4367737"/>
              <a:gd name="connsiteX138" fmla="*/ 457265 w 3068236"/>
              <a:gd name="connsiteY138" fmla="*/ 1044999 h 4367737"/>
              <a:gd name="connsiteX139" fmla="*/ 479369 w 3068236"/>
              <a:gd name="connsiteY139" fmla="*/ 1069847 h 4367737"/>
              <a:gd name="connsiteX140" fmla="*/ 1743410 w 3068236"/>
              <a:gd name="connsiteY140" fmla="*/ 1490884 h 4367737"/>
              <a:gd name="connsiteX141" fmla="*/ 1786236 w 3068236"/>
              <a:gd name="connsiteY141" fmla="*/ 1482601 h 4367737"/>
              <a:gd name="connsiteX142" fmla="*/ 2124695 w 3068236"/>
              <a:gd name="connsiteY142" fmla="*/ 1355600 h 4367737"/>
              <a:gd name="connsiteX143" fmla="*/ 2388555 w 3068236"/>
              <a:gd name="connsiteY143" fmla="*/ 1169240 h 4367737"/>
              <a:gd name="connsiteX144" fmla="*/ 2762932 w 3068236"/>
              <a:gd name="connsiteY144" fmla="*/ 603256 h 4367737"/>
              <a:gd name="connsiteX145" fmla="*/ 2775365 w 3068236"/>
              <a:gd name="connsiteY145" fmla="*/ 563223 h 4367737"/>
              <a:gd name="connsiteX146" fmla="*/ 3066855 w 3068236"/>
              <a:gd name="connsiteY146" fmla="*/ 80066 h 4367737"/>
              <a:gd name="connsiteX147" fmla="*/ 3066855 w 3068236"/>
              <a:gd name="connsiteY147" fmla="*/ 0 h 436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3068236" h="4367737">
                <a:moveTo>
                  <a:pt x="3066855" y="0"/>
                </a:moveTo>
                <a:lnTo>
                  <a:pt x="3068236" y="0"/>
                </a:lnTo>
                <a:cubicBezTo>
                  <a:pt x="3068236" y="0"/>
                  <a:pt x="3068236" y="0"/>
                  <a:pt x="3068236" y="4367737"/>
                </a:cubicBezTo>
                <a:cubicBezTo>
                  <a:pt x="3068236" y="4367737"/>
                  <a:pt x="3068236" y="4367737"/>
                  <a:pt x="1362126" y="4367737"/>
                </a:cubicBezTo>
                <a:cubicBezTo>
                  <a:pt x="1333115" y="4008821"/>
                  <a:pt x="951830" y="3609871"/>
                  <a:pt x="951830" y="3609871"/>
                </a:cubicBezTo>
                <a:cubicBezTo>
                  <a:pt x="947686" y="3602969"/>
                  <a:pt x="942160" y="3597447"/>
                  <a:pt x="936634" y="3590545"/>
                </a:cubicBezTo>
                <a:cubicBezTo>
                  <a:pt x="926964" y="3579501"/>
                  <a:pt x="918675" y="3568458"/>
                  <a:pt x="909005" y="3557414"/>
                </a:cubicBezTo>
                <a:cubicBezTo>
                  <a:pt x="904860" y="3551892"/>
                  <a:pt x="900716" y="3547751"/>
                  <a:pt x="896572" y="3542229"/>
                </a:cubicBezTo>
                <a:cubicBezTo>
                  <a:pt x="885520" y="3528425"/>
                  <a:pt x="874468" y="3514620"/>
                  <a:pt x="864798" y="3502196"/>
                </a:cubicBezTo>
                <a:cubicBezTo>
                  <a:pt x="862035" y="3498055"/>
                  <a:pt x="859272" y="3495294"/>
                  <a:pt x="856509" y="3491153"/>
                </a:cubicBezTo>
                <a:cubicBezTo>
                  <a:pt x="842694" y="3474587"/>
                  <a:pt x="830261" y="3458022"/>
                  <a:pt x="817828" y="3440076"/>
                </a:cubicBezTo>
                <a:cubicBezTo>
                  <a:pt x="816447" y="3440076"/>
                  <a:pt x="816447" y="3440076"/>
                  <a:pt x="816447" y="3438696"/>
                </a:cubicBezTo>
                <a:cubicBezTo>
                  <a:pt x="804013" y="3422130"/>
                  <a:pt x="791580" y="3405565"/>
                  <a:pt x="779147" y="3389000"/>
                </a:cubicBezTo>
                <a:cubicBezTo>
                  <a:pt x="775003" y="3384858"/>
                  <a:pt x="772240" y="3379336"/>
                  <a:pt x="768095" y="3373815"/>
                </a:cubicBezTo>
                <a:cubicBezTo>
                  <a:pt x="759807" y="3361391"/>
                  <a:pt x="750136" y="3348967"/>
                  <a:pt x="741847" y="3337923"/>
                </a:cubicBezTo>
                <a:cubicBezTo>
                  <a:pt x="737703" y="3331021"/>
                  <a:pt x="733559" y="3324119"/>
                  <a:pt x="728033" y="3318597"/>
                </a:cubicBezTo>
                <a:cubicBezTo>
                  <a:pt x="721125" y="3307553"/>
                  <a:pt x="712837" y="3296510"/>
                  <a:pt x="704548" y="3284086"/>
                </a:cubicBezTo>
                <a:cubicBezTo>
                  <a:pt x="700403" y="3277183"/>
                  <a:pt x="696259" y="3270281"/>
                  <a:pt x="690733" y="3263379"/>
                </a:cubicBezTo>
                <a:cubicBezTo>
                  <a:pt x="683826" y="3252335"/>
                  <a:pt x="676919" y="3242672"/>
                  <a:pt x="670011" y="3231629"/>
                </a:cubicBezTo>
                <a:cubicBezTo>
                  <a:pt x="664485" y="3223346"/>
                  <a:pt x="658960" y="3216444"/>
                  <a:pt x="654815" y="3209541"/>
                </a:cubicBezTo>
                <a:cubicBezTo>
                  <a:pt x="647908" y="3198498"/>
                  <a:pt x="641000" y="3187454"/>
                  <a:pt x="634093" y="3177791"/>
                </a:cubicBezTo>
                <a:cubicBezTo>
                  <a:pt x="629949" y="3169508"/>
                  <a:pt x="624423" y="3161226"/>
                  <a:pt x="620278" y="3154323"/>
                </a:cubicBezTo>
                <a:cubicBezTo>
                  <a:pt x="613371" y="3143280"/>
                  <a:pt x="606464" y="3133617"/>
                  <a:pt x="599556" y="3122573"/>
                </a:cubicBezTo>
                <a:cubicBezTo>
                  <a:pt x="595412" y="3114290"/>
                  <a:pt x="589886" y="3107388"/>
                  <a:pt x="585742" y="3099106"/>
                </a:cubicBezTo>
                <a:cubicBezTo>
                  <a:pt x="578834" y="3088062"/>
                  <a:pt x="573309" y="3078399"/>
                  <a:pt x="566401" y="3067355"/>
                </a:cubicBezTo>
                <a:cubicBezTo>
                  <a:pt x="562257" y="3059073"/>
                  <a:pt x="556731" y="3050790"/>
                  <a:pt x="552587" y="3042507"/>
                </a:cubicBezTo>
                <a:cubicBezTo>
                  <a:pt x="545679" y="3032844"/>
                  <a:pt x="540153" y="3021800"/>
                  <a:pt x="534628" y="3012137"/>
                </a:cubicBezTo>
                <a:cubicBezTo>
                  <a:pt x="529102" y="3003855"/>
                  <a:pt x="524957" y="2995572"/>
                  <a:pt x="519431" y="2985909"/>
                </a:cubicBezTo>
                <a:cubicBezTo>
                  <a:pt x="513905" y="2976246"/>
                  <a:pt x="508380" y="2965202"/>
                  <a:pt x="502854" y="2955539"/>
                </a:cubicBezTo>
                <a:cubicBezTo>
                  <a:pt x="497328" y="2947256"/>
                  <a:pt x="493184" y="2937593"/>
                  <a:pt x="489039" y="2929310"/>
                </a:cubicBezTo>
                <a:cubicBezTo>
                  <a:pt x="483513" y="2919647"/>
                  <a:pt x="477987" y="2908604"/>
                  <a:pt x="472462" y="2898941"/>
                </a:cubicBezTo>
                <a:cubicBezTo>
                  <a:pt x="466936" y="2889277"/>
                  <a:pt x="462791" y="2880995"/>
                  <a:pt x="458647" y="2871332"/>
                </a:cubicBezTo>
                <a:cubicBezTo>
                  <a:pt x="453121" y="2861669"/>
                  <a:pt x="447595" y="2850625"/>
                  <a:pt x="442069" y="2840962"/>
                </a:cubicBezTo>
                <a:cubicBezTo>
                  <a:pt x="437925" y="2831299"/>
                  <a:pt x="432399" y="2823016"/>
                  <a:pt x="428255" y="2813353"/>
                </a:cubicBezTo>
                <a:cubicBezTo>
                  <a:pt x="422729" y="2803690"/>
                  <a:pt x="418584" y="2792646"/>
                  <a:pt x="413058" y="2782983"/>
                </a:cubicBezTo>
                <a:cubicBezTo>
                  <a:pt x="408914" y="2773320"/>
                  <a:pt x="403388" y="2763657"/>
                  <a:pt x="399244" y="2755374"/>
                </a:cubicBezTo>
                <a:cubicBezTo>
                  <a:pt x="395099" y="2744330"/>
                  <a:pt x="389574" y="2734667"/>
                  <a:pt x="384048" y="2723624"/>
                </a:cubicBezTo>
                <a:cubicBezTo>
                  <a:pt x="379903" y="2713961"/>
                  <a:pt x="375759" y="2705678"/>
                  <a:pt x="371614" y="2696015"/>
                </a:cubicBezTo>
                <a:cubicBezTo>
                  <a:pt x="367470" y="2684971"/>
                  <a:pt x="361944" y="2675308"/>
                  <a:pt x="357800" y="2664264"/>
                </a:cubicBezTo>
                <a:cubicBezTo>
                  <a:pt x="353655" y="2654601"/>
                  <a:pt x="349511" y="2644938"/>
                  <a:pt x="345367" y="2635275"/>
                </a:cubicBezTo>
                <a:cubicBezTo>
                  <a:pt x="339841" y="2625612"/>
                  <a:pt x="335696" y="2614568"/>
                  <a:pt x="331552" y="2604905"/>
                </a:cubicBezTo>
                <a:cubicBezTo>
                  <a:pt x="327408" y="2595242"/>
                  <a:pt x="323263" y="2585579"/>
                  <a:pt x="319119" y="2575916"/>
                </a:cubicBezTo>
                <a:cubicBezTo>
                  <a:pt x="314974" y="2564872"/>
                  <a:pt x="309449" y="2553829"/>
                  <a:pt x="305304" y="2544166"/>
                </a:cubicBezTo>
                <a:cubicBezTo>
                  <a:pt x="301160" y="2534502"/>
                  <a:pt x="297015" y="2524839"/>
                  <a:pt x="294252" y="2515176"/>
                </a:cubicBezTo>
                <a:cubicBezTo>
                  <a:pt x="290108" y="2504133"/>
                  <a:pt x="285964" y="2493089"/>
                  <a:pt x="281819" y="2482045"/>
                </a:cubicBezTo>
                <a:cubicBezTo>
                  <a:pt x="277675" y="2472382"/>
                  <a:pt x="273530" y="2462719"/>
                  <a:pt x="269386" y="2453056"/>
                </a:cubicBezTo>
                <a:cubicBezTo>
                  <a:pt x="265242" y="2442012"/>
                  <a:pt x="261097" y="2432349"/>
                  <a:pt x="256953" y="2421306"/>
                </a:cubicBezTo>
                <a:cubicBezTo>
                  <a:pt x="254190" y="2411643"/>
                  <a:pt x="250045" y="2400599"/>
                  <a:pt x="245901" y="2390936"/>
                </a:cubicBezTo>
                <a:cubicBezTo>
                  <a:pt x="243138" y="2379892"/>
                  <a:pt x="238994" y="2370229"/>
                  <a:pt x="234849" y="2359186"/>
                </a:cubicBezTo>
                <a:cubicBezTo>
                  <a:pt x="230705" y="2349522"/>
                  <a:pt x="227942" y="2338479"/>
                  <a:pt x="223798" y="2328816"/>
                </a:cubicBezTo>
                <a:cubicBezTo>
                  <a:pt x="221035" y="2317772"/>
                  <a:pt x="216890" y="2306728"/>
                  <a:pt x="214127" y="2297065"/>
                </a:cubicBezTo>
                <a:cubicBezTo>
                  <a:pt x="209983" y="2286022"/>
                  <a:pt x="205839" y="2274978"/>
                  <a:pt x="203076" y="2265315"/>
                </a:cubicBezTo>
                <a:cubicBezTo>
                  <a:pt x="198931" y="2254271"/>
                  <a:pt x="196168" y="2244608"/>
                  <a:pt x="193405" y="2233565"/>
                </a:cubicBezTo>
                <a:cubicBezTo>
                  <a:pt x="189261" y="2222521"/>
                  <a:pt x="186498" y="2212858"/>
                  <a:pt x="182354" y="2201814"/>
                </a:cubicBezTo>
                <a:cubicBezTo>
                  <a:pt x="179591" y="2190771"/>
                  <a:pt x="176828" y="2181108"/>
                  <a:pt x="172683" y="2170064"/>
                </a:cubicBezTo>
                <a:cubicBezTo>
                  <a:pt x="169920" y="2159021"/>
                  <a:pt x="167158" y="2147977"/>
                  <a:pt x="163013" y="2136933"/>
                </a:cubicBezTo>
                <a:cubicBezTo>
                  <a:pt x="160250" y="2127270"/>
                  <a:pt x="157487" y="2117607"/>
                  <a:pt x="154724" y="2107944"/>
                </a:cubicBezTo>
                <a:cubicBezTo>
                  <a:pt x="151961" y="2095520"/>
                  <a:pt x="147817" y="2084476"/>
                  <a:pt x="145054" y="2072052"/>
                </a:cubicBezTo>
                <a:cubicBezTo>
                  <a:pt x="142291" y="2063770"/>
                  <a:pt x="139528" y="2054107"/>
                  <a:pt x="138147" y="2044443"/>
                </a:cubicBezTo>
                <a:cubicBezTo>
                  <a:pt x="134002" y="2032019"/>
                  <a:pt x="131239" y="2019595"/>
                  <a:pt x="127095" y="2007171"/>
                </a:cubicBezTo>
                <a:cubicBezTo>
                  <a:pt x="125714" y="2000269"/>
                  <a:pt x="124332" y="1991986"/>
                  <a:pt x="121569" y="1985084"/>
                </a:cubicBezTo>
                <a:cubicBezTo>
                  <a:pt x="113280" y="1949193"/>
                  <a:pt x="104992" y="1913301"/>
                  <a:pt x="96703" y="1876029"/>
                </a:cubicBezTo>
                <a:cubicBezTo>
                  <a:pt x="95321" y="1871887"/>
                  <a:pt x="95321" y="1867746"/>
                  <a:pt x="93940" y="1863605"/>
                </a:cubicBezTo>
                <a:cubicBezTo>
                  <a:pt x="91177" y="1853942"/>
                  <a:pt x="89795" y="1844279"/>
                  <a:pt x="87032" y="1833235"/>
                </a:cubicBezTo>
                <a:cubicBezTo>
                  <a:pt x="85651" y="1827713"/>
                  <a:pt x="84270" y="1820811"/>
                  <a:pt x="82888" y="1813909"/>
                </a:cubicBezTo>
                <a:cubicBezTo>
                  <a:pt x="81507" y="1805626"/>
                  <a:pt x="80125" y="1795963"/>
                  <a:pt x="77362" y="1786300"/>
                </a:cubicBezTo>
                <a:cubicBezTo>
                  <a:pt x="75981" y="1780778"/>
                  <a:pt x="75981" y="1775256"/>
                  <a:pt x="74599" y="1769734"/>
                </a:cubicBezTo>
                <a:cubicBezTo>
                  <a:pt x="71836" y="1755930"/>
                  <a:pt x="69073" y="1742125"/>
                  <a:pt x="66310" y="1728321"/>
                </a:cubicBezTo>
                <a:cubicBezTo>
                  <a:pt x="64929" y="1722799"/>
                  <a:pt x="64929" y="1717277"/>
                  <a:pt x="63548" y="1710375"/>
                </a:cubicBezTo>
                <a:cubicBezTo>
                  <a:pt x="62166" y="1702092"/>
                  <a:pt x="59403" y="1692429"/>
                  <a:pt x="58022" y="1682766"/>
                </a:cubicBezTo>
                <a:cubicBezTo>
                  <a:pt x="58022" y="1677244"/>
                  <a:pt x="56640" y="1670342"/>
                  <a:pt x="55259" y="1664820"/>
                </a:cubicBezTo>
                <a:cubicBezTo>
                  <a:pt x="52496" y="1651016"/>
                  <a:pt x="51114" y="1637211"/>
                  <a:pt x="48351" y="1623407"/>
                </a:cubicBezTo>
                <a:cubicBezTo>
                  <a:pt x="48351" y="1619266"/>
                  <a:pt x="46970" y="1613744"/>
                  <a:pt x="46970" y="1609602"/>
                </a:cubicBezTo>
                <a:cubicBezTo>
                  <a:pt x="45589" y="1598559"/>
                  <a:pt x="42826" y="1588896"/>
                  <a:pt x="41444" y="1579233"/>
                </a:cubicBezTo>
                <a:cubicBezTo>
                  <a:pt x="41444" y="1572330"/>
                  <a:pt x="40063" y="1566808"/>
                  <a:pt x="38681" y="1561287"/>
                </a:cubicBezTo>
                <a:cubicBezTo>
                  <a:pt x="37300" y="1550243"/>
                  <a:pt x="35918" y="1540580"/>
                  <a:pt x="34537" y="1529536"/>
                </a:cubicBezTo>
                <a:cubicBezTo>
                  <a:pt x="34537" y="1525395"/>
                  <a:pt x="34537" y="1519873"/>
                  <a:pt x="33155" y="1515732"/>
                </a:cubicBezTo>
                <a:cubicBezTo>
                  <a:pt x="31774" y="1501927"/>
                  <a:pt x="30392" y="1488123"/>
                  <a:pt x="27629" y="1474318"/>
                </a:cubicBezTo>
                <a:cubicBezTo>
                  <a:pt x="27629" y="1468797"/>
                  <a:pt x="26248" y="1463275"/>
                  <a:pt x="26248" y="1456373"/>
                </a:cubicBezTo>
                <a:cubicBezTo>
                  <a:pt x="24867" y="1446710"/>
                  <a:pt x="23485" y="1438427"/>
                  <a:pt x="23485" y="1428764"/>
                </a:cubicBezTo>
                <a:cubicBezTo>
                  <a:pt x="22104" y="1423242"/>
                  <a:pt x="22104" y="1416340"/>
                  <a:pt x="20722" y="1410818"/>
                </a:cubicBezTo>
                <a:cubicBezTo>
                  <a:pt x="19341" y="1397013"/>
                  <a:pt x="17959" y="1384589"/>
                  <a:pt x="16578" y="1370785"/>
                </a:cubicBezTo>
                <a:cubicBezTo>
                  <a:pt x="16578" y="1365263"/>
                  <a:pt x="16578" y="1359741"/>
                  <a:pt x="15196" y="1354220"/>
                </a:cubicBezTo>
                <a:cubicBezTo>
                  <a:pt x="15196" y="1344556"/>
                  <a:pt x="13815" y="1334893"/>
                  <a:pt x="13815" y="1325230"/>
                </a:cubicBezTo>
                <a:cubicBezTo>
                  <a:pt x="12433" y="1319708"/>
                  <a:pt x="12433" y="1312806"/>
                  <a:pt x="11052" y="1307284"/>
                </a:cubicBezTo>
                <a:cubicBezTo>
                  <a:pt x="11052" y="1296241"/>
                  <a:pt x="9670" y="1285197"/>
                  <a:pt x="9670" y="1275534"/>
                </a:cubicBezTo>
                <a:cubicBezTo>
                  <a:pt x="8289" y="1267251"/>
                  <a:pt x="8289" y="1260349"/>
                  <a:pt x="8289" y="1253447"/>
                </a:cubicBezTo>
                <a:cubicBezTo>
                  <a:pt x="6907" y="1242403"/>
                  <a:pt x="6907" y="1232740"/>
                  <a:pt x="5526" y="1221697"/>
                </a:cubicBezTo>
                <a:cubicBezTo>
                  <a:pt x="5526" y="1216175"/>
                  <a:pt x="5526" y="1209273"/>
                  <a:pt x="5526" y="1202370"/>
                </a:cubicBezTo>
                <a:cubicBezTo>
                  <a:pt x="4145" y="1194088"/>
                  <a:pt x="4145" y="1185805"/>
                  <a:pt x="4145" y="1176142"/>
                </a:cubicBezTo>
                <a:cubicBezTo>
                  <a:pt x="4145" y="1170620"/>
                  <a:pt x="2763" y="1163718"/>
                  <a:pt x="2763" y="1158196"/>
                </a:cubicBezTo>
                <a:cubicBezTo>
                  <a:pt x="2763" y="1144391"/>
                  <a:pt x="1382" y="1131967"/>
                  <a:pt x="1382" y="1118163"/>
                </a:cubicBezTo>
                <a:cubicBezTo>
                  <a:pt x="1382" y="1112641"/>
                  <a:pt x="1382" y="1105739"/>
                  <a:pt x="1382" y="1098837"/>
                </a:cubicBezTo>
                <a:cubicBezTo>
                  <a:pt x="1382" y="1090554"/>
                  <a:pt x="0" y="1082271"/>
                  <a:pt x="0" y="1073989"/>
                </a:cubicBezTo>
                <a:cubicBezTo>
                  <a:pt x="0" y="1068467"/>
                  <a:pt x="0" y="1061565"/>
                  <a:pt x="0" y="1054662"/>
                </a:cubicBezTo>
                <a:cubicBezTo>
                  <a:pt x="0" y="1043619"/>
                  <a:pt x="0" y="1033956"/>
                  <a:pt x="0" y="1022912"/>
                </a:cubicBezTo>
                <a:cubicBezTo>
                  <a:pt x="0" y="1014629"/>
                  <a:pt x="0" y="1004966"/>
                  <a:pt x="0" y="996684"/>
                </a:cubicBezTo>
                <a:cubicBezTo>
                  <a:pt x="0" y="988401"/>
                  <a:pt x="0" y="980118"/>
                  <a:pt x="0" y="971835"/>
                </a:cubicBezTo>
                <a:cubicBezTo>
                  <a:pt x="0" y="964933"/>
                  <a:pt x="0" y="958031"/>
                  <a:pt x="0" y="949748"/>
                </a:cubicBezTo>
                <a:cubicBezTo>
                  <a:pt x="0" y="942846"/>
                  <a:pt x="0" y="934563"/>
                  <a:pt x="0" y="927661"/>
                </a:cubicBezTo>
                <a:cubicBezTo>
                  <a:pt x="0" y="916617"/>
                  <a:pt x="1382" y="906954"/>
                  <a:pt x="1382" y="895911"/>
                </a:cubicBezTo>
                <a:cubicBezTo>
                  <a:pt x="1382" y="887628"/>
                  <a:pt x="1382" y="877965"/>
                  <a:pt x="1382" y="869682"/>
                </a:cubicBezTo>
                <a:cubicBezTo>
                  <a:pt x="1382" y="862780"/>
                  <a:pt x="2763" y="854497"/>
                  <a:pt x="2763" y="847595"/>
                </a:cubicBezTo>
                <a:cubicBezTo>
                  <a:pt x="2763" y="840693"/>
                  <a:pt x="2763" y="833791"/>
                  <a:pt x="2763" y="826888"/>
                </a:cubicBezTo>
                <a:cubicBezTo>
                  <a:pt x="4145" y="818606"/>
                  <a:pt x="4145" y="811703"/>
                  <a:pt x="4145" y="803421"/>
                </a:cubicBezTo>
                <a:cubicBezTo>
                  <a:pt x="5526" y="793758"/>
                  <a:pt x="5526" y="782714"/>
                  <a:pt x="5526" y="773051"/>
                </a:cubicBezTo>
                <a:cubicBezTo>
                  <a:pt x="6907" y="763388"/>
                  <a:pt x="6907" y="753725"/>
                  <a:pt x="8289" y="744062"/>
                </a:cubicBezTo>
                <a:cubicBezTo>
                  <a:pt x="8289" y="739920"/>
                  <a:pt x="8289" y="735779"/>
                  <a:pt x="8289" y="731637"/>
                </a:cubicBezTo>
                <a:cubicBezTo>
                  <a:pt x="9670" y="731637"/>
                  <a:pt x="9670" y="733018"/>
                  <a:pt x="11052" y="733018"/>
                </a:cubicBezTo>
                <a:cubicBezTo>
                  <a:pt x="20722" y="737159"/>
                  <a:pt x="30392" y="741301"/>
                  <a:pt x="40063" y="745442"/>
                </a:cubicBezTo>
                <a:cubicBezTo>
                  <a:pt x="41444" y="746822"/>
                  <a:pt x="42826" y="746822"/>
                  <a:pt x="42826" y="746822"/>
                </a:cubicBezTo>
                <a:cubicBezTo>
                  <a:pt x="52496" y="752344"/>
                  <a:pt x="62166" y="756486"/>
                  <a:pt x="71836" y="760627"/>
                </a:cubicBezTo>
                <a:cubicBezTo>
                  <a:pt x="71836" y="760627"/>
                  <a:pt x="73218" y="762007"/>
                  <a:pt x="74599" y="762007"/>
                </a:cubicBezTo>
                <a:cubicBezTo>
                  <a:pt x="84270" y="766149"/>
                  <a:pt x="92558" y="771670"/>
                  <a:pt x="102229" y="777192"/>
                </a:cubicBezTo>
                <a:cubicBezTo>
                  <a:pt x="104992" y="777192"/>
                  <a:pt x="106373" y="778573"/>
                  <a:pt x="107754" y="778573"/>
                </a:cubicBezTo>
                <a:cubicBezTo>
                  <a:pt x="117425" y="784095"/>
                  <a:pt x="127095" y="789616"/>
                  <a:pt x="135384" y="795138"/>
                </a:cubicBezTo>
                <a:cubicBezTo>
                  <a:pt x="136765" y="795138"/>
                  <a:pt x="138147" y="795138"/>
                  <a:pt x="138147" y="796519"/>
                </a:cubicBezTo>
                <a:cubicBezTo>
                  <a:pt x="147817" y="800660"/>
                  <a:pt x="156106" y="806182"/>
                  <a:pt x="165776" y="811703"/>
                </a:cubicBezTo>
                <a:cubicBezTo>
                  <a:pt x="167158" y="811703"/>
                  <a:pt x="167158" y="813084"/>
                  <a:pt x="168539" y="813084"/>
                </a:cubicBezTo>
                <a:cubicBezTo>
                  <a:pt x="178209" y="818606"/>
                  <a:pt x="186498" y="824128"/>
                  <a:pt x="196168" y="831030"/>
                </a:cubicBezTo>
                <a:cubicBezTo>
                  <a:pt x="197550" y="831030"/>
                  <a:pt x="198931" y="832410"/>
                  <a:pt x="201694" y="833791"/>
                </a:cubicBezTo>
                <a:cubicBezTo>
                  <a:pt x="209983" y="839312"/>
                  <a:pt x="219653" y="844834"/>
                  <a:pt x="227942" y="851736"/>
                </a:cubicBezTo>
                <a:cubicBezTo>
                  <a:pt x="229323" y="851736"/>
                  <a:pt x="229323" y="851736"/>
                  <a:pt x="230705" y="853117"/>
                </a:cubicBezTo>
                <a:cubicBezTo>
                  <a:pt x="238994" y="858639"/>
                  <a:pt x="247283" y="864161"/>
                  <a:pt x="256953" y="871063"/>
                </a:cubicBezTo>
                <a:cubicBezTo>
                  <a:pt x="258334" y="871063"/>
                  <a:pt x="258334" y="872443"/>
                  <a:pt x="259716" y="873824"/>
                </a:cubicBezTo>
                <a:cubicBezTo>
                  <a:pt x="269386" y="879345"/>
                  <a:pt x="277675" y="886248"/>
                  <a:pt x="285964" y="891769"/>
                </a:cubicBezTo>
                <a:cubicBezTo>
                  <a:pt x="287345" y="893150"/>
                  <a:pt x="288727" y="894530"/>
                  <a:pt x="291489" y="895911"/>
                </a:cubicBezTo>
                <a:cubicBezTo>
                  <a:pt x="299778" y="902813"/>
                  <a:pt x="308067" y="909715"/>
                  <a:pt x="316356" y="916617"/>
                </a:cubicBezTo>
                <a:cubicBezTo>
                  <a:pt x="317737" y="916617"/>
                  <a:pt x="317737" y="916617"/>
                  <a:pt x="317737" y="916617"/>
                </a:cubicBezTo>
                <a:cubicBezTo>
                  <a:pt x="326026" y="923520"/>
                  <a:pt x="334315" y="930422"/>
                  <a:pt x="342604" y="937324"/>
                </a:cubicBezTo>
                <a:cubicBezTo>
                  <a:pt x="343985" y="938705"/>
                  <a:pt x="345367" y="940085"/>
                  <a:pt x="346748" y="941466"/>
                </a:cubicBezTo>
                <a:cubicBezTo>
                  <a:pt x="355037" y="948368"/>
                  <a:pt x="363326" y="955270"/>
                  <a:pt x="371614" y="962172"/>
                </a:cubicBezTo>
                <a:cubicBezTo>
                  <a:pt x="372996" y="963553"/>
                  <a:pt x="374377" y="964933"/>
                  <a:pt x="375759" y="966314"/>
                </a:cubicBezTo>
                <a:cubicBezTo>
                  <a:pt x="384048" y="973216"/>
                  <a:pt x="392336" y="981499"/>
                  <a:pt x="400625" y="988401"/>
                </a:cubicBezTo>
                <a:cubicBezTo>
                  <a:pt x="400625" y="988401"/>
                  <a:pt x="402007" y="989781"/>
                  <a:pt x="402007" y="989781"/>
                </a:cubicBezTo>
                <a:cubicBezTo>
                  <a:pt x="408914" y="996684"/>
                  <a:pt x="417203" y="1004966"/>
                  <a:pt x="425492" y="1011868"/>
                </a:cubicBezTo>
                <a:cubicBezTo>
                  <a:pt x="426873" y="1013249"/>
                  <a:pt x="428255" y="1014629"/>
                  <a:pt x="429636" y="1016010"/>
                </a:cubicBezTo>
                <a:cubicBezTo>
                  <a:pt x="436543" y="1024292"/>
                  <a:pt x="444832" y="1032575"/>
                  <a:pt x="453121" y="1039477"/>
                </a:cubicBezTo>
                <a:cubicBezTo>
                  <a:pt x="454502" y="1040858"/>
                  <a:pt x="455884" y="1043619"/>
                  <a:pt x="457265" y="1044999"/>
                </a:cubicBezTo>
                <a:cubicBezTo>
                  <a:pt x="464173" y="1053282"/>
                  <a:pt x="472462" y="1061565"/>
                  <a:pt x="479369" y="1069847"/>
                </a:cubicBezTo>
                <a:cubicBezTo>
                  <a:pt x="809539" y="1435666"/>
                  <a:pt x="1293052" y="1579233"/>
                  <a:pt x="1743410" y="1490884"/>
                </a:cubicBezTo>
                <a:cubicBezTo>
                  <a:pt x="1758606" y="1488123"/>
                  <a:pt x="1772421" y="1485362"/>
                  <a:pt x="1786236" y="1482601"/>
                </a:cubicBezTo>
                <a:cubicBezTo>
                  <a:pt x="1902279" y="1456373"/>
                  <a:pt x="2016941" y="1413579"/>
                  <a:pt x="2124695" y="1355600"/>
                </a:cubicBezTo>
                <a:cubicBezTo>
                  <a:pt x="2217253" y="1305904"/>
                  <a:pt x="2305667" y="1243784"/>
                  <a:pt x="2388555" y="1169240"/>
                </a:cubicBezTo>
                <a:cubicBezTo>
                  <a:pt x="2565382" y="1010488"/>
                  <a:pt x="2691096" y="814464"/>
                  <a:pt x="2762932" y="603256"/>
                </a:cubicBezTo>
                <a:cubicBezTo>
                  <a:pt x="2767077" y="590832"/>
                  <a:pt x="2771221" y="577027"/>
                  <a:pt x="2775365" y="563223"/>
                </a:cubicBezTo>
                <a:cubicBezTo>
                  <a:pt x="2836150" y="386526"/>
                  <a:pt x="2932852" y="222252"/>
                  <a:pt x="3066855" y="80066"/>
                </a:cubicBezTo>
                <a:cubicBezTo>
                  <a:pt x="3066855" y="80066"/>
                  <a:pt x="3066855" y="80066"/>
                  <a:pt x="3066855" y="0"/>
                </a:cubicBezTo>
                <a:close/>
              </a:path>
            </a:pathLst>
          </a:custGeom>
        </p:spPr>
        <p:txBody>
          <a:bodyPr wrap="square" tIns="2808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11672BA-6F75-11F6-0CF9-BA902D3E2D7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7725504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Blue, Image)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olorful curved lines on a white background&#10;&#10;Description automatically generated">
            <a:extLst>
              <a:ext uri="{FF2B5EF4-FFF2-40B4-BE49-F238E27FC236}">
                <a16:creationId xmlns:a16="http://schemas.microsoft.com/office/drawing/2014/main" id="{8139B06D-7A56-C332-8F4A-833416AF8A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250" y="0"/>
            <a:ext cx="727075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F16CB2F5-C0C9-F0F5-7704-34DB09B098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02078" y="0"/>
            <a:ext cx="4989922" cy="4664984"/>
          </a:xfrm>
          <a:custGeom>
            <a:avLst/>
            <a:gdLst>
              <a:gd name="connsiteX0" fmla="*/ 1754568 w 5022410"/>
              <a:gd name="connsiteY0" fmla="*/ 4150388 h 4695356"/>
              <a:gd name="connsiteX1" fmla="*/ 1786212 w 5022410"/>
              <a:gd name="connsiteY1" fmla="*/ 4166845 h 4695356"/>
              <a:gd name="connsiteX2" fmla="*/ 1792919 w 5022410"/>
              <a:gd name="connsiteY2" fmla="*/ 4171164 h 4695356"/>
              <a:gd name="connsiteX3" fmla="*/ 1754568 w 5022410"/>
              <a:gd name="connsiteY3" fmla="*/ 4150388 h 4695356"/>
              <a:gd name="connsiteX4" fmla="*/ 137425 w 5022410"/>
              <a:gd name="connsiteY4" fmla="*/ 0 h 4695356"/>
              <a:gd name="connsiteX5" fmla="*/ 158947 w 5022410"/>
              <a:gd name="connsiteY5" fmla="*/ 0 h 4695356"/>
              <a:gd name="connsiteX6" fmla="*/ 5022410 w 5022410"/>
              <a:gd name="connsiteY6" fmla="*/ 0 h 4695356"/>
              <a:gd name="connsiteX7" fmla="*/ 5022410 w 5022410"/>
              <a:gd name="connsiteY7" fmla="*/ 4446045 h 4695356"/>
              <a:gd name="connsiteX8" fmla="*/ 3689706 w 5022410"/>
              <a:gd name="connsiteY8" fmla="*/ 4695356 h 4695356"/>
              <a:gd name="connsiteX9" fmla="*/ 3032941 w 5022410"/>
              <a:gd name="connsiteY9" fmla="*/ 4637823 h 4695356"/>
              <a:gd name="connsiteX10" fmla="*/ 1794517 w 5022410"/>
              <a:gd name="connsiteY10" fmla="*/ 4171164 h 4695356"/>
              <a:gd name="connsiteX11" fmla="*/ 1786212 w 5022410"/>
              <a:gd name="connsiteY11" fmla="*/ 4166845 h 4695356"/>
              <a:gd name="connsiteX12" fmla="*/ 1595821 w 5022410"/>
              <a:gd name="connsiteY12" fmla="*/ 4044239 h 4695356"/>
              <a:gd name="connsiteX13" fmla="*/ 0 w 5022410"/>
              <a:gd name="connsiteY13" fmla="*/ 1005235 h 4695356"/>
              <a:gd name="connsiteX14" fmla="*/ 137425 w 5022410"/>
              <a:gd name="connsiteY14" fmla="*/ 0 h 46953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022410" h="4695356">
                <a:moveTo>
                  <a:pt x="1754568" y="4150388"/>
                </a:moveTo>
                <a:lnTo>
                  <a:pt x="1786212" y="4166845"/>
                </a:lnTo>
                <a:lnTo>
                  <a:pt x="1792919" y="4171164"/>
                </a:lnTo>
                <a:cubicBezTo>
                  <a:pt x="1780135" y="4164771"/>
                  <a:pt x="1767351" y="4156781"/>
                  <a:pt x="1754568" y="4150388"/>
                </a:cubicBezTo>
                <a:close/>
                <a:moveTo>
                  <a:pt x="137425" y="0"/>
                </a:moveTo>
                <a:lnTo>
                  <a:pt x="158947" y="0"/>
                </a:lnTo>
                <a:cubicBezTo>
                  <a:pt x="791844" y="0"/>
                  <a:pt x="2142025" y="0"/>
                  <a:pt x="5022410" y="0"/>
                </a:cubicBezTo>
                <a:cubicBezTo>
                  <a:pt x="5022410" y="0"/>
                  <a:pt x="5022410" y="0"/>
                  <a:pt x="5022410" y="4446045"/>
                </a:cubicBezTo>
                <a:cubicBezTo>
                  <a:pt x="4610135" y="4607458"/>
                  <a:pt x="4159508" y="4695356"/>
                  <a:pt x="3689706" y="4695356"/>
                </a:cubicBezTo>
                <a:cubicBezTo>
                  <a:pt x="3465990" y="4695356"/>
                  <a:pt x="3247069" y="4674580"/>
                  <a:pt x="3032941" y="4637823"/>
                </a:cubicBezTo>
                <a:cubicBezTo>
                  <a:pt x="2627058" y="4564308"/>
                  <a:pt x="2142874" y="4366138"/>
                  <a:pt x="1794517" y="4171164"/>
                </a:cubicBezTo>
                <a:lnTo>
                  <a:pt x="1786212" y="4166845"/>
                </a:lnTo>
                <a:lnTo>
                  <a:pt x="1595821" y="4044239"/>
                </a:lnTo>
                <a:cubicBezTo>
                  <a:pt x="632008" y="3379232"/>
                  <a:pt x="0" y="2265274"/>
                  <a:pt x="0" y="1005235"/>
                </a:cubicBezTo>
                <a:cubicBezTo>
                  <a:pt x="0" y="656839"/>
                  <a:pt x="47939" y="319629"/>
                  <a:pt x="137425" y="0"/>
                </a:cubicBezTo>
                <a:close/>
              </a:path>
            </a:pathLst>
          </a:custGeom>
        </p:spPr>
        <p:txBody>
          <a:bodyPr wrap="square" tIns="1980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88F8112-3E6F-0B09-BF70-1A5D321C9B5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9046840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Pink, Image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" descr="A pink and yellow curved lines&#10;&#10;Description automatically generated">
            <a:extLst>
              <a:ext uri="{FF2B5EF4-FFF2-40B4-BE49-F238E27FC236}">
                <a16:creationId xmlns:a16="http://schemas.microsoft.com/office/drawing/2014/main" id="{DA20FD86-A83E-2069-7629-2BC51FEC48E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7179" y="-40256"/>
            <a:ext cx="4004821" cy="6898256"/>
          </a:xfrm>
          <a:prstGeom prst="rect">
            <a:avLst/>
          </a:prstGeom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25FF0EA-7AED-C788-207F-C0C0170851B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47675" y="-14140"/>
            <a:ext cx="5929706" cy="4336318"/>
          </a:xfrm>
          <a:custGeom>
            <a:avLst/>
            <a:gdLst>
              <a:gd name="connsiteX0" fmla="*/ 944436 w 6108785"/>
              <a:gd name="connsiteY0" fmla="*/ 0 h 4467276"/>
              <a:gd name="connsiteX1" fmla="*/ 6108785 w 6108785"/>
              <a:gd name="connsiteY1" fmla="*/ 0 h 4467276"/>
              <a:gd name="connsiteX2" fmla="*/ 5769629 w 6108785"/>
              <a:gd name="connsiteY2" fmla="*/ 357251 h 4467276"/>
              <a:gd name="connsiteX3" fmla="*/ 5712284 w 6108785"/>
              <a:gd name="connsiteY3" fmla="*/ 444106 h 4467276"/>
              <a:gd name="connsiteX4" fmla="*/ 5707368 w 6108785"/>
              <a:gd name="connsiteY4" fmla="*/ 453938 h 4467276"/>
              <a:gd name="connsiteX5" fmla="*/ 5687707 w 6108785"/>
              <a:gd name="connsiteY5" fmla="*/ 488352 h 4467276"/>
              <a:gd name="connsiteX6" fmla="*/ 5700814 w 6108785"/>
              <a:gd name="connsiteY6" fmla="*/ 2050096 h 4467276"/>
              <a:gd name="connsiteX7" fmla="*/ 5912172 w 6108785"/>
              <a:gd name="connsiteY7" fmla="*/ 2900616 h 4467276"/>
              <a:gd name="connsiteX8" fmla="*/ 5910534 w 6108785"/>
              <a:gd name="connsiteY8" fmla="*/ 2913726 h 4467276"/>
              <a:gd name="connsiteX9" fmla="*/ 5854828 w 6108785"/>
              <a:gd name="connsiteY9" fmla="*/ 3264422 h 4467276"/>
              <a:gd name="connsiteX10" fmla="*/ 5712284 w 6108785"/>
              <a:gd name="connsiteY10" fmla="*/ 3613479 h 4467276"/>
              <a:gd name="connsiteX11" fmla="*/ 5707368 w 6108785"/>
              <a:gd name="connsiteY11" fmla="*/ 3623312 h 4467276"/>
              <a:gd name="connsiteX12" fmla="*/ 5687707 w 6108785"/>
              <a:gd name="connsiteY12" fmla="*/ 3656087 h 4467276"/>
              <a:gd name="connsiteX13" fmla="*/ 5120809 w 6108785"/>
              <a:gd name="connsiteY13" fmla="*/ 4214906 h 4467276"/>
              <a:gd name="connsiteX14" fmla="*/ 4958603 w 6108785"/>
              <a:gd name="connsiteY14" fmla="*/ 4296845 h 4467276"/>
              <a:gd name="connsiteX15" fmla="*/ 4953688 w 6108785"/>
              <a:gd name="connsiteY15" fmla="*/ 4298483 h 4467276"/>
              <a:gd name="connsiteX16" fmla="*/ 4911089 w 6108785"/>
              <a:gd name="connsiteY16" fmla="*/ 4316510 h 4467276"/>
              <a:gd name="connsiteX17" fmla="*/ 4614532 w 6108785"/>
              <a:gd name="connsiteY17" fmla="*/ 4401726 h 4467276"/>
              <a:gd name="connsiteX18" fmla="*/ 4354021 w 6108785"/>
              <a:gd name="connsiteY18" fmla="*/ 4426307 h 4467276"/>
              <a:gd name="connsiteX19" fmla="*/ 4335998 w 6108785"/>
              <a:gd name="connsiteY19" fmla="*/ 4427946 h 4467276"/>
              <a:gd name="connsiteX20" fmla="*/ 4303229 w 6108785"/>
              <a:gd name="connsiteY20" fmla="*/ 4427946 h 4467276"/>
              <a:gd name="connsiteX21" fmla="*/ 4301591 w 6108785"/>
              <a:gd name="connsiteY21" fmla="*/ 4427946 h 4467276"/>
              <a:gd name="connsiteX22" fmla="*/ 4267184 w 6108785"/>
              <a:gd name="connsiteY22" fmla="*/ 4427946 h 4467276"/>
              <a:gd name="connsiteX23" fmla="*/ 4258991 w 6108785"/>
              <a:gd name="connsiteY23" fmla="*/ 4427946 h 4467276"/>
              <a:gd name="connsiteX24" fmla="*/ 4224584 w 6108785"/>
              <a:gd name="connsiteY24" fmla="*/ 4429585 h 4467276"/>
              <a:gd name="connsiteX25" fmla="*/ 4216392 w 6108785"/>
              <a:gd name="connsiteY25" fmla="*/ 4431223 h 4467276"/>
              <a:gd name="connsiteX26" fmla="*/ 4180346 w 6108785"/>
              <a:gd name="connsiteY26" fmla="*/ 4434501 h 4467276"/>
              <a:gd name="connsiteX27" fmla="*/ 4177070 w 6108785"/>
              <a:gd name="connsiteY27" fmla="*/ 4434501 h 4467276"/>
              <a:gd name="connsiteX28" fmla="*/ 4142662 w 6108785"/>
              <a:gd name="connsiteY28" fmla="*/ 4437778 h 4467276"/>
              <a:gd name="connsiteX29" fmla="*/ 4136109 w 6108785"/>
              <a:gd name="connsiteY29" fmla="*/ 4437778 h 4467276"/>
              <a:gd name="connsiteX30" fmla="*/ 4100063 w 6108785"/>
              <a:gd name="connsiteY30" fmla="*/ 4442695 h 4467276"/>
              <a:gd name="connsiteX31" fmla="*/ 4093509 w 6108785"/>
              <a:gd name="connsiteY31" fmla="*/ 4444334 h 4467276"/>
              <a:gd name="connsiteX32" fmla="*/ 4055825 w 6108785"/>
              <a:gd name="connsiteY32" fmla="*/ 4450889 h 4467276"/>
              <a:gd name="connsiteX33" fmla="*/ 4052548 w 6108785"/>
              <a:gd name="connsiteY33" fmla="*/ 4450889 h 4467276"/>
              <a:gd name="connsiteX34" fmla="*/ 4018141 w 6108785"/>
              <a:gd name="connsiteY34" fmla="*/ 4457444 h 4467276"/>
              <a:gd name="connsiteX35" fmla="*/ 4013226 w 6108785"/>
              <a:gd name="connsiteY35" fmla="*/ 4459082 h 4467276"/>
              <a:gd name="connsiteX36" fmla="*/ 3977180 w 6108785"/>
              <a:gd name="connsiteY36" fmla="*/ 4465637 h 4467276"/>
              <a:gd name="connsiteX37" fmla="*/ 3973903 w 6108785"/>
              <a:gd name="connsiteY37" fmla="*/ 4467276 h 4467276"/>
              <a:gd name="connsiteX38" fmla="*/ 3472542 w 6108785"/>
              <a:gd name="connsiteY38" fmla="*/ 4180492 h 4467276"/>
              <a:gd name="connsiteX39" fmla="*/ 1401560 w 6108785"/>
              <a:gd name="connsiteY39" fmla="*/ 2992387 h 4467276"/>
              <a:gd name="connsiteX40" fmla="*/ 1236078 w 6108785"/>
              <a:gd name="connsiteY40" fmla="*/ 2897338 h 4467276"/>
              <a:gd name="connsiteX41" fmla="*/ 264485 w 6108785"/>
              <a:gd name="connsiteY41" fmla="*/ 2133673 h 4467276"/>
              <a:gd name="connsiteX42" fmla="*/ 207140 w 6108785"/>
              <a:gd name="connsiteY42" fmla="*/ 439189 h 4467276"/>
              <a:gd name="connsiteX43" fmla="*/ 631495 w 6108785"/>
              <a:gd name="connsiteY43" fmla="*/ 31137 h 4467276"/>
              <a:gd name="connsiteX44" fmla="*/ 944436 w 6108785"/>
              <a:gd name="connsiteY44" fmla="*/ 0 h 4467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6108785" h="4467276">
                <a:moveTo>
                  <a:pt x="944436" y="0"/>
                </a:moveTo>
                <a:cubicBezTo>
                  <a:pt x="2666432" y="0"/>
                  <a:pt x="4386789" y="0"/>
                  <a:pt x="6108785" y="0"/>
                </a:cubicBezTo>
                <a:cubicBezTo>
                  <a:pt x="5974434" y="103242"/>
                  <a:pt x="5861381" y="222872"/>
                  <a:pt x="5769629" y="357251"/>
                </a:cubicBezTo>
                <a:cubicBezTo>
                  <a:pt x="5749968" y="385110"/>
                  <a:pt x="5730306" y="414608"/>
                  <a:pt x="5712284" y="444106"/>
                </a:cubicBezTo>
                <a:cubicBezTo>
                  <a:pt x="5710645" y="447383"/>
                  <a:pt x="5709006" y="450661"/>
                  <a:pt x="5707368" y="453938"/>
                </a:cubicBezTo>
                <a:cubicBezTo>
                  <a:pt x="5700814" y="465410"/>
                  <a:pt x="5694261" y="476881"/>
                  <a:pt x="5687707" y="488352"/>
                </a:cubicBezTo>
                <a:cubicBezTo>
                  <a:pt x="5427196" y="958678"/>
                  <a:pt x="5412450" y="1550273"/>
                  <a:pt x="5700814" y="2050096"/>
                </a:cubicBezTo>
                <a:cubicBezTo>
                  <a:pt x="5854828" y="2318854"/>
                  <a:pt x="5922004" y="2613832"/>
                  <a:pt x="5912172" y="2900616"/>
                </a:cubicBezTo>
                <a:cubicBezTo>
                  <a:pt x="5910534" y="2905532"/>
                  <a:pt x="5910534" y="2908810"/>
                  <a:pt x="5910534" y="2913726"/>
                </a:cubicBezTo>
                <a:cubicBezTo>
                  <a:pt x="5892512" y="3030078"/>
                  <a:pt x="5874488" y="3148070"/>
                  <a:pt x="5854828" y="3264422"/>
                </a:cubicBezTo>
                <a:cubicBezTo>
                  <a:pt x="5822059" y="3385691"/>
                  <a:pt x="5774544" y="3502043"/>
                  <a:pt x="5712284" y="3613479"/>
                </a:cubicBezTo>
                <a:cubicBezTo>
                  <a:pt x="5710645" y="3616757"/>
                  <a:pt x="5709006" y="3620034"/>
                  <a:pt x="5707368" y="3623312"/>
                </a:cubicBezTo>
                <a:cubicBezTo>
                  <a:pt x="5700814" y="3634783"/>
                  <a:pt x="5694261" y="3646254"/>
                  <a:pt x="5687707" y="3656087"/>
                </a:cubicBezTo>
                <a:cubicBezTo>
                  <a:pt x="5553356" y="3880598"/>
                  <a:pt x="5363297" y="4075611"/>
                  <a:pt x="5120809" y="4214906"/>
                </a:cubicBezTo>
                <a:cubicBezTo>
                  <a:pt x="5066740" y="4246043"/>
                  <a:pt x="5014310" y="4272263"/>
                  <a:pt x="4958603" y="4296845"/>
                </a:cubicBezTo>
                <a:cubicBezTo>
                  <a:pt x="4956965" y="4296845"/>
                  <a:pt x="4955327" y="4298483"/>
                  <a:pt x="4953688" y="4298483"/>
                </a:cubicBezTo>
                <a:cubicBezTo>
                  <a:pt x="4938942" y="4305038"/>
                  <a:pt x="4925835" y="4309955"/>
                  <a:pt x="4911089" y="4316510"/>
                </a:cubicBezTo>
                <a:cubicBezTo>
                  <a:pt x="4814421" y="4354201"/>
                  <a:pt x="4714477" y="4383699"/>
                  <a:pt x="4614532" y="4401726"/>
                </a:cubicBezTo>
                <a:cubicBezTo>
                  <a:pt x="4527695" y="4418113"/>
                  <a:pt x="4440858" y="4426307"/>
                  <a:pt x="4354021" y="4426307"/>
                </a:cubicBezTo>
                <a:cubicBezTo>
                  <a:pt x="4347467" y="4427946"/>
                  <a:pt x="4340913" y="4427946"/>
                  <a:pt x="4335998" y="4427946"/>
                </a:cubicBezTo>
                <a:cubicBezTo>
                  <a:pt x="4324529" y="4427946"/>
                  <a:pt x="4314698" y="4427946"/>
                  <a:pt x="4303229" y="4427946"/>
                </a:cubicBezTo>
                <a:cubicBezTo>
                  <a:pt x="4303229" y="4427946"/>
                  <a:pt x="4303229" y="4427946"/>
                  <a:pt x="4301591" y="4427946"/>
                </a:cubicBezTo>
                <a:cubicBezTo>
                  <a:pt x="4290122" y="4427946"/>
                  <a:pt x="4278653" y="4427946"/>
                  <a:pt x="4267184" y="4427946"/>
                </a:cubicBezTo>
                <a:cubicBezTo>
                  <a:pt x="4263907" y="4427946"/>
                  <a:pt x="4262268" y="4427946"/>
                  <a:pt x="4258991" y="4427946"/>
                </a:cubicBezTo>
                <a:cubicBezTo>
                  <a:pt x="4247522" y="4429585"/>
                  <a:pt x="4236053" y="4429585"/>
                  <a:pt x="4224584" y="4429585"/>
                </a:cubicBezTo>
                <a:cubicBezTo>
                  <a:pt x="4221307" y="4431223"/>
                  <a:pt x="4218031" y="4431223"/>
                  <a:pt x="4216392" y="4431223"/>
                </a:cubicBezTo>
                <a:cubicBezTo>
                  <a:pt x="4204923" y="4431223"/>
                  <a:pt x="4191816" y="4432862"/>
                  <a:pt x="4180346" y="4434501"/>
                </a:cubicBezTo>
                <a:cubicBezTo>
                  <a:pt x="4178708" y="4434501"/>
                  <a:pt x="4178708" y="4434501"/>
                  <a:pt x="4177070" y="4434501"/>
                </a:cubicBezTo>
                <a:cubicBezTo>
                  <a:pt x="4165601" y="4434501"/>
                  <a:pt x="4154132" y="4436140"/>
                  <a:pt x="4142662" y="4437778"/>
                </a:cubicBezTo>
                <a:cubicBezTo>
                  <a:pt x="4139386" y="4437778"/>
                  <a:pt x="4137747" y="4437778"/>
                  <a:pt x="4136109" y="4437778"/>
                </a:cubicBezTo>
                <a:cubicBezTo>
                  <a:pt x="4123001" y="4439417"/>
                  <a:pt x="4111532" y="4441056"/>
                  <a:pt x="4100063" y="4442695"/>
                </a:cubicBezTo>
                <a:cubicBezTo>
                  <a:pt x="4096786" y="4444334"/>
                  <a:pt x="4095148" y="4444334"/>
                  <a:pt x="4093509" y="4444334"/>
                </a:cubicBezTo>
                <a:cubicBezTo>
                  <a:pt x="4080402" y="4445972"/>
                  <a:pt x="4068933" y="4447611"/>
                  <a:pt x="4055825" y="4450889"/>
                </a:cubicBezTo>
                <a:cubicBezTo>
                  <a:pt x="4055825" y="4450889"/>
                  <a:pt x="4054187" y="4450889"/>
                  <a:pt x="4052548" y="4450889"/>
                </a:cubicBezTo>
                <a:cubicBezTo>
                  <a:pt x="4041079" y="4452527"/>
                  <a:pt x="4029610" y="4455805"/>
                  <a:pt x="4018141" y="4457444"/>
                </a:cubicBezTo>
                <a:cubicBezTo>
                  <a:pt x="4016503" y="4457444"/>
                  <a:pt x="4014864" y="4457444"/>
                  <a:pt x="4013226" y="4459082"/>
                </a:cubicBezTo>
                <a:cubicBezTo>
                  <a:pt x="4000118" y="4460721"/>
                  <a:pt x="3988649" y="4463999"/>
                  <a:pt x="3977180" y="4465637"/>
                </a:cubicBezTo>
                <a:cubicBezTo>
                  <a:pt x="3975542" y="4467276"/>
                  <a:pt x="3973903" y="4467276"/>
                  <a:pt x="3973903" y="4467276"/>
                </a:cubicBezTo>
                <a:lnTo>
                  <a:pt x="3472542" y="4180492"/>
                </a:lnTo>
                <a:cubicBezTo>
                  <a:pt x="2782761" y="3785549"/>
                  <a:pt x="2092979" y="3388968"/>
                  <a:pt x="1401560" y="2992387"/>
                </a:cubicBezTo>
                <a:cubicBezTo>
                  <a:pt x="1345853" y="2959611"/>
                  <a:pt x="1291784" y="2928475"/>
                  <a:pt x="1236078" y="2897338"/>
                </a:cubicBezTo>
                <a:cubicBezTo>
                  <a:pt x="875622" y="2689215"/>
                  <a:pt x="503697" y="2472898"/>
                  <a:pt x="264485" y="2133673"/>
                </a:cubicBezTo>
                <a:cubicBezTo>
                  <a:pt x="-77948" y="1646960"/>
                  <a:pt x="-77948" y="961956"/>
                  <a:pt x="207140" y="439189"/>
                </a:cubicBezTo>
                <a:cubicBezTo>
                  <a:pt x="303808" y="262203"/>
                  <a:pt x="439798" y="93410"/>
                  <a:pt x="631495" y="31137"/>
                </a:cubicBezTo>
                <a:cubicBezTo>
                  <a:pt x="731440" y="0"/>
                  <a:pt x="839576" y="0"/>
                  <a:pt x="944436" y="0"/>
                </a:cubicBezTo>
                <a:close/>
              </a:path>
            </a:pathLst>
          </a:custGeom>
        </p:spPr>
        <p:txBody>
          <a:bodyPr wrap="square" tIns="1908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9E9D2E9-D355-BF18-26E2-236ABE0FD38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5907525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Pink, Image)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 descr="A colorful background with a white and pink wave&#10;&#10;Description automatically generated with medium confidence">
            <a:extLst>
              <a:ext uri="{FF2B5EF4-FFF2-40B4-BE49-F238E27FC236}">
                <a16:creationId xmlns:a16="http://schemas.microsoft.com/office/drawing/2014/main" id="{70D8D136-4010-BE0C-623D-075EEC1A80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3697" y="0"/>
            <a:ext cx="5708303" cy="3219254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335E727-D0FB-7AFB-1BD0-97F4DAA8C68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639666" y="2116371"/>
            <a:ext cx="3552334" cy="4741629"/>
          </a:xfrm>
          <a:custGeom>
            <a:avLst/>
            <a:gdLst>
              <a:gd name="connsiteX0" fmla="*/ 1583776 w 2986706"/>
              <a:gd name="connsiteY0" fmla="*/ 24 h 3986633"/>
              <a:gd name="connsiteX1" fmla="*/ 2155464 w 2986706"/>
              <a:gd name="connsiteY1" fmla="*/ 112872 h 3986633"/>
              <a:gd name="connsiteX2" fmla="*/ 2199565 w 2986706"/>
              <a:gd name="connsiteY2" fmla="*/ 131573 h 3986633"/>
              <a:gd name="connsiteX3" fmla="*/ 2528320 w 2986706"/>
              <a:gd name="connsiteY3" fmla="*/ 329268 h 3986633"/>
              <a:gd name="connsiteX4" fmla="*/ 2553712 w 2986706"/>
              <a:gd name="connsiteY4" fmla="*/ 350641 h 3986633"/>
              <a:gd name="connsiteX5" fmla="*/ 2585785 w 2986706"/>
              <a:gd name="connsiteY5" fmla="*/ 377356 h 3986633"/>
              <a:gd name="connsiteX6" fmla="*/ 2804955 w 2986706"/>
              <a:gd name="connsiteY6" fmla="*/ 612453 h 3986633"/>
              <a:gd name="connsiteX7" fmla="*/ 2986706 w 2986706"/>
              <a:gd name="connsiteY7" fmla="*/ 921019 h 3986633"/>
              <a:gd name="connsiteX8" fmla="*/ 2986706 w 2986706"/>
              <a:gd name="connsiteY8" fmla="*/ 3986633 h 3986633"/>
              <a:gd name="connsiteX9" fmla="*/ 988784 w 2986706"/>
              <a:gd name="connsiteY9" fmla="*/ 3986633 h 3986633"/>
              <a:gd name="connsiteX10" fmla="*/ 661366 w 2986706"/>
              <a:gd name="connsiteY10" fmla="*/ 3521782 h 3986633"/>
              <a:gd name="connsiteX11" fmla="*/ 41275 w 2986706"/>
              <a:gd name="connsiteY11" fmla="*/ 1749202 h 3986633"/>
              <a:gd name="connsiteX12" fmla="*/ 47957 w 2986706"/>
              <a:gd name="connsiteY12" fmla="*/ 585738 h 3986633"/>
              <a:gd name="connsiteX13" fmla="*/ 50630 w 2986706"/>
              <a:gd name="connsiteY13" fmla="*/ 584402 h 3986633"/>
              <a:gd name="connsiteX14" fmla="*/ 86712 w 2986706"/>
              <a:gd name="connsiteY14" fmla="*/ 576387 h 3986633"/>
              <a:gd name="connsiteX15" fmla="*/ 90722 w 2986706"/>
              <a:gd name="connsiteY15" fmla="*/ 575052 h 3986633"/>
              <a:gd name="connsiteX16" fmla="*/ 125468 w 2986706"/>
              <a:gd name="connsiteY16" fmla="*/ 567037 h 3986633"/>
              <a:gd name="connsiteX17" fmla="*/ 128141 w 2986706"/>
              <a:gd name="connsiteY17" fmla="*/ 565701 h 3986633"/>
              <a:gd name="connsiteX18" fmla="*/ 162887 w 2986706"/>
              <a:gd name="connsiteY18" fmla="*/ 556351 h 3986633"/>
              <a:gd name="connsiteX19" fmla="*/ 169569 w 2986706"/>
              <a:gd name="connsiteY19" fmla="*/ 553679 h 3986633"/>
              <a:gd name="connsiteX20" fmla="*/ 204316 w 2986706"/>
              <a:gd name="connsiteY20" fmla="*/ 542993 h 3986633"/>
              <a:gd name="connsiteX21" fmla="*/ 208325 w 2986706"/>
              <a:gd name="connsiteY21" fmla="*/ 541657 h 3986633"/>
              <a:gd name="connsiteX22" fmla="*/ 241735 w 2986706"/>
              <a:gd name="connsiteY22" fmla="*/ 529635 h 3986633"/>
              <a:gd name="connsiteX23" fmla="*/ 245744 w 2986706"/>
              <a:gd name="connsiteY23" fmla="*/ 528299 h 3986633"/>
              <a:gd name="connsiteX24" fmla="*/ 280491 w 2986706"/>
              <a:gd name="connsiteY24" fmla="*/ 516277 h 3986633"/>
              <a:gd name="connsiteX25" fmla="*/ 285836 w 2986706"/>
              <a:gd name="connsiteY25" fmla="*/ 513606 h 3986633"/>
              <a:gd name="connsiteX26" fmla="*/ 320583 w 2986706"/>
              <a:gd name="connsiteY26" fmla="*/ 500248 h 3986633"/>
              <a:gd name="connsiteX27" fmla="*/ 323256 w 2986706"/>
              <a:gd name="connsiteY27" fmla="*/ 498912 h 3986633"/>
              <a:gd name="connsiteX28" fmla="*/ 355329 w 2986706"/>
              <a:gd name="connsiteY28" fmla="*/ 484219 h 3986633"/>
              <a:gd name="connsiteX29" fmla="*/ 360675 w 2986706"/>
              <a:gd name="connsiteY29" fmla="*/ 481547 h 3986633"/>
              <a:gd name="connsiteX30" fmla="*/ 394085 w 2986706"/>
              <a:gd name="connsiteY30" fmla="*/ 466853 h 3986633"/>
              <a:gd name="connsiteX31" fmla="*/ 399431 w 2986706"/>
              <a:gd name="connsiteY31" fmla="*/ 462846 h 3986633"/>
              <a:gd name="connsiteX32" fmla="*/ 432841 w 2986706"/>
              <a:gd name="connsiteY32" fmla="*/ 446817 h 3986633"/>
              <a:gd name="connsiteX33" fmla="*/ 435514 w 2986706"/>
              <a:gd name="connsiteY33" fmla="*/ 445481 h 3986633"/>
              <a:gd name="connsiteX34" fmla="*/ 467587 w 2986706"/>
              <a:gd name="connsiteY34" fmla="*/ 428116 h 3986633"/>
              <a:gd name="connsiteX35" fmla="*/ 472933 w 2986706"/>
              <a:gd name="connsiteY35" fmla="*/ 425444 h 3986633"/>
              <a:gd name="connsiteX36" fmla="*/ 505006 w 2986706"/>
              <a:gd name="connsiteY36" fmla="*/ 406743 h 3986633"/>
              <a:gd name="connsiteX37" fmla="*/ 510352 w 2986706"/>
              <a:gd name="connsiteY37" fmla="*/ 402736 h 3986633"/>
              <a:gd name="connsiteX38" fmla="*/ 543762 w 2986706"/>
              <a:gd name="connsiteY38" fmla="*/ 382699 h 3986633"/>
              <a:gd name="connsiteX39" fmla="*/ 575836 w 2986706"/>
              <a:gd name="connsiteY39" fmla="*/ 362663 h 3986633"/>
              <a:gd name="connsiteX40" fmla="*/ 581181 w 2986706"/>
              <a:gd name="connsiteY40" fmla="*/ 358655 h 3986633"/>
              <a:gd name="connsiteX41" fmla="*/ 611919 w 2986706"/>
              <a:gd name="connsiteY41" fmla="*/ 337283 h 3986633"/>
              <a:gd name="connsiteX42" fmla="*/ 617264 w 2986706"/>
              <a:gd name="connsiteY42" fmla="*/ 333275 h 3986633"/>
              <a:gd name="connsiteX43" fmla="*/ 649338 w 2986706"/>
              <a:gd name="connsiteY43" fmla="*/ 310567 h 3986633"/>
              <a:gd name="connsiteX44" fmla="*/ 1583776 w 2986706"/>
              <a:gd name="connsiteY44" fmla="*/ 24 h 3986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2986706" h="3986633">
                <a:moveTo>
                  <a:pt x="1583776" y="24"/>
                </a:moveTo>
                <a:cubicBezTo>
                  <a:pt x="1779225" y="1105"/>
                  <a:pt x="1973546" y="39237"/>
                  <a:pt x="2155464" y="112872"/>
                </a:cubicBezTo>
                <a:cubicBezTo>
                  <a:pt x="2170164" y="119551"/>
                  <a:pt x="2184865" y="124894"/>
                  <a:pt x="2199565" y="131573"/>
                </a:cubicBezTo>
                <a:cubicBezTo>
                  <a:pt x="2315832" y="183668"/>
                  <a:pt x="2426753" y="249121"/>
                  <a:pt x="2528320" y="329268"/>
                </a:cubicBezTo>
                <a:cubicBezTo>
                  <a:pt x="2537675" y="335947"/>
                  <a:pt x="2545693" y="342626"/>
                  <a:pt x="2553712" y="350641"/>
                </a:cubicBezTo>
                <a:cubicBezTo>
                  <a:pt x="2564403" y="358655"/>
                  <a:pt x="2575094" y="368006"/>
                  <a:pt x="2585785" y="377356"/>
                </a:cubicBezTo>
                <a:cubicBezTo>
                  <a:pt x="2665969" y="446817"/>
                  <a:pt x="2739472" y="525628"/>
                  <a:pt x="2804955" y="612453"/>
                </a:cubicBezTo>
                <a:cubicBezTo>
                  <a:pt x="2878458" y="709965"/>
                  <a:pt x="2938596" y="814156"/>
                  <a:pt x="2986706" y="921019"/>
                </a:cubicBezTo>
                <a:cubicBezTo>
                  <a:pt x="2986706" y="921019"/>
                  <a:pt x="2986706" y="921019"/>
                  <a:pt x="2986706" y="3986633"/>
                </a:cubicBezTo>
                <a:cubicBezTo>
                  <a:pt x="2986706" y="3986633"/>
                  <a:pt x="2986706" y="3986633"/>
                  <a:pt x="988784" y="3986633"/>
                </a:cubicBezTo>
                <a:cubicBezTo>
                  <a:pt x="859153" y="3850384"/>
                  <a:pt x="756250" y="3684747"/>
                  <a:pt x="661366" y="3521782"/>
                </a:cubicBezTo>
                <a:cubicBezTo>
                  <a:pt x="344638" y="2979455"/>
                  <a:pt x="124132" y="2373011"/>
                  <a:pt x="41275" y="1749202"/>
                </a:cubicBezTo>
                <a:cubicBezTo>
                  <a:pt x="-9509" y="1368505"/>
                  <a:pt x="-20200" y="965099"/>
                  <a:pt x="47957" y="585738"/>
                </a:cubicBezTo>
                <a:cubicBezTo>
                  <a:pt x="49293" y="585738"/>
                  <a:pt x="50630" y="584402"/>
                  <a:pt x="50630" y="584402"/>
                </a:cubicBezTo>
                <a:cubicBezTo>
                  <a:pt x="62657" y="581730"/>
                  <a:pt x="74685" y="579059"/>
                  <a:pt x="86712" y="576387"/>
                </a:cubicBezTo>
                <a:cubicBezTo>
                  <a:pt x="88049" y="576387"/>
                  <a:pt x="89385" y="576387"/>
                  <a:pt x="90722" y="575052"/>
                </a:cubicBezTo>
                <a:cubicBezTo>
                  <a:pt x="102749" y="572380"/>
                  <a:pt x="113441" y="569708"/>
                  <a:pt x="125468" y="567037"/>
                </a:cubicBezTo>
                <a:cubicBezTo>
                  <a:pt x="125468" y="567037"/>
                  <a:pt x="126805" y="565701"/>
                  <a:pt x="128141" y="565701"/>
                </a:cubicBezTo>
                <a:cubicBezTo>
                  <a:pt x="140169" y="563030"/>
                  <a:pt x="152196" y="559022"/>
                  <a:pt x="162887" y="556351"/>
                </a:cubicBezTo>
                <a:cubicBezTo>
                  <a:pt x="165560" y="555015"/>
                  <a:pt x="166897" y="555015"/>
                  <a:pt x="169569" y="553679"/>
                </a:cubicBezTo>
                <a:cubicBezTo>
                  <a:pt x="181597" y="551007"/>
                  <a:pt x="192288" y="547000"/>
                  <a:pt x="204316" y="542993"/>
                </a:cubicBezTo>
                <a:cubicBezTo>
                  <a:pt x="205652" y="542993"/>
                  <a:pt x="206989" y="541657"/>
                  <a:pt x="208325" y="541657"/>
                </a:cubicBezTo>
                <a:cubicBezTo>
                  <a:pt x="219016" y="537650"/>
                  <a:pt x="231044" y="533642"/>
                  <a:pt x="241735" y="529635"/>
                </a:cubicBezTo>
                <a:cubicBezTo>
                  <a:pt x="243072" y="529635"/>
                  <a:pt x="244408" y="529635"/>
                  <a:pt x="245744" y="528299"/>
                </a:cubicBezTo>
                <a:cubicBezTo>
                  <a:pt x="256436" y="524292"/>
                  <a:pt x="268463" y="520285"/>
                  <a:pt x="280491" y="516277"/>
                </a:cubicBezTo>
                <a:cubicBezTo>
                  <a:pt x="281827" y="514941"/>
                  <a:pt x="284500" y="514941"/>
                  <a:pt x="285836" y="513606"/>
                </a:cubicBezTo>
                <a:cubicBezTo>
                  <a:pt x="297864" y="509598"/>
                  <a:pt x="308555" y="504255"/>
                  <a:pt x="320583" y="500248"/>
                </a:cubicBezTo>
                <a:cubicBezTo>
                  <a:pt x="320583" y="498912"/>
                  <a:pt x="321919" y="498912"/>
                  <a:pt x="323256" y="498912"/>
                </a:cubicBezTo>
                <a:cubicBezTo>
                  <a:pt x="333947" y="493569"/>
                  <a:pt x="344638" y="489562"/>
                  <a:pt x="355329" y="484219"/>
                </a:cubicBezTo>
                <a:cubicBezTo>
                  <a:pt x="358002" y="482883"/>
                  <a:pt x="359339" y="482883"/>
                  <a:pt x="360675" y="481547"/>
                </a:cubicBezTo>
                <a:cubicBezTo>
                  <a:pt x="371366" y="477540"/>
                  <a:pt x="382057" y="472197"/>
                  <a:pt x="394085" y="466853"/>
                </a:cubicBezTo>
                <a:cubicBezTo>
                  <a:pt x="395421" y="465518"/>
                  <a:pt x="398094" y="464182"/>
                  <a:pt x="399431" y="462846"/>
                </a:cubicBezTo>
                <a:cubicBezTo>
                  <a:pt x="411458" y="457503"/>
                  <a:pt x="422150" y="452160"/>
                  <a:pt x="432841" y="446817"/>
                </a:cubicBezTo>
                <a:cubicBezTo>
                  <a:pt x="434177" y="445481"/>
                  <a:pt x="434177" y="445481"/>
                  <a:pt x="435514" y="445481"/>
                </a:cubicBezTo>
                <a:cubicBezTo>
                  <a:pt x="446205" y="440138"/>
                  <a:pt x="456896" y="433459"/>
                  <a:pt x="467587" y="428116"/>
                </a:cubicBezTo>
                <a:cubicBezTo>
                  <a:pt x="468924" y="426780"/>
                  <a:pt x="470260" y="426780"/>
                  <a:pt x="472933" y="425444"/>
                </a:cubicBezTo>
                <a:cubicBezTo>
                  <a:pt x="483624" y="418765"/>
                  <a:pt x="494315" y="413422"/>
                  <a:pt x="505006" y="406743"/>
                </a:cubicBezTo>
                <a:cubicBezTo>
                  <a:pt x="506343" y="405407"/>
                  <a:pt x="509016" y="404072"/>
                  <a:pt x="510352" y="402736"/>
                </a:cubicBezTo>
                <a:cubicBezTo>
                  <a:pt x="521043" y="396057"/>
                  <a:pt x="533071" y="389378"/>
                  <a:pt x="543762" y="382699"/>
                </a:cubicBezTo>
                <a:cubicBezTo>
                  <a:pt x="554453" y="376020"/>
                  <a:pt x="565145" y="369342"/>
                  <a:pt x="575836" y="362663"/>
                </a:cubicBezTo>
                <a:cubicBezTo>
                  <a:pt x="577172" y="361327"/>
                  <a:pt x="579845" y="359991"/>
                  <a:pt x="581181" y="358655"/>
                </a:cubicBezTo>
                <a:cubicBezTo>
                  <a:pt x="591873" y="351976"/>
                  <a:pt x="601227" y="343962"/>
                  <a:pt x="611919" y="337283"/>
                </a:cubicBezTo>
                <a:cubicBezTo>
                  <a:pt x="613255" y="335947"/>
                  <a:pt x="615928" y="334611"/>
                  <a:pt x="617264" y="333275"/>
                </a:cubicBezTo>
                <a:cubicBezTo>
                  <a:pt x="627956" y="325261"/>
                  <a:pt x="638647" y="318582"/>
                  <a:pt x="649338" y="310567"/>
                </a:cubicBezTo>
                <a:cubicBezTo>
                  <a:pt x="929147" y="99347"/>
                  <a:pt x="1258028" y="-1776"/>
                  <a:pt x="1583776" y="24"/>
                </a:cubicBezTo>
                <a:close/>
              </a:path>
            </a:pathLst>
          </a:custGeom>
        </p:spPr>
        <p:txBody>
          <a:bodyPr wrap="square" tIns="1584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81BB9FA-F272-BE45-B264-5C6266B602D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2685695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Full Colour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circle with a white background&#10;&#10;Description automatically generated with medium confidence">
            <a:extLst>
              <a:ext uri="{FF2B5EF4-FFF2-40B4-BE49-F238E27FC236}">
                <a16:creationId xmlns:a16="http://schemas.microsoft.com/office/drawing/2014/main" id="{CD86E345-BD7E-FB12-E0E8-78B6D70049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662" y="0"/>
            <a:ext cx="4168338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7" y="1376363"/>
            <a:ext cx="5465763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7" y="3990974"/>
            <a:ext cx="5465763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20" name="AutoShape 3">
            <a:extLst>
              <a:ext uri="{FF2B5EF4-FFF2-40B4-BE49-F238E27FC236}">
                <a16:creationId xmlns:a16="http://schemas.microsoft.com/office/drawing/2014/main" id="{8823F573-A3DF-8EC5-FC9A-A27AF8C52AE5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057775" y="0"/>
            <a:ext cx="71342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7A2D017-DF64-7420-B195-CE9B2E85F0E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009579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8E0BFA0-78AB-9F34-B8D6-117435C6A8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7"/>
            </p:custDataLst>
            <p:extLst>
              <p:ext uri="{D42A27DB-BD31-4B8C-83A1-F6EECF244321}">
                <p14:modId xmlns:p14="http://schemas.microsoft.com/office/powerpoint/2010/main" val="773527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8" imgW="473" imgH="473" progId="TCLayout.ActiveDocument.1">
                  <p:embed/>
                </p:oleObj>
              </mc:Choice>
              <mc:Fallback>
                <p:oleObj name="think-cell Folie" r:id="rId48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E0BFA0-78AB-9F34-B8D6-117435C6A8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7A96AB-8025-800A-2C24-7E888FEFF7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11168062" cy="1065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4E3102-B1BD-6F42-D23F-9839C4945A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4838" y="1573619"/>
            <a:ext cx="11168062" cy="447793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60478D-6D5E-92AA-A8E5-4B2E1DDB45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menu &gt; Header &amp; Footer button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B61785-315A-7A76-7C7E-594293B975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 b="1"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6477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662" r:id="rId2"/>
    <p:sldLayoutId id="2147483708" r:id="rId3"/>
    <p:sldLayoutId id="2147483701" r:id="rId4"/>
    <p:sldLayoutId id="2147483705" r:id="rId5"/>
    <p:sldLayoutId id="2147483707" r:id="rId6"/>
    <p:sldLayoutId id="2147483709" r:id="rId7"/>
    <p:sldLayoutId id="2147483710" r:id="rId8"/>
    <p:sldLayoutId id="2147483661" r:id="rId9"/>
    <p:sldLayoutId id="2147483711" r:id="rId10"/>
    <p:sldLayoutId id="2147483713" r:id="rId11"/>
    <p:sldLayoutId id="2147483714" r:id="rId12"/>
    <p:sldLayoutId id="2147483715" r:id="rId13"/>
    <p:sldLayoutId id="2147483700" r:id="rId14"/>
    <p:sldLayoutId id="2147483699" r:id="rId15"/>
    <p:sldLayoutId id="2147483650" r:id="rId16"/>
    <p:sldLayoutId id="2147483659" r:id="rId17"/>
    <p:sldLayoutId id="2147483660" r:id="rId18"/>
    <p:sldLayoutId id="2147483656" r:id="rId19"/>
    <p:sldLayoutId id="2147483687" r:id="rId20"/>
    <p:sldLayoutId id="2147483720" r:id="rId21"/>
    <p:sldLayoutId id="2147483721" r:id="rId22"/>
    <p:sldLayoutId id="2147483725" r:id="rId23"/>
    <p:sldLayoutId id="2147483723" r:id="rId24"/>
    <p:sldLayoutId id="2147483726" r:id="rId25"/>
    <p:sldLayoutId id="2147483681" r:id="rId26"/>
    <p:sldLayoutId id="2147483668" r:id="rId27"/>
    <p:sldLayoutId id="2147483667" r:id="rId28"/>
    <p:sldLayoutId id="2147483669" r:id="rId29"/>
    <p:sldLayoutId id="2147483672" r:id="rId30"/>
    <p:sldLayoutId id="2147483690" r:id="rId31"/>
    <p:sldLayoutId id="2147483688" r:id="rId32"/>
    <p:sldLayoutId id="2147483738" r:id="rId33"/>
    <p:sldLayoutId id="2147483670" r:id="rId34"/>
    <p:sldLayoutId id="2147483671" r:id="rId35"/>
    <p:sldLayoutId id="2147483692" r:id="rId36"/>
    <p:sldLayoutId id="2147483693" r:id="rId37"/>
    <p:sldLayoutId id="2147483694" r:id="rId38"/>
    <p:sldLayoutId id="2147483654" r:id="rId39"/>
    <p:sldLayoutId id="2147483655" r:id="rId40"/>
    <p:sldLayoutId id="2147483736" r:id="rId41"/>
    <p:sldLayoutId id="2147483737" r:id="rId42"/>
    <p:sldLayoutId id="2147483698" r:id="rId43"/>
    <p:sldLayoutId id="2147483739" r:id="rId44"/>
    <p:sldLayoutId id="2147483740" r:id="rId45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000" b="1" kern="1200">
          <a:solidFill>
            <a:srgbClr val="002068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1000"/>
        </a:spcBef>
        <a:buFontTx/>
        <a:buNone/>
        <a:defRPr sz="2000" b="1" kern="1200">
          <a:solidFill>
            <a:srgbClr val="0460A9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5000"/>
        </a:lnSpc>
        <a:spcBef>
          <a:spcPts val="7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Ping LCG Medium" pitchFamily="50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90538" indent="-268288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73113" indent="-277813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2" userDrawn="1">
          <p15:clr>
            <a:srgbClr val="F26B43"/>
          </p15:clr>
        </p15:guide>
        <p15:guide id="2" pos="3975" userDrawn="1">
          <p15:clr>
            <a:srgbClr val="F26B43"/>
          </p15:clr>
        </p15:guide>
        <p15:guide id="3" orient="horz" pos="243" userDrawn="1">
          <p15:clr>
            <a:srgbClr val="F26B43"/>
          </p15:clr>
        </p15:guide>
        <p15:guide id="4" orient="horz" pos="3812" userDrawn="1">
          <p15:clr>
            <a:srgbClr val="F26B43"/>
          </p15:clr>
        </p15:guide>
        <p15:guide id="5" orient="horz" pos="867" userDrawn="1">
          <p15:clr>
            <a:srgbClr val="F26B43"/>
          </p15:clr>
        </p15:guide>
        <p15:guide id="6" orient="horz" pos="1015" userDrawn="1">
          <p15:clr>
            <a:srgbClr val="F26B43"/>
          </p15:clr>
        </p15:guide>
        <p15:guide id="7" orient="horz" pos="1639" userDrawn="1">
          <p15:clr>
            <a:srgbClr val="F26B43"/>
          </p15:clr>
        </p15:guide>
        <p15:guide id="8" orient="horz" pos="1781" userDrawn="1">
          <p15:clr>
            <a:srgbClr val="F26B43"/>
          </p15:clr>
        </p15:guide>
        <p15:guide id="9" orient="horz" pos="2544" userDrawn="1">
          <p15:clr>
            <a:srgbClr val="F26B43"/>
          </p15:clr>
        </p15:guide>
        <p15:guide id="10" orient="horz" pos="3174" userDrawn="1">
          <p15:clr>
            <a:srgbClr val="F26B43"/>
          </p15:clr>
        </p15:guide>
        <p15:guide id="11" orient="horz" pos="3316" userDrawn="1">
          <p15:clr>
            <a:srgbClr val="F26B43"/>
          </p15:clr>
        </p15:guide>
        <p15:guide id="12" pos="7416" userDrawn="1">
          <p15:clr>
            <a:srgbClr val="F26B43"/>
          </p15:clr>
        </p15:guide>
        <p15:guide id="13" pos="381" userDrawn="1">
          <p15:clr>
            <a:srgbClr val="F26B43"/>
          </p15:clr>
        </p15:guide>
        <p15:guide id="14" pos="1434" userDrawn="1">
          <p15:clr>
            <a:srgbClr val="F26B43"/>
          </p15:clr>
        </p15:guide>
        <p15:guide id="15" pos="1581" userDrawn="1">
          <p15:clr>
            <a:srgbClr val="F26B43"/>
          </p15:clr>
        </p15:guide>
        <p15:guide id="16" pos="2625" userDrawn="1">
          <p15:clr>
            <a:srgbClr val="F26B43"/>
          </p15:clr>
        </p15:guide>
        <p15:guide id="17" pos="2776" userDrawn="1">
          <p15:clr>
            <a:srgbClr val="F26B43"/>
          </p15:clr>
        </p15:guide>
        <p15:guide id="18" pos="3824" userDrawn="1">
          <p15:clr>
            <a:srgbClr val="F26B43"/>
          </p15:clr>
        </p15:guide>
        <p15:guide id="19" pos="5020" userDrawn="1">
          <p15:clr>
            <a:srgbClr val="F26B43"/>
          </p15:clr>
        </p15:guide>
        <p15:guide id="20" pos="5166" userDrawn="1">
          <p15:clr>
            <a:srgbClr val="F26B43"/>
          </p15:clr>
        </p15:guide>
        <p15:guide id="21" pos="6219" userDrawn="1">
          <p15:clr>
            <a:srgbClr val="F26B43"/>
          </p15:clr>
        </p15:guide>
        <p15:guide id="22" pos="636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2.pn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31.png"/><Relationship Id="rId5" Type="http://schemas.openxmlformats.org/officeDocument/2006/relationships/image" Target="../media/image34.svg"/><Relationship Id="rId4" Type="http://schemas.openxmlformats.org/officeDocument/2006/relationships/image" Target="../media/image3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pmc.ncbi.nlm.nih.gov/articles/PMC10526829/pdf/cancers-15-04436.pdf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5.xml"/><Relationship Id="rId5" Type="http://schemas.openxmlformats.org/officeDocument/2006/relationships/slide" Target="slide6.xml"/><Relationship Id="rId4" Type="http://schemas.openxmlformats.org/officeDocument/2006/relationships/slide" Target="slide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5.x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38.svg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6.xml"/><Relationship Id="rId6" Type="http://schemas.openxmlformats.org/officeDocument/2006/relationships/image" Target="../media/image3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4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4FE2D78-A009-770F-E506-D655D75AE5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4155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FE2D78-A009-770F-E506-D655D75AE5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>
            <a:extLst>
              <a:ext uri="{FF2B5EF4-FFF2-40B4-BE49-F238E27FC236}">
                <a16:creationId xmlns:a16="http://schemas.microsoft.com/office/drawing/2014/main" id="{32FB3BB4-45FE-E6F2-69A8-83BFDDAE6AF3}"/>
              </a:ext>
            </a:extLst>
          </p:cNvPr>
          <p:cNvSpPr txBox="1"/>
          <p:nvPr/>
        </p:nvSpPr>
        <p:spPr>
          <a:xfrm>
            <a:off x="820634" y="1554941"/>
            <a:ext cx="6534364" cy="4585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Efficiency of second-line BRAF/MEK inhibitors in BRAFV600 mutated metastatic melanoma patients after first-line immunotherapy failure. A </a:t>
            </a:r>
            <a:r>
              <a:rPr lang="en-US" b="1" dirty="0" err="1">
                <a:solidFill>
                  <a:schemeClr val="accent1"/>
                </a:solidFill>
              </a:rPr>
              <a:t>EUMelaReg</a:t>
            </a:r>
            <a:r>
              <a:rPr lang="en-US" b="1" dirty="0">
                <a:solidFill>
                  <a:schemeClr val="accent1"/>
                </a:solidFill>
              </a:rPr>
              <a:t> real-world study</a:t>
            </a:r>
          </a:p>
          <a:p>
            <a:endParaRPr lang="en-GB" sz="1200" dirty="0">
              <a:solidFill>
                <a:schemeClr val="accent6"/>
              </a:solidFill>
            </a:endParaRPr>
          </a:p>
          <a:p>
            <a:r>
              <a:rPr lang="en-GB" sz="1200" dirty="0" err="1">
                <a:solidFill>
                  <a:schemeClr val="accent6"/>
                </a:solidFill>
              </a:rPr>
              <a:t>Ellebaek</a:t>
            </a:r>
            <a:r>
              <a:rPr lang="en-GB" sz="1200" dirty="0">
                <a:solidFill>
                  <a:schemeClr val="accent6"/>
                </a:solidFill>
              </a:rPr>
              <a:t> et al. Poster 1646P ESMO 2025</a:t>
            </a:r>
            <a:endParaRPr lang="en-GB" sz="1600" dirty="0"/>
          </a:p>
          <a:p>
            <a:endParaRPr lang="en-GB" sz="1600" dirty="0"/>
          </a:p>
          <a:p>
            <a:r>
              <a:rPr lang="en-US" b="1" dirty="0">
                <a:solidFill>
                  <a:schemeClr val="accent1"/>
                </a:solidFill>
              </a:rPr>
              <a:t>The role of BRAF/MEKi rechallenge in BRAF</a:t>
            </a:r>
            <a:r>
              <a:rPr lang="en-US" b="1" baseline="30000" dirty="0">
                <a:solidFill>
                  <a:schemeClr val="accent1"/>
                </a:solidFill>
              </a:rPr>
              <a:t>V600</a:t>
            </a:r>
            <a:r>
              <a:rPr lang="en-US" b="1" dirty="0">
                <a:solidFill>
                  <a:schemeClr val="accent1"/>
                </a:solidFill>
              </a:rPr>
              <a:t> mutated melanoma patients. Insights from a </a:t>
            </a:r>
            <a:r>
              <a:rPr lang="en-US" b="1" dirty="0" err="1">
                <a:solidFill>
                  <a:schemeClr val="accent1"/>
                </a:solidFill>
              </a:rPr>
              <a:t>EUMelaReg</a:t>
            </a:r>
            <a:r>
              <a:rPr lang="en-US" b="1" dirty="0">
                <a:solidFill>
                  <a:schemeClr val="accent1"/>
                </a:solidFill>
              </a:rPr>
              <a:t> real-world study</a:t>
            </a:r>
          </a:p>
          <a:p>
            <a:endParaRPr lang="en-US" sz="1600" dirty="0"/>
          </a:p>
          <a:p>
            <a:r>
              <a:rPr lang="en-GB" sz="1200" dirty="0">
                <a:solidFill>
                  <a:schemeClr val="accent6"/>
                </a:solidFill>
              </a:rPr>
              <a:t>Gavrilova</a:t>
            </a:r>
            <a:r>
              <a:rPr lang="en-GB" sz="1200" baseline="30000" dirty="0">
                <a:solidFill>
                  <a:schemeClr val="accent6"/>
                </a:solidFill>
              </a:rPr>
              <a:t> </a:t>
            </a:r>
            <a:r>
              <a:rPr lang="en-GB" sz="1200" dirty="0">
                <a:solidFill>
                  <a:schemeClr val="accent6"/>
                </a:solidFill>
              </a:rPr>
              <a:t>et. al. Poster 1642P ESMO 2025</a:t>
            </a:r>
          </a:p>
          <a:p>
            <a:endParaRPr lang="en-GB" sz="1600" dirty="0"/>
          </a:p>
          <a:p>
            <a:r>
              <a:rPr lang="en-US" b="1" dirty="0">
                <a:solidFill>
                  <a:schemeClr val="accent1"/>
                </a:solidFill>
              </a:rPr>
              <a:t>Impact of switching from BRAF/MEK inhibition to immune checkpoint inhibition before secondary resistance in metastatic melanoma. A </a:t>
            </a:r>
            <a:r>
              <a:rPr lang="en-US" b="1" dirty="0" err="1">
                <a:solidFill>
                  <a:schemeClr val="accent1"/>
                </a:solidFill>
              </a:rPr>
              <a:t>EUMelaReg</a:t>
            </a:r>
            <a:r>
              <a:rPr lang="en-US" b="1" dirty="0">
                <a:solidFill>
                  <a:schemeClr val="accent1"/>
                </a:solidFill>
              </a:rPr>
              <a:t> real-world study.</a:t>
            </a:r>
          </a:p>
          <a:p>
            <a:endParaRPr lang="en-US" sz="1600" dirty="0"/>
          </a:p>
          <a:p>
            <a:r>
              <a:rPr lang="en-GB" sz="1200" dirty="0">
                <a:solidFill>
                  <a:schemeClr val="accent6"/>
                </a:solidFill>
              </a:rPr>
              <a:t>Weichenthal</a:t>
            </a:r>
            <a:r>
              <a:rPr lang="en-GB" sz="1200" baseline="30000" dirty="0">
                <a:solidFill>
                  <a:schemeClr val="accent6"/>
                </a:solidFill>
              </a:rPr>
              <a:t> </a:t>
            </a:r>
            <a:r>
              <a:rPr lang="en-GB" sz="1200" dirty="0">
                <a:solidFill>
                  <a:schemeClr val="accent6"/>
                </a:solidFill>
              </a:rPr>
              <a:t>et. al. Poster 1623P ESMO 2025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E4EB1601-AEAC-9010-FB4A-23C12F8CD4F0}"/>
              </a:ext>
            </a:extLst>
          </p:cNvPr>
          <p:cNvSpPr txBox="1"/>
          <p:nvPr/>
        </p:nvSpPr>
        <p:spPr>
          <a:xfrm>
            <a:off x="716462" y="330804"/>
            <a:ext cx="804557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800" b="1" dirty="0">
                <a:solidFill>
                  <a:schemeClr val="tx2"/>
                </a:solidFill>
              </a:rPr>
              <a:t>Neue Daten zu BRAF/MEK-Inhibitoren beim metastasierten Melanom (ESMO 2025)</a:t>
            </a:r>
            <a:endParaRPr lang="en-GB" sz="28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57747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7202CC-DDD5-FBB2-CFE7-AE0582DA87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667A199-3817-2DC4-BC24-23C21DBD4C5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152601"/>
            <a:ext cx="7449664" cy="2276399"/>
          </a:xfrm>
        </p:spPr>
        <p:txBody>
          <a:bodyPr>
            <a:noAutofit/>
          </a:bodyPr>
          <a:lstStyle/>
          <a:p>
            <a:r>
              <a:rPr lang="en-US" sz="3200" dirty="0"/>
              <a:t>Impact of switching from BRAF/MEK inhibition to immune checkpoint inhibition before secondary resistance in metastatic melanoma. </a:t>
            </a:r>
            <a:br>
              <a:rPr lang="en-US" sz="3200" dirty="0"/>
            </a:br>
            <a:r>
              <a:rPr lang="en-US" sz="3200" dirty="0"/>
              <a:t>A </a:t>
            </a:r>
            <a:r>
              <a:rPr lang="en-US" sz="3200" dirty="0" err="1"/>
              <a:t>EUMelaReg</a:t>
            </a:r>
            <a:r>
              <a:rPr lang="en-US" sz="3200" dirty="0"/>
              <a:t> real-world study.</a:t>
            </a:r>
            <a:endParaRPr lang="en-GB" sz="3200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25E6F2EF-307E-38A8-AE9C-1066CFEE0E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567037"/>
            <a:ext cx="6434137" cy="1067486"/>
          </a:xfrm>
        </p:spPr>
        <p:txBody>
          <a:bodyPr/>
          <a:lstStyle/>
          <a:p>
            <a:r>
              <a:rPr lang="en-GB" sz="900" dirty="0"/>
              <a:t>Michael Weichenthal</a:t>
            </a:r>
            <a:r>
              <a:rPr lang="en-GB" sz="900" baseline="30000" dirty="0"/>
              <a:t>1</a:t>
            </a:r>
            <a:r>
              <a:rPr lang="en-GB" sz="900" dirty="0"/>
              <a:t>, Iva Gavrilova</a:t>
            </a:r>
            <a:r>
              <a:rPr lang="en-GB" sz="900" baseline="30000" dirty="0"/>
              <a:t>2</a:t>
            </a:r>
            <a:r>
              <a:rPr lang="en-GB" sz="900" dirty="0"/>
              <a:t>, Joanna Mangana</a:t>
            </a:r>
            <a:r>
              <a:rPr lang="en-GB" sz="900" baseline="30000" dirty="0"/>
              <a:t>3</a:t>
            </a:r>
            <a:r>
              <a:rPr lang="en-GB" sz="900" dirty="0"/>
              <a:t>, Ulrike Leiter</a:t>
            </a:r>
            <a:r>
              <a:rPr lang="en-GB" sz="900" baseline="30000" dirty="0"/>
              <a:t>4</a:t>
            </a:r>
            <a:r>
              <a:rPr lang="en-GB" sz="900" dirty="0"/>
              <a:t>, Eva Ellebaek</a:t>
            </a:r>
            <a:r>
              <a:rPr lang="en-GB" sz="900" baseline="30000" dirty="0"/>
              <a:t>5</a:t>
            </a:r>
            <a:r>
              <a:rPr lang="en-GB" sz="900" dirty="0"/>
              <a:t>, Christina Ruhlmann</a:t>
            </a:r>
            <a:r>
              <a:rPr lang="en-GB" sz="900" baseline="30000" dirty="0"/>
              <a:t>6</a:t>
            </a:r>
            <a:r>
              <a:rPr lang="en-GB" sz="900" dirty="0"/>
              <a:t>, Selma Ugurel</a:t>
            </a:r>
            <a:r>
              <a:rPr lang="en-GB" sz="900" baseline="30000" dirty="0"/>
              <a:t>7</a:t>
            </a:r>
            <a:r>
              <a:rPr lang="en-GB" sz="900" dirty="0"/>
              <a:t>, Nethanel Asher</a:t>
            </a:r>
            <a:r>
              <a:rPr lang="en-GB" sz="900" baseline="30000" dirty="0"/>
              <a:t>8</a:t>
            </a:r>
            <a:r>
              <a:rPr lang="en-GB" sz="900" dirty="0"/>
              <a:t>, Lidija Kandolf</a:t>
            </a:r>
            <a:r>
              <a:rPr lang="en-GB" sz="900" baseline="30000" dirty="0"/>
              <a:t>9</a:t>
            </a:r>
            <a:r>
              <a:rPr lang="en-GB" sz="900" dirty="0"/>
              <a:t>, Alexander Gerasimov</a:t>
            </a:r>
            <a:r>
              <a:rPr lang="en-GB" sz="900" baseline="30000" dirty="0"/>
              <a:t>2</a:t>
            </a:r>
            <a:r>
              <a:rPr lang="en-GB" sz="900" dirty="0"/>
              <a:t>, Reinhard Dummer</a:t>
            </a:r>
            <a:r>
              <a:rPr lang="en-GB" sz="900" baseline="30000" dirty="0"/>
              <a:t>3</a:t>
            </a:r>
            <a:r>
              <a:rPr lang="en-GB" sz="900" dirty="0"/>
              <a:t>, Dimitrios Ziogas</a:t>
            </a:r>
            <a:r>
              <a:rPr lang="en-GB" sz="900" baseline="30000" dirty="0"/>
              <a:t>10</a:t>
            </a:r>
            <a:r>
              <a:rPr lang="en-GB" sz="900" dirty="0"/>
              <a:t>,</a:t>
            </a:r>
          </a:p>
          <a:p>
            <a:r>
              <a:rPr lang="en-GB" sz="900" dirty="0"/>
              <a:t>John Haanen</a:t>
            </a:r>
            <a:r>
              <a:rPr lang="en-GB" sz="900" baseline="30000" dirty="0"/>
              <a:t>11</a:t>
            </a:r>
            <a:r>
              <a:rPr lang="en-GB" sz="900" dirty="0"/>
              <a:t>, Inge Marie Svane</a:t>
            </a:r>
            <a:r>
              <a:rPr lang="en-GB" sz="900" baseline="30000" dirty="0"/>
              <a:t>5</a:t>
            </a:r>
            <a:r>
              <a:rPr lang="en-GB" sz="900" dirty="0"/>
              <a:t>, Enrique Espinosa</a:t>
            </a:r>
            <a:r>
              <a:rPr lang="en-GB" sz="900" baseline="30000" dirty="0"/>
              <a:t>12</a:t>
            </a:r>
            <a:r>
              <a:rPr lang="en-GB" sz="900" dirty="0"/>
              <a:t>, Piotr Rutkowski</a:t>
            </a:r>
            <a:r>
              <a:rPr lang="en-GB" sz="900" baseline="30000" dirty="0"/>
              <a:t>13</a:t>
            </a:r>
            <a:r>
              <a:rPr lang="en-GB" sz="900" dirty="0"/>
              <a:t>, Peter Mohr</a:t>
            </a:r>
            <a:r>
              <a:rPr lang="en-GB" sz="900" baseline="30000" dirty="0"/>
              <a:t>14</a:t>
            </a:r>
            <a:r>
              <a:rPr lang="en-GB" sz="900" dirty="0"/>
              <a:t>, Helen Gogas</a:t>
            </a:r>
            <a:r>
              <a:rPr lang="en-GB" sz="900" baseline="30000" dirty="0"/>
              <a:t>10</a:t>
            </a:r>
            <a:r>
              <a:rPr lang="en-GB" sz="900" dirty="0"/>
              <a:t>, Lars Bastholt</a:t>
            </a:r>
            <a:r>
              <a:rPr lang="en-GB" sz="900" baseline="30000" dirty="0"/>
              <a:t>6</a:t>
            </a:r>
            <a:r>
              <a:rPr lang="en-GB" sz="900" dirty="0"/>
              <a:t>, Dirk Schadendorf</a:t>
            </a:r>
            <a:r>
              <a:rPr lang="en-GB" sz="900" baseline="30000" dirty="0"/>
              <a:t>7</a:t>
            </a:r>
            <a:r>
              <a:rPr lang="en-GB" sz="900" dirty="0"/>
              <a:t>, the </a:t>
            </a:r>
            <a:r>
              <a:rPr lang="en-GB" sz="900" dirty="0" err="1"/>
              <a:t>EUMelaReg</a:t>
            </a:r>
            <a:r>
              <a:rPr lang="en-GB" sz="900" dirty="0"/>
              <a:t> Study Group*</a:t>
            </a:r>
          </a:p>
          <a:p>
            <a:endParaRPr lang="en-GB" sz="900" dirty="0"/>
          </a:p>
          <a:p>
            <a:r>
              <a:rPr lang="en-GB" sz="700" b="0" baseline="30000" dirty="0"/>
              <a:t>1</a:t>
            </a:r>
            <a:r>
              <a:rPr lang="en-GB" sz="700" b="0" dirty="0"/>
              <a:t>Skin Cancer </a:t>
            </a:r>
            <a:r>
              <a:rPr lang="en-GB" sz="700" b="0" dirty="0" err="1"/>
              <a:t>Center</a:t>
            </a:r>
            <a:r>
              <a:rPr lang="en-GB" sz="700" b="0" dirty="0"/>
              <a:t> Kiel, University Hospital Schleswig-Holstein, Kiel, Germany, </a:t>
            </a:r>
            <a:r>
              <a:rPr lang="en-GB" sz="700" b="0" baseline="30000" dirty="0"/>
              <a:t>2</a:t>
            </a:r>
            <a:r>
              <a:rPr lang="en-GB" sz="700" b="0" dirty="0"/>
              <a:t>Oncodermatology, Bulgarian National Cancer Registry, Sofia, Bulgaria, </a:t>
            </a:r>
            <a:r>
              <a:rPr lang="en-GB" sz="700" b="0" baseline="30000" dirty="0"/>
              <a:t>3</a:t>
            </a:r>
            <a:r>
              <a:rPr lang="en-GB" sz="700" b="0" dirty="0"/>
              <a:t>University Hospital of Zurich, Zurich, Switzerland, </a:t>
            </a:r>
            <a:r>
              <a:rPr lang="en-GB" sz="700" b="0" baseline="30000" dirty="0"/>
              <a:t>4</a:t>
            </a:r>
            <a:r>
              <a:rPr lang="en-GB" sz="700" b="0" dirty="0"/>
              <a:t>Universitäts-Hautklinik Tübingen, Tübingen, Germany, </a:t>
            </a:r>
            <a:r>
              <a:rPr lang="en-GB" sz="700" b="0" baseline="30000" dirty="0"/>
              <a:t>5</a:t>
            </a:r>
            <a:r>
              <a:rPr lang="en-GB" sz="700" b="0" dirty="0"/>
              <a:t>National </a:t>
            </a:r>
            <a:r>
              <a:rPr lang="en-GB" sz="700" b="0" dirty="0" err="1"/>
              <a:t>Center</a:t>
            </a:r>
            <a:r>
              <a:rPr lang="en-GB" sz="700" b="0" dirty="0"/>
              <a:t> for Cancer Immune Therapy (CCIT-DK), Department of Oncology, Copenhagen University Hospital, Herlev, Denmark, </a:t>
            </a:r>
            <a:r>
              <a:rPr lang="en-GB" sz="700" b="0" baseline="30000" dirty="0"/>
              <a:t>6</a:t>
            </a:r>
            <a:r>
              <a:rPr lang="en-GB" sz="700" b="0" dirty="0"/>
              <a:t>Department of Oncology, Odense University Hospital, Odense, Denmark, </a:t>
            </a:r>
            <a:r>
              <a:rPr lang="en-GB" sz="700" b="0" baseline="30000" dirty="0"/>
              <a:t>7</a:t>
            </a:r>
            <a:r>
              <a:rPr lang="en-GB" sz="700" b="0" dirty="0"/>
              <a:t>Department of Dermatology, Venereology and Allergology, University Hospital Essen, Essen, Germany, </a:t>
            </a:r>
            <a:r>
              <a:rPr lang="en-GB" sz="700" b="0" baseline="30000" dirty="0"/>
              <a:t>8</a:t>
            </a:r>
            <a:r>
              <a:rPr lang="en-GB" sz="700" b="0" dirty="0"/>
              <a:t>Skin Cancer and Melanoma </a:t>
            </a:r>
            <a:r>
              <a:rPr lang="en-GB" sz="700" b="0" dirty="0" err="1"/>
              <a:t>Center</a:t>
            </a:r>
            <a:r>
              <a:rPr lang="en-GB" sz="700" b="0" dirty="0"/>
              <a:t> at Davidoff Cancer </a:t>
            </a:r>
            <a:r>
              <a:rPr lang="en-GB" sz="700" b="0" dirty="0" err="1"/>
              <a:t>Center</a:t>
            </a:r>
            <a:r>
              <a:rPr lang="en-GB" sz="700" b="0" dirty="0"/>
              <a:t>, Rabin Medical </a:t>
            </a:r>
            <a:r>
              <a:rPr lang="en-GB" sz="700" b="0" dirty="0" err="1"/>
              <a:t>Center</a:t>
            </a:r>
            <a:r>
              <a:rPr lang="en-GB" sz="700" b="0" dirty="0"/>
              <a:t>, Israel, </a:t>
            </a:r>
            <a:r>
              <a:rPr lang="en-GB" sz="700" b="0" baseline="30000" dirty="0"/>
              <a:t>9</a:t>
            </a:r>
            <a:r>
              <a:rPr lang="en-GB" sz="700" b="0" dirty="0"/>
              <a:t>Military Medical Academy </a:t>
            </a:r>
            <a:r>
              <a:rPr lang="en-GB" sz="700" b="0" dirty="0" err="1"/>
              <a:t>Belgrad</a:t>
            </a:r>
            <a:r>
              <a:rPr lang="en-GB" sz="700" b="0" dirty="0"/>
              <a:t>, </a:t>
            </a:r>
            <a:r>
              <a:rPr lang="en-GB" sz="700" b="0" dirty="0" err="1"/>
              <a:t>Belgrad</a:t>
            </a:r>
            <a:r>
              <a:rPr lang="en-GB" sz="700" b="0" dirty="0"/>
              <a:t>, Serbia, </a:t>
            </a:r>
            <a:r>
              <a:rPr lang="en-GB" sz="700" b="0" baseline="30000" dirty="0"/>
              <a:t>10</a:t>
            </a:r>
            <a:r>
              <a:rPr lang="en-GB" sz="700" b="0" dirty="0"/>
              <a:t>First Department of Medicine, National and </a:t>
            </a:r>
            <a:r>
              <a:rPr lang="en-GB" sz="700" b="0" dirty="0" err="1"/>
              <a:t>Kapodistrian</a:t>
            </a:r>
            <a:r>
              <a:rPr lang="en-GB" sz="700" b="0" dirty="0"/>
              <a:t> University of Athens, Athens, Greece, </a:t>
            </a:r>
            <a:r>
              <a:rPr lang="en-GB" sz="700" b="0" baseline="30000" dirty="0"/>
              <a:t>11</a:t>
            </a:r>
            <a:r>
              <a:rPr lang="en-GB" sz="700" b="0" dirty="0"/>
              <a:t>Division of Medical Oncology, Netherlands Cancer Institute, Amsterdam, Netherlands, </a:t>
            </a:r>
            <a:r>
              <a:rPr lang="en-GB" sz="700" b="0" baseline="30000" dirty="0"/>
              <a:t>12</a:t>
            </a:r>
            <a:r>
              <a:rPr lang="en-GB" sz="700" b="0" dirty="0"/>
              <a:t>Service of Oncology, Hospital U. La Paz, U. </a:t>
            </a:r>
            <a:r>
              <a:rPr lang="en-GB" sz="700" b="0" dirty="0" err="1"/>
              <a:t>Autónoma</a:t>
            </a:r>
            <a:r>
              <a:rPr lang="en-GB" sz="700" b="0" dirty="0"/>
              <a:t> de Madrid, CIBERONC, </a:t>
            </a:r>
            <a:r>
              <a:rPr lang="en-GB" sz="700" b="0" baseline="30000" dirty="0"/>
              <a:t>13</a:t>
            </a:r>
            <a:r>
              <a:rPr lang="en-GB" sz="700" b="0" dirty="0"/>
              <a:t>Department of Soft Tissue/Bone Sarcoma and Melanoma, Maria Sklodowska-Curie National Research Institute of Oncology, Warsaw, Poland, </a:t>
            </a:r>
            <a:r>
              <a:rPr lang="en-GB" sz="700" b="0" baseline="30000" dirty="0"/>
              <a:t>14</a:t>
            </a:r>
            <a:r>
              <a:rPr lang="en-GB" sz="700" b="0" dirty="0"/>
              <a:t>Department of Dermatology, </a:t>
            </a:r>
            <a:r>
              <a:rPr lang="en-GB" sz="700" b="0" dirty="0" err="1"/>
              <a:t>Elbekliniken</a:t>
            </a:r>
            <a:r>
              <a:rPr lang="en-GB" sz="700" b="0" dirty="0"/>
              <a:t> Buxtehude, Buxtehude, Germany</a:t>
            </a:r>
          </a:p>
        </p:txBody>
      </p:sp>
    </p:spTree>
    <p:extLst>
      <p:ext uri="{BB962C8B-B14F-4D97-AF65-F5344CB8AC3E}">
        <p14:creationId xmlns:p14="http://schemas.microsoft.com/office/powerpoint/2010/main" val="17927094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EF52E0-72F7-944D-AEEC-C21A250576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BBA8A5-4502-408D-D068-14E11E79A9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380104"/>
          </a:xfrm>
        </p:spPr>
        <p:txBody>
          <a:bodyPr/>
          <a:lstStyle/>
          <a:p>
            <a:r>
              <a:rPr lang="de-DE"/>
              <a:t>Hintergrund, Studienziel und Method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FAB532F-8238-A583-7A08-F55CDA31D0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CB0E19-F4C8-4F98-96D2-CE1ECDE59975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9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284E0376-D4E9-66AC-9802-FBB49AF265A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b="1" dirty="0"/>
              <a:t>1L/2L </a:t>
            </a:r>
            <a:r>
              <a:rPr lang="de-DE" dirty="0"/>
              <a:t>Erstlinie/Zweitlinie. </a:t>
            </a:r>
            <a:r>
              <a:rPr lang="de-DE" b="1" dirty="0"/>
              <a:t>BRAF </a:t>
            </a:r>
            <a:r>
              <a:rPr lang="de-DE" dirty="0"/>
              <a:t>Serin/Threonin-Kinase B-</a:t>
            </a:r>
            <a:r>
              <a:rPr lang="de-DE" dirty="0" err="1"/>
              <a:t>Raf</a:t>
            </a:r>
            <a:r>
              <a:rPr lang="de-DE" dirty="0"/>
              <a:t>.</a:t>
            </a:r>
            <a:r>
              <a:rPr lang="de-DE" b="1" dirty="0"/>
              <a:t> DCR </a:t>
            </a:r>
            <a:r>
              <a:rPr lang="de-DE" dirty="0"/>
              <a:t>Krankheitskontrollrate. </a:t>
            </a:r>
            <a:r>
              <a:rPr lang="en-US" b="1" dirty="0"/>
              <a:t>ICI </a:t>
            </a:r>
            <a:r>
              <a:rPr lang="en-US" dirty="0" err="1"/>
              <a:t>Immuncheckpoint</a:t>
            </a:r>
            <a:r>
              <a:rPr lang="en-US" dirty="0"/>
              <a:t>-Inhibitor. </a:t>
            </a:r>
            <a:r>
              <a:rPr lang="en-US" b="1" dirty="0"/>
              <a:t>LDH</a:t>
            </a:r>
            <a:r>
              <a:rPr lang="en-US" dirty="0"/>
              <a:t> Laktatdehydrogenase. </a:t>
            </a:r>
            <a:r>
              <a:rPr lang="de-DE" b="1" dirty="0"/>
              <a:t>MEK </a:t>
            </a:r>
            <a:r>
              <a:rPr lang="de-DE" dirty="0" err="1"/>
              <a:t>Mitogen</a:t>
            </a:r>
            <a:r>
              <a:rPr lang="de-DE" dirty="0"/>
              <a:t>-aktivierte Proteinkinase-Kinase. </a:t>
            </a:r>
            <a:br>
              <a:rPr lang="de-DE" dirty="0"/>
            </a:br>
            <a:r>
              <a:rPr lang="de-DE" b="1" dirty="0"/>
              <a:t>ORR </a:t>
            </a:r>
            <a:r>
              <a:rPr lang="de-DE" dirty="0"/>
              <a:t>Gesamtansprechrate. </a:t>
            </a:r>
            <a:r>
              <a:rPr lang="de-DE" b="1" dirty="0">
                <a:solidFill>
                  <a:srgbClr val="000000"/>
                </a:solidFill>
              </a:rPr>
              <a:t>OS</a:t>
            </a:r>
            <a:r>
              <a:rPr lang="de-DE" dirty="0">
                <a:solidFill>
                  <a:srgbClr val="000000"/>
                </a:solidFill>
              </a:rPr>
              <a:t> Gesamtüberleben. </a:t>
            </a:r>
            <a:r>
              <a:rPr lang="de-DE" b="1" dirty="0">
                <a:solidFill>
                  <a:srgbClr val="000000"/>
                </a:solidFill>
              </a:rPr>
              <a:t>PFS </a:t>
            </a:r>
            <a:r>
              <a:rPr lang="de-DE" dirty="0">
                <a:solidFill>
                  <a:srgbClr val="000000"/>
                </a:solidFill>
              </a:rPr>
              <a:t>Progressionsfreies Überleben.</a:t>
            </a:r>
            <a:endParaRPr lang="de-DE" dirty="0"/>
          </a:p>
          <a:p>
            <a:r>
              <a:rPr lang="de-DE" dirty="0" err="1"/>
              <a:t>Weichenthal</a:t>
            </a:r>
            <a:r>
              <a:rPr lang="de-DE" dirty="0"/>
              <a:t> M, et al. ESMO 2025. Poster 1623P. 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B89DF3C-83B5-88DE-EA92-600984C9E237}"/>
              </a:ext>
            </a:extLst>
          </p:cNvPr>
          <p:cNvSpPr txBox="1"/>
          <p:nvPr/>
        </p:nvSpPr>
        <p:spPr>
          <a:xfrm>
            <a:off x="1474433" y="1266082"/>
            <a:ext cx="10298467" cy="35445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intergrun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585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i BRAF V600-mutiertem metastasiertem Melanom ist die Immuncheckpoint-Inhibition (ICI) heute Standard in der Erstlinie (1L). Dennoch erhalten manche Betroffene initial BRAF/MEK-Inhibitoren (BRAF/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Ki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, z. B. bei rasch progredienter Erkrankung oder schlechtem Allgemeinzustand. Es ist unklar, ob ein geplanter Wechsel („Switch“) von BRAF/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Ki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u ICI vor Auftreten einer sekundären Resistenz das klinische Outcome verbesser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rgbClr val="FF585D"/>
              </a:buClr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udienziel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585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ntersuchung des Einflusses eines geplanten Wechsels von BRAF/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Ki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u ICI vor Progression auf das Überleben und die Wirksamkei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rgbClr val="FF585D"/>
              </a:buClr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thode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585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trospektive, multizentrische Registerstudie mit Daten aus dem Europäischen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lanomregister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UMelaReg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585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206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585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400" b="0" i="0" u="none" strike="noStrike" kern="1200" cap="none" spc="0" normalizeH="0" baseline="30000" noProof="0" dirty="0">
              <a:ln>
                <a:noFill/>
              </a:ln>
              <a:solidFill>
                <a:srgbClr val="00206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ABBA50E3-2DC8-3DD5-BACA-9F6C8511CBE8}"/>
              </a:ext>
            </a:extLst>
          </p:cNvPr>
          <p:cNvGrpSpPr/>
          <p:nvPr/>
        </p:nvGrpSpPr>
        <p:grpSpPr>
          <a:xfrm>
            <a:off x="841526" y="4138965"/>
            <a:ext cx="6451687" cy="1890460"/>
            <a:chOff x="3422715" y="1419569"/>
            <a:chExt cx="6451687" cy="1890460"/>
          </a:xfrm>
        </p:grpSpPr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AFE60763-3898-2398-D30A-38CD2E01D611}"/>
                </a:ext>
              </a:extLst>
            </p:cNvPr>
            <p:cNvGrpSpPr/>
            <p:nvPr/>
          </p:nvGrpSpPr>
          <p:grpSpPr>
            <a:xfrm>
              <a:off x="3422715" y="1419569"/>
              <a:ext cx="6451687" cy="1890460"/>
              <a:chOff x="2036823" y="2216080"/>
              <a:chExt cx="6451687" cy="1890460"/>
            </a:xfrm>
          </p:grpSpPr>
          <p:pic>
            <p:nvPicPr>
              <p:cNvPr id="37" name="Grafik 36" descr="Ein Bild, das Kreis, Grafiken, Screenshot, Design enthält.&#10;&#10;KI-generierte Inhalte können fehlerhaft sein.">
                <a:extLst>
                  <a:ext uri="{FF2B5EF4-FFF2-40B4-BE49-F238E27FC236}">
                    <a16:creationId xmlns:a16="http://schemas.microsoft.com/office/drawing/2014/main" id="{285A7B8A-FBA1-798B-A6A2-188990C506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635705" y="2216080"/>
                <a:ext cx="1122717" cy="1122717"/>
              </a:xfrm>
              <a:prstGeom prst="rect">
                <a:avLst/>
              </a:prstGeom>
            </p:spPr>
          </p:pic>
          <p:sp>
            <p:nvSpPr>
              <p:cNvPr id="38" name="Textfeld 37">
                <a:extLst>
                  <a:ext uri="{FF2B5EF4-FFF2-40B4-BE49-F238E27FC236}">
                    <a16:creationId xmlns:a16="http://schemas.microsoft.com/office/drawing/2014/main" id="{1855543F-E5F9-920D-AAC2-204A9AB2FE9F}"/>
                  </a:ext>
                </a:extLst>
              </p:cNvPr>
              <p:cNvSpPr txBox="1"/>
              <p:nvPr/>
            </p:nvSpPr>
            <p:spPr>
              <a:xfrm>
                <a:off x="2036823" y="3090877"/>
                <a:ext cx="2115416" cy="10156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460A9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atient*innen mit BRAF</a:t>
                </a:r>
                <a:r>
                  <a:rPr kumimoji="0" lang="de-DE" sz="1000" b="0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0460A9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V600</a:t>
                </a: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460A9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-mutiertem</a:t>
                </a: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460A9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nicht resezierbarem </a:t>
                </a: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460A9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adium III oder metastasiertem Stadium IV Melanom, die unter </a:t>
                </a:r>
                <a:b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460A9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</a:b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460A9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1L BRAF/</a:t>
                </a:r>
                <a:r>
                  <a:rPr kumimoji="0" lang="de-DE" sz="1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460A9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MEKi</a:t>
                </a: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460A9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Tumorkontrolle (CR/PR/SD) erreichten</a:t>
                </a:r>
              </a:p>
            </p:txBody>
          </p:sp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C69837FD-C02A-AB42-B2A6-FD99FE5D5039}"/>
                  </a:ext>
                </a:extLst>
              </p:cNvPr>
              <p:cNvSpPr txBox="1"/>
              <p:nvPr/>
            </p:nvSpPr>
            <p:spPr>
              <a:xfrm>
                <a:off x="4500430" y="2544384"/>
                <a:ext cx="2095746" cy="6001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defRPr/>
                </a:pPr>
                <a:r>
                  <a:rPr lang="de-DE" sz="1100" b="1" dirty="0">
                    <a:solidFill>
                      <a:srgbClr val="0460A9"/>
                    </a:solidFill>
                  </a:rPr>
                  <a:t>„Switch-Kohorte“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dirty="0">
                    <a:solidFill>
                      <a:srgbClr val="0460A9"/>
                    </a:solidFill>
                    <a:latin typeface="Arial" panose="020B0604020202020204"/>
                  </a:rPr>
                  <a:t>100 Patient*innen wechselten vor Progression zu ICI</a:t>
                </a:r>
              </a:p>
            </p:txBody>
          </p:sp>
          <p:sp>
            <p:nvSpPr>
              <p:cNvPr id="40" name="Textfeld 39">
                <a:extLst>
                  <a:ext uri="{FF2B5EF4-FFF2-40B4-BE49-F238E27FC236}">
                    <a16:creationId xmlns:a16="http://schemas.microsoft.com/office/drawing/2014/main" id="{4376265F-8B52-C836-BBEE-3B2C788CAD0C}"/>
                  </a:ext>
                </a:extLst>
              </p:cNvPr>
              <p:cNvSpPr txBox="1"/>
              <p:nvPr/>
            </p:nvSpPr>
            <p:spPr>
              <a:xfrm>
                <a:off x="6480790" y="3550131"/>
                <a:ext cx="2007720" cy="24622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460A9"/>
                  </a:solidFill>
                  <a:effectLst/>
                  <a:highlight>
                    <a:srgbClr val="FFFF00"/>
                  </a:highlight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cxnSp>
          <p:nvCxnSpPr>
            <p:cNvPr id="32" name="Gerade Verbindung mit Pfeil 31">
              <a:extLst>
                <a:ext uri="{FF2B5EF4-FFF2-40B4-BE49-F238E27FC236}">
                  <a16:creationId xmlns:a16="http://schemas.microsoft.com/office/drawing/2014/main" id="{19C098F0-E521-0CB1-8114-8635D1439F8B}"/>
                </a:ext>
              </a:extLst>
            </p:cNvPr>
            <p:cNvCxnSpPr>
              <a:cxnSpLocks/>
            </p:cNvCxnSpPr>
            <p:nvPr/>
          </p:nvCxnSpPr>
          <p:spPr>
            <a:xfrm>
              <a:off x="5400384" y="2413674"/>
              <a:ext cx="468000" cy="408109"/>
            </a:xfrm>
            <a:prstGeom prst="straightConnector1">
              <a:avLst/>
            </a:prstGeom>
            <a:ln w="12700">
              <a:solidFill>
                <a:schemeClr val="accent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5A357FB1-52D9-F754-7F56-6535BFBB9AD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00384" y="2160689"/>
              <a:ext cx="504000" cy="246411"/>
            </a:xfrm>
            <a:prstGeom prst="straightConnector1">
              <a:avLst/>
            </a:prstGeom>
            <a:ln w="12700">
              <a:solidFill>
                <a:schemeClr val="accent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Textfeld 40">
            <a:extLst>
              <a:ext uri="{FF2B5EF4-FFF2-40B4-BE49-F238E27FC236}">
                <a16:creationId xmlns:a16="http://schemas.microsoft.com/office/drawing/2014/main" id="{A9501F0C-EE69-B49F-40F8-9A0B80B0D346}"/>
              </a:ext>
            </a:extLst>
          </p:cNvPr>
          <p:cNvSpPr txBox="1"/>
          <p:nvPr/>
        </p:nvSpPr>
        <p:spPr>
          <a:xfrm>
            <a:off x="3204926" y="5194036"/>
            <a:ext cx="209574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ntrollkohort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i="0" u="none" strike="noStrike" kern="1200" cap="none" spc="0" normalizeH="0" baseline="0" noProof="0" dirty="0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491 Patient*innen wechselten nicht oder </a:t>
            </a:r>
            <a:r>
              <a:rPr lang="de-DE" sz="1100" dirty="0">
                <a:solidFill>
                  <a:srgbClr val="0460A9"/>
                </a:solidFill>
                <a:latin typeface="Arial" panose="020B0604020202020204"/>
              </a:rPr>
              <a:t>erst nach der Progression zu ICI</a:t>
            </a:r>
            <a:endParaRPr kumimoji="0" lang="de-DE" sz="1100" i="0" u="none" strike="noStrike" kern="1200" cap="none" spc="0" normalizeH="0" baseline="0" noProof="0" dirty="0">
              <a:ln>
                <a:noFill/>
              </a:ln>
              <a:solidFill>
                <a:srgbClr val="0460A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" name="Grafik 2" descr="Lupe Silhouette">
            <a:extLst>
              <a:ext uri="{FF2B5EF4-FFF2-40B4-BE49-F238E27FC236}">
                <a16:creationId xmlns:a16="http://schemas.microsoft.com/office/drawing/2014/main" id="{F8E0A6A4-E130-23A5-B317-24F696BC11E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2" r="42"/>
          <a:stretch/>
        </p:blipFill>
        <p:spPr>
          <a:xfrm>
            <a:off x="7419215" y="4882582"/>
            <a:ext cx="575652" cy="576132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47380E76-EA22-B454-CB0B-96587E12E588}"/>
              </a:ext>
            </a:extLst>
          </p:cNvPr>
          <p:cNvSpPr txBox="1"/>
          <p:nvPr/>
        </p:nvSpPr>
        <p:spPr>
          <a:xfrm>
            <a:off x="8047098" y="4594227"/>
            <a:ext cx="193296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1" i="0" u="none" strike="noStrike" kern="1200" cap="none" spc="0" normalizeH="0" baseline="0" noProof="0" dirty="0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märer Endpunkt: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050" dirty="0">
                <a:solidFill>
                  <a:srgbClr val="0460A9"/>
                </a:solidFill>
                <a:latin typeface="Arial" panose="020B0604020202020204"/>
              </a:rPr>
              <a:t>OS in Switch-Kohorte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de-DE" sz="1050" b="1" i="0" u="none" strike="noStrike" kern="1200" cap="none" spc="0" normalizeH="0" baseline="0" noProof="0" dirty="0">
              <a:ln>
                <a:noFill/>
              </a:ln>
              <a:solidFill>
                <a:srgbClr val="0460A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1" i="0" u="none" strike="noStrike" kern="1200" cap="none" spc="0" normalizeH="0" baseline="0" noProof="0" dirty="0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kundäre Endpunkte: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050" dirty="0">
                <a:solidFill>
                  <a:srgbClr val="0460A9"/>
                </a:solidFill>
                <a:latin typeface="Arial" panose="020B0604020202020204"/>
              </a:rPr>
              <a:t>Ansprechen und PFS unter </a:t>
            </a:r>
            <a:br>
              <a:rPr lang="de-DE" sz="1050" dirty="0">
                <a:solidFill>
                  <a:srgbClr val="0460A9"/>
                </a:solidFill>
                <a:latin typeface="Arial" panose="020B0604020202020204"/>
              </a:rPr>
            </a:br>
            <a:r>
              <a:rPr lang="de-DE" sz="1050" dirty="0">
                <a:solidFill>
                  <a:srgbClr val="0460A9"/>
                </a:solidFill>
                <a:latin typeface="Arial" panose="020B0604020202020204"/>
              </a:rPr>
              <a:t>2L-ICI-Therapie </a:t>
            </a:r>
            <a:br>
              <a:rPr lang="de-DE" sz="1050" dirty="0">
                <a:solidFill>
                  <a:srgbClr val="0460A9"/>
                </a:solidFill>
                <a:latin typeface="Arial" panose="020B0604020202020204"/>
              </a:rPr>
            </a:br>
            <a:endParaRPr kumimoji="0" lang="de-DE" sz="1050" i="0" u="none" strike="noStrike" kern="1200" cap="none" spc="0" normalizeH="0" baseline="0" noProof="0" dirty="0">
              <a:ln>
                <a:noFill/>
              </a:ln>
              <a:solidFill>
                <a:srgbClr val="0460A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80F405BD-0456-1CFD-5271-742DB67D94E6}"/>
              </a:ext>
            </a:extLst>
          </p:cNvPr>
          <p:cNvCxnSpPr>
            <a:cxnSpLocks/>
          </p:cNvCxnSpPr>
          <p:nvPr/>
        </p:nvCxnSpPr>
        <p:spPr>
          <a:xfrm>
            <a:off x="6959005" y="5130245"/>
            <a:ext cx="382148" cy="0"/>
          </a:xfrm>
          <a:prstGeom prst="straightConnector1">
            <a:avLst/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Grafik 5" descr="Ein Bild, das Kreis, Grafiken, Schrift, Logo enthält.&#10;&#10;KI-generierte Inhalte können fehlerhaft sein.">
            <a:extLst>
              <a:ext uri="{FF2B5EF4-FFF2-40B4-BE49-F238E27FC236}">
                <a16:creationId xmlns:a16="http://schemas.microsoft.com/office/drawing/2014/main" id="{EB3766AC-4E30-B68F-B81B-61CBC233B26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321" y="3728767"/>
            <a:ext cx="720000" cy="720000"/>
          </a:xfrm>
          <a:prstGeom prst="rect">
            <a:avLst/>
          </a:prstGeom>
        </p:spPr>
      </p:pic>
      <p:pic>
        <p:nvPicPr>
          <p:cNvPr id="11" name="Grafik 10" descr="Ein Bild, das Kreis, Grafiken enthält.&#10;&#10;KI-generierte Inhalte können fehlerhaft sein.">
            <a:extLst>
              <a:ext uri="{FF2B5EF4-FFF2-40B4-BE49-F238E27FC236}">
                <a16:creationId xmlns:a16="http://schemas.microsoft.com/office/drawing/2014/main" id="{A319C618-495C-4C99-773D-81D2328F92F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321" y="2701065"/>
            <a:ext cx="720000" cy="720000"/>
          </a:xfrm>
          <a:prstGeom prst="rect">
            <a:avLst/>
          </a:prstGeom>
        </p:spPr>
      </p:pic>
      <p:pic>
        <p:nvPicPr>
          <p:cNvPr id="12" name="Grafik 11" descr="Ein Bild, das Kreis, Screenshot, Grafiken, Farbigkeit enthält.&#10;&#10;KI-generierte Inhalte können fehlerhaft sein.">
            <a:extLst>
              <a:ext uri="{FF2B5EF4-FFF2-40B4-BE49-F238E27FC236}">
                <a16:creationId xmlns:a16="http://schemas.microsoft.com/office/drawing/2014/main" id="{19945A19-C999-38C7-09B5-50A5AA3FD66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321" y="1280247"/>
            <a:ext cx="720000" cy="720000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8DBF6CC3-B502-1DCB-2767-1F2525B8C3D6}"/>
              </a:ext>
            </a:extLst>
          </p:cNvPr>
          <p:cNvSpPr txBox="1"/>
          <p:nvPr/>
        </p:nvSpPr>
        <p:spPr>
          <a:xfrm>
            <a:off x="5134053" y="4824795"/>
            <a:ext cx="2007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algn="ctr"/>
            <a:endParaRPr lang="de-DE" dirty="0"/>
          </a:p>
          <a:p>
            <a:pPr algn="ctr"/>
            <a:r>
              <a:rPr lang="de-DE" sz="1100" b="1" dirty="0"/>
              <a:t>1:2 </a:t>
            </a:r>
            <a:r>
              <a:rPr lang="de-DE" sz="1100" b="1" dirty="0" err="1"/>
              <a:t>Propensitiy</a:t>
            </a:r>
            <a:r>
              <a:rPr lang="de-DE" sz="1100" b="1" dirty="0"/>
              <a:t> Score </a:t>
            </a:r>
            <a:r>
              <a:rPr lang="de-DE" sz="1100" b="1" i="1" dirty="0" err="1"/>
              <a:t>Matching</a:t>
            </a:r>
            <a:r>
              <a:rPr lang="de-DE" sz="1100" b="1" i="1" dirty="0"/>
              <a:t> 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E64983E3-8992-4C4C-8840-D61412EB3264}"/>
              </a:ext>
            </a:extLst>
          </p:cNvPr>
          <p:cNvCxnSpPr>
            <a:cxnSpLocks/>
          </p:cNvCxnSpPr>
          <p:nvPr/>
        </p:nvCxnSpPr>
        <p:spPr>
          <a:xfrm>
            <a:off x="4958482" y="5130245"/>
            <a:ext cx="382148" cy="0"/>
          </a:xfrm>
          <a:prstGeom prst="straightConnector1">
            <a:avLst/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48294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96797A-39B9-9613-31E2-88762B9C3F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535DCF-A57A-D15C-E841-65648901E5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10442390" cy="380104"/>
          </a:xfrm>
        </p:spPr>
        <p:txBody>
          <a:bodyPr lIns="0" tIns="0" rIns="0" bIns="0"/>
          <a:lstStyle/>
          <a:p>
            <a:r>
              <a:rPr lang="en-IN" dirty="0" err="1"/>
              <a:t>Überlebensvorteil</a:t>
            </a:r>
            <a:r>
              <a:rPr lang="en-IN" dirty="0"/>
              <a:t> </a:t>
            </a:r>
            <a:r>
              <a:rPr lang="en-IN" dirty="0" err="1"/>
              <a:t>bei</a:t>
            </a:r>
            <a:r>
              <a:rPr lang="en-IN" dirty="0"/>
              <a:t> </a:t>
            </a:r>
            <a:r>
              <a:rPr lang="en-IN" dirty="0" err="1"/>
              <a:t>geplantem</a:t>
            </a:r>
            <a:r>
              <a:rPr lang="en-IN" dirty="0"/>
              <a:t> Switch 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B9B38A0-2B44-F04B-7DDA-CE08D96F8D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CB0E19-F4C8-4F98-96D2-CE1ECDE59975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uk-UA" sz="9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7F6DD738-CB1A-F3D2-6E0D-A143657D87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b="1" dirty="0"/>
              <a:t>1L/2L </a:t>
            </a:r>
            <a:r>
              <a:rPr lang="de-DE" dirty="0"/>
              <a:t>Erstlinie/Zweitlinie. </a:t>
            </a:r>
            <a:r>
              <a:rPr lang="de-DE" b="1" dirty="0"/>
              <a:t>BRAF </a:t>
            </a:r>
            <a:r>
              <a:rPr lang="de-DE" dirty="0"/>
              <a:t>Serin/Threonin-Kinase B-</a:t>
            </a:r>
            <a:r>
              <a:rPr lang="de-DE" dirty="0" err="1"/>
              <a:t>Raf</a:t>
            </a:r>
            <a:r>
              <a:rPr lang="de-DE" dirty="0"/>
              <a:t>.</a:t>
            </a:r>
            <a:r>
              <a:rPr lang="de-DE" b="1" dirty="0"/>
              <a:t> DCR </a:t>
            </a:r>
            <a:r>
              <a:rPr lang="de-DE" dirty="0"/>
              <a:t>Krankheitskontrollrate.</a:t>
            </a:r>
            <a:r>
              <a:rPr lang="de-DE" b="1" dirty="0"/>
              <a:t> KI</a:t>
            </a:r>
            <a:r>
              <a:rPr lang="de-DE" dirty="0"/>
              <a:t> Konfidenzintervall. </a:t>
            </a:r>
            <a:r>
              <a:rPr lang="de-DE" b="1" dirty="0"/>
              <a:t>LDH </a:t>
            </a:r>
            <a:r>
              <a:rPr lang="de-DE" dirty="0"/>
              <a:t>Laktatdehydrogenase. </a:t>
            </a:r>
            <a:r>
              <a:rPr lang="de-DE" b="1" dirty="0"/>
              <a:t>MEK </a:t>
            </a:r>
            <a:r>
              <a:rPr lang="de-DE" dirty="0" err="1"/>
              <a:t>Mitogen</a:t>
            </a:r>
            <a:r>
              <a:rPr lang="de-DE" dirty="0"/>
              <a:t>-aktivierte Proteinkinase-Kinase. </a:t>
            </a:r>
            <a:r>
              <a:rPr lang="de-DE" b="1" dirty="0"/>
              <a:t>ORR </a:t>
            </a:r>
            <a:r>
              <a:rPr lang="de-DE" dirty="0"/>
              <a:t>Gesamtansprechrate. </a:t>
            </a:r>
            <a:r>
              <a:rPr lang="de-DE" b="1" dirty="0"/>
              <a:t>OS</a:t>
            </a:r>
            <a:r>
              <a:rPr lang="de-DE" dirty="0"/>
              <a:t> Gesamtüberleben</a:t>
            </a:r>
            <a:r>
              <a:rPr lang="en-IN" dirty="0">
                <a:solidFill>
                  <a:srgbClr val="000000"/>
                </a:solidFill>
                <a:ea typeface="MS PGothic" panose="020B0600070205080204" pitchFamily="34" charset="-128"/>
              </a:rPr>
              <a:t>.</a:t>
            </a:r>
            <a:r>
              <a:rPr lang="en-US" b="1" dirty="0">
                <a:solidFill>
                  <a:srgbClr val="000000"/>
                </a:solidFill>
              </a:rPr>
              <a:t> PFS </a:t>
            </a:r>
            <a:r>
              <a:rPr lang="en-US" dirty="0" err="1">
                <a:solidFill>
                  <a:srgbClr val="000000"/>
                </a:solidFill>
              </a:rPr>
              <a:t>Progressionsfreies</a:t>
            </a:r>
            <a:r>
              <a:rPr lang="en-US" dirty="0">
                <a:solidFill>
                  <a:srgbClr val="000000"/>
                </a:solidFill>
              </a:rPr>
              <a:t> </a:t>
            </a:r>
            <a:r>
              <a:rPr lang="en-US" dirty="0" err="1">
                <a:solidFill>
                  <a:srgbClr val="000000"/>
                </a:solidFill>
              </a:rPr>
              <a:t>Überleben</a:t>
            </a:r>
            <a:r>
              <a:rPr lang="en-US" dirty="0">
                <a:solidFill>
                  <a:srgbClr val="000000"/>
                </a:solidFill>
              </a:rPr>
              <a:t>.</a:t>
            </a:r>
          </a:p>
          <a:p>
            <a:r>
              <a:rPr lang="de-DE" dirty="0" err="1"/>
              <a:t>Weichenthal</a:t>
            </a:r>
            <a:r>
              <a:rPr lang="de-DE" dirty="0"/>
              <a:t> M, et al. ESMO 2025. Poster 1623P.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1C5EB85-D725-A674-7615-E6C27F65C7CF}"/>
              </a:ext>
            </a:extLst>
          </p:cNvPr>
          <p:cNvSpPr txBox="1"/>
          <p:nvPr/>
        </p:nvSpPr>
        <p:spPr>
          <a:xfrm>
            <a:off x="-126474" y="1582385"/>
            <a:ext cx="525870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 ab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ginn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er 1L BRAF/MEKi-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rapie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endParaRPr kumimoji="0" lang="en-IN" sz="1600" b="1" i="0" u="none" strike="noStrike" kern="1200" cap="none" spc="0" normalizeH="0" baseline="0" noProof="0" dirty="0">
              <a:ln>
                <a:noFill/>
              </a:ln>
              <a:solidFill>
                <a:srgbClr val="0460A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1235D38-A410-2B2F-798C-9893AD4BBAA5}"/>
              </a:ext>
            </a:extLst>
          </p:cNvPr>
          <p:cNvSpPr txBox="1"/>
          <p:nvPr/>
        </p:nvSpPr>
        <p:spPr>
          <a:xfrm>
            <a:off x="5238749" y="1599788"/>
            <a:ext cx="341708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FS ab Beginn der 2L ICI-Therapie </a:t>
            </a:r>
          </a:p>
        </p:txBody>
      </p:sp>
      <p:sp>
        <p:nvSpPr>
          <p:cNvPr id="22" name="Rectangle 21">
            <a:hlinkClick r:id="rId3"/>
            <a:extLst>
              <a:ext uri="{FF2B5EF4-FFF2-40B4-BE49-F238E27FC236}">
                <a16:creationId xmlns:a16="http://schemas.microsoft.com/office/drawing/2014/main" id="{01F802CF-6338-DC66-417B-BF73037AD826}"/>
              </a:ext>
            </a:extLst>
          </p:cNvPr>
          <p:cNvSpPr/>
          <p:nvPr/>
        </p:nvSpPr>
        <p:spPr>
          <a:xfrm>
            <a:off x="11772899" y="1219298"/>
            <a:ext cx="419101" cy="3732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extBox 2">
            <a:hlinkClick r:id="rId4" action="ppaction://hlinksldjump"/>
            <a:extLst>
              <a:ext uri="{FF2B5EF4-FFF2-40B4-BE49-F238E27FC236}">
                <a16:creationId xmlns:a16="http://schemas.microsoft.com/office/drawing/2014/main" id="{CCC58A45-3E64-F4B3-D1E4-47E5074EB607}"/>
              </a:ext>
            </a:extLst>
          </p:cNvPr>
          <p:cNvSpPr txBox="1"/>
          <p:nvPr/>
        </p:nvSpPr>
        <p:spPr>
          <a:xfrm>
            <a:off x="11772900" y="392505"/>
            <a:ext cx="419102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extBox 3">
            <a:hlinkClick r:id="rId5" action="ppaction://hlinksldjump"/>
            <a:extLst>
              <a:ext uri="{FF2B5EF4-FFF2-40B4-BE49-F238E27FC236}">
                <a16:creationId xmlns:a16="http://schemas.microsoft.com/office/drawing/2014/main" id="{9E50B78E-E794-6631-6380-4CC4AFF6C5C9}"/>
              </a:ext>
            </a:extLst>
          </p:cNvPr>
          <p:cNvSpPr txBox="1"/>
          <p:nvPr/>
        </p:nvSpPr>
        <p:spPr>
          <a:xfrm>
            <a:off x="11772898" y="7522"/>
            <a:ext cx="419102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BD601932-683D-73D5-6959-672180BFD368}"/>
              </a:ext>
            </a:extLst>
          </p:cNvPr>
          <p:cNvSpPr txBox="1">
            <a:spLocks/>
          </p:cNvSpPr>
          <p:nvPr/>
        </p:nvSpPr>
        <p:spPr>
          <a:xfrm>
            <a:off x="9693961" y="6681546"/>
            <a:ext cx="1931619" cy="107722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 reactive use only - Not for further distribution</a:t>
            </a:r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9C276A61-F3D6-99D8-A038-9306B34B483D}"/>
              </a:ext>
            </a:extLst>
          </p:cNvPr>
          <p:cNvSpPr txBox="1"/>
          <p:nvPr/>
        </p:nvSpPr>
        <p:spPr>
          <a:xfrm>
            <a:off x="934833" y="5160279"/>
            <a:ext cx="7987494" cy="664012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lvl="1" indent="285750">
              <a:spcAft>
                <a:spcPts val="600"/>
              </a:spcAft>
              <a:buClr>
                <a:srgbClr val="FF585D"/>
              </a:buClr>
              <a:buFont typeface="Arial" panose="020B0604020202020204" pitchFamily="34" charset="0"/>
              <a:buChar char="•"/>
              <a:defRPr/>
            </a:pPr>
            <a:r>
              <a:rPr lang="de-DE" sz="1400" dirty="0">
                <a:solidFill>
                  <a:srgbClr val="002068"/>
                </a:solidFill>
              </a:rPr>
              <a:t>Signifikant längeres medianes OS und PFS in der Switch- vs. Kontrollkohorte</a:t>
            </a:r>
          </a:p>
          <a:p>
            <a:pPr marL="0" lvl="1" indent="285750">
              <a:spcAft>
                <a:spcPts val="600"/>
              </a:spcAft>
              <a:buClr>
                <a:srgbClr val="FF585D"/>
              </a:buClr>
              <a:buFont typeface="Arial" panose="020B0604020202020204" pitchFamily="34" charset="0"/>
              <a:buChar char="•"/>
              <a:defRPr/>
            </a:pPr>
            <a:r>
              <a:rPr lang="de-DE" sz="1400" dirty="0">
                <a:solidFill>
                  <a:srgbClr val="002068"/>
                </a:solidFill>
              </a:rPr>
              <a:t>Vergleichbares Ansprechen auf 2L ICI (</a:t>
            </a:r>
            <a:r>
              <a:rPr lang="de-DE" sz="1400" b="1" dirty="0">
                <a:solidFill>
                  <a:srgbClr val="002068"/>
                </a:solidFill>
              </a:rPr>
              <a:t>ORR</a:t>
            </a:r>
            <a:r>
              <a:rPr lang="de-DE" sz="1400" dirty="0">
                <a:solidFill>
                  <a:srgbClr val="002068"/>
                </a:solidFill>
              </a:rPr>
              <a:t>: 34 % (Switch) vs. 24 % (Kontrolle); p = 0,13)</a:t>
            </a:r>
          </a:p>
        </p:txBody>
      </p:sp>
      <p:grpSp>
        <p:nvGrpSpPr>
          <p:cNvPr id="301" name="Gruppieren 300">
            <a:extLst>
              <a:ext uri="{FF2B5EF4-FFF2-40B4-BE49-F238E27FC236}">
                <a16:creationId xmlns:a16="http://schemas.microsoft.com/office/drawing/2014/main" id="{3316E3E7-AFBB-EA1D-1166-E10DBE314ACE}"/>
              </a:ext>
            </a:extLst>
          </p:cNvPr>
          <p:cNvGrpSpPr/>
          <p:nvPr/>
        </p:nvGrpSpPr>
        <p:grpSpPr>
          <a:xfrm>
            <a:off x="1238405" y="2092157"/>
            <a:ext cx="2924639" cy="1568668"/>
            <a:chOff x="1238405" y="2092157"/>
            <a:chExt cx="2924639" cy="1568668"/>
          </a:xfrm>
        </p:grpSpPr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5A0EA7C5-9112-5E29-5C3F-2991BF7795D2}"/>
                </a:ext>
              </a:extLst>
            </p:cNvPr>
            <p:cNvSpPr/>
            <p:nvPr/>
          </p:nvSpPr>
          <p:spPr>
            <a:xfrm>
              <a:off x="1238405" y="2094444"/>
              <a:ext cx="2920954" cy="1145943"/>
            </a:xfrm>
            <a:custGeom>
              <a:avLst/>
              <a:gdLst>
                <a:gd name="connsiteX0" fmla="*/ 0 w 2920954"/>
                <a:gd name="connsiteY0" fmla="*/ 0 h 1145943"/>
                <a:gd name="connsiteX1" fmla="*/ 206344 w 2920954"/>
                <a:gd name="connsiteY1" fmla="*/ 0 h 1145943"/>
                <a:gd name="connsiteX2" fmla="*/ 206344 w 2920954"/>
                <a:gd name="connsiteY2" fmla="*/ 13214 h 1145943"/>
                <a:gd name="connsiteX3" fmla="*/ 284485 w 2920954"/>
                <a:gd name="connsiteY3" fmla="*/ 13214 h 1145943"/>
                <a:gd name="connsiteX4" fmla="*/ 284485 w 2920954"/>
                <a:gd name="connsiteY4" fmla="*/ 56922 h 1145943"/>
                <a:gd name="connsiteX5" fmla="*/ 335308 w 2920954"/>
                <a:gd name="connsiteY5" fmla="*/ 56922 h 1145943"/>
                <a:gd name="connsiteX6" fmla="*/ 335308 w 2920954"/>
                <a:gd name="connsiteY6" fmla="*/ 84367 h 1145943"/>
                <a:gd name="connsiteX7" fmla="*/ 363769 w 2920954"/>
                <a:gd name="connsiteY7" fmla="*/ 84367 h 1145943"/>
                <a:gd name="connsiteX8" fmla="*/ 363769 w 2920954"/>
                <a:gd name="connsiteY8" fmla="*/ 99487 h 1145943"/>
                <a:gd name="connsiteX9" fmla="*/ 427807 w 2920954"/>
                <a:gd name="connsiteY9" fmla="*/ 99487 h 1145943"/>
                <a:gd name="connsiteX10" fmla="*/ 427807 w 2920954"/>
                <a:gd name="connsiteY10" fmla="*/ 143195 h 1145943"/>
                <a:gd name="connsiteX11" fmla="*/ 452202 w 2920954"/>
                <a:gd name="connsiteY11" fmla="*/ 143195 h 1145943"/>
                <a:gd name="connsiteX12" fmla="*/ 452202 w 2920954"/>
                <a:gd name="connsiteY12" fmla="*/ 168607 h 1145943"/>
                <a:gd name="connsiteX13" fmla="*/ 510014 w 2920954"/>
                <a:gd name="connsiteY13" fmla="*/ 168607 h 1145943"/>
                <a:gd name="connsiteX14" fmla="*/ 510014 w 2920954"/>
                <a:gd name="connsiteY14" fmla="*/ 187920 h 1145943"/>
                <a:gd name="connsiteX15" fmla="*/ 553722 w 2920954"/>
                <a:gd name="connsiteY15" fmla="*/ 187920 h 1145943"/>
                <a:gd name="connsiteX16" fmla="*/ 553722 w 2920954"/>
                <a:gd name="connsiteY16" fmla="*/ 212315 h 1145943"/>
                <a:gd name="connsiteX17" fmla="*/ 590315 w 2920954"/>
                <a:gd name="connsiteY17" fmla="*/ 212315 h 1145943"/>
                <a:gd name="connsiteX18" fmla="*/ 590315 w 2920954"/>
                <a:gd name="connsiteY18" fmla="*/ 229595 h 1145943"/>
                <a:gd name="connsiteX19" fmla="*/ 614711 w 2920954"/>
                <a:gd name="connsiteY19" fmla="*/ 229595 h 1145943"/>
                <a:gd name="connsiteX20" fmla="*/ 614711 w 2920954"/>
                <a:gd name="connsiteY20" fmla="*/ 251958 h 1145943"/>
                <a:gd name="connsiteX21" fmla="*/ 720423 w 2920954"/>
                <a:gd name="connsiteY21" fmla="*/ 251958 h 1145943"/>
                <a:gd name="connsiteX22" fmla="*/ 720423 w 2920954"/>
                <a:gd name="connsiteY22" fmla="*/ 273304 h 1145943"/>
                <a:gd name="connsiteX23" fmla="*/ 735543 w 2920954"/>
                <a:gd name="connsiteY23" fmla="*/ 273304 h 1145943"/>
                <a:gd name="connsiteX24" fmla="*/ 735543 w 2920954"/>
                <a:gd name="connsiteY24" fmla="*/ 286518 h 1145943"/>
                <a:gd name="connsiteX25" fmla="*/ 757906 w 2920954"/>
                <a:gd name="connsiteY25" fmla="*/ 286518 h 1145943"/>
                <a:gd name="connsiteX26" fmla="*/ 757906 w 2920954"/>
                <a:gd name="connsiteY26" fmla="*/ 320061 h 1145943"/>
                <a:gd name="connsiteX27" fmla="*/ 765021 w 2920954"/>
                <a:gd name="connsiteY27" fmla="*/ 320061 h 1145943"/>
                <a:gd name="connsiteX28" fmla="*/ 765021 w 2920954"/>
                <a:gd name="connsiteY28" fmla="*/ 353478 h 1145943"/>
                <a:gd name="connsiteX29" fmla="*/ 782301 w 2920954"/>
                <a:gd name="connsiteY29" fmla="*/ 353478 h 1145943"/>
                <a:gd name="connsiteX30" fmla="*/ 782301 w 2920954"/>
                <a:gd name="connsiteY30" fmla="*/ 401252 h 1145943"/>
                <a:gd name="connsiteX31" fmla="*/ 791449 w 2920954"/>
                <a:gd name="connsiteY31" fmla="*/ 401252 h 1145943"/>
                <a:gd name="connsiteX32" fmla="*/ 791449 w 2920954"/>
                <a:gd name="connsiteY32" fmla="*/ 417515 h 1145943"/>
                <a:gd name="connsiteX33" fmla="*/ 890047 w 2920954"/>
                <a:gd name="connsiteY33" fmla="*/ 417515 h 1145943"/>
                <a:gd name="connsiteX34" fmla="*/ 890047 w 2920954"/>
                <a:gd name="connsiteY34" fmla="*/ 462240 h 1145943"/>
                <a:gd name="connsiteX35" fmla="*/ 922574 w 2920954"/>
                <a:gd name="connsiteY35" fmla="*/ 462240 h 1145943"/>
                <a:gd name="connsiteX36" fmla="*/ 922574 w 2920954"/>
                <a:gd name="connsiteY36" fmla="*/ 501882 h 1145943"/>
                <a:gd name="connsiteX37" fmla="*/ 950019 w 2920954"/>
                <a:gd name="connsiteY37" fmla="*/ 501882 h 1145943"/>
                <a:gd name="connsiteX38" fmla="*/ 950019 w 2920954"/>
                <a:gd name="connsiteY38" fmla="*/ 531360 h 1145943"/>
                <a:gd name="connsiteX39" fmla="*/ 1025111 w 2920954"/>
                <a:gd name="connsiteY39" fmla="*/ 531360 h 1145943"/>
                <a:gd name="connsiteX40" fmla="*/ 1025111 w 2920954"/>
                <a:gd name="connsiteY40" fmla="*/ 552706 h 1145943"/>
                <a:gd name="connsiteX41" fmla="*/ 1103379 w 2920954"/>
                <a:gd name="connsiteY41" fmla="*/ 552706 h 1145943"/>
                <a:gd name="connsiteX42" fmla="*/ 1103379 w 2920954"/>
                <a:gd name="connsiteY42" fmla="*/ 568969 h 1145943"/>
                <a:gd name="connsiteX43" fmla="*/ 1155219 w 2920954"/>
                <a:gd name="connsiteY43" fmla="*/ 568969 h 1145943"/>
                <a:gd name="connsiteX44" fmla="*/ 1155219 w 2920954"/>
                <a:gd name="connsiteY44" fmla="*/ 615600 h 1145943"/>
                <a:gd name="connsiteX45" fmla="*/ 1155219 w 2920954"/>
                <a:gd name="connsiteY45" fmla="*/ 689802 h 1145943"/>
                <a:gd name="connsiteX46" fmla="*/ 1220273 w 2920954"/>
                <a:gd name="connsiteY46" fmla="*/ 689802 h 1145943"/>
                <a:gd name="connsiteX47" fmla="*/ 1220273 w 2920954"/>
                <a:gd name="connsiteY47" fmla="*/ 711148 h 1145943"/>
                <a:gd name="connsiteX48" fmla="*/ 1254706 w 2920954"/>
                <a:gd name="connsiteY48" fmla="*/ 711148 h 1145943"/>
                <a:gd name="connsiteX49" fmla="*/ 1254706 w 2920954"/>
                <a:gd name="connsiteY49" fmla="*/ 737577 h 1145943"/>
                <a:gd name="connsiteX50" fmla="*/ 1380748 w 2920954"/>
                <a:gd name="connsiteY50" fmla="*/ 737577 h 1145943"/>
                <a:gd name="connsiteX51" fmla="*/ 1380748 w 2920954"/>
                <a:gd name="connsiteY51" fmla="*/ 760955 h 1145943"/>
                <a:gd name="connsiteX52" fmla="*/ 1403111 w 2920954"/>
                <a:gd name="connsiteY52" fmla="*/ 760955 h 1145943"/>
                <a:gd name="connsiteX53" fmla="*/ 1403111 w 2920954"/>
                <a:gd name="connsiteY53" fmla="*/ 780268 h 1145943"/>
                <a:gd name="connsiteX54" fmla="*/ 1498532 w 2920954"/>
                <a:gd name="connsiteY54" fmla="*/ 780268 h 1145943"/>
                <a:gd name="connsiteX55" fmla="*/ 1498532 w 2920954"/>
                <a:gd name="connsiteY55" fmla="*/ 809746 h 1145943"/>
                <a:gd name="connsiteX56" fmla="*/ 1553421 w 2920954"/>
                <a:gd name="connsiteY56" fmla="*/ 809746 h 1145943"/>
                <a:gd name="connsiteX57" fmla="*/ 1553421 w 2920954"/>
                <a:gd name="connsiteY57" fmla="*/ 836174 h 1145943"/>
                <a:gd name="connsiteX58" fmla="*/ 1566635 w 2920954"/>
                <a:gd name="connsiteY58" fmla="*/ 836174 h 1145943"/>
                <a:gd name="connsiteX59" fmla="*/ 1566635 w 2920954"/>
                <a:gd name="connsiteY59" fmla="*/ 859426 h 1145943"/>
                <a:gd name="connsiteX60" fmla="*/ 1676414 w 2920954"/>
                <a:gd name="connsiteY60" fmla="*/ 859426 h 1145943"/>
                <a:gd name="connsiteX61" fmla="*/ 1676414 w 2920954"/>
                <a:gd name="connsiteY61" fmla="*/ 876706 h 1145943"/>
                <a:gd name="connsiteX62" fmla="*/ 1856202 w 2920954"/>
                <a:gd name="connsiteY62" fmla="*/ 876706 h 1145943"/>
                <a:gd name="connsiteX63" fmla="*/ 1856202 w 2920954"/>
                <a:gd name="connsiteY63" fmla="*/ 904151 h 1145943"/>
                <a:gd name="connsiteX64" fmla="*/ 1927355 w 2920954"/>
                <a:gd name="connsiteY64" fmla="*/ 904151 h 1145943"/>
                <a:gd name="connsiteX65" fmla="*/ 1927355 w 2920954"/>
                <a:gd name="connsiteY65" fmla="*/ 928546 h 1145943"/>
                <a:gd name="connsiteX66" fmla="*/ 2216922 w 2920954"/>
                <a:gd name="connsiteY66" fmla="*/ 928546 h 1145943"/>
                <a:gd name="connsiteX67" fmla="*/ 2216922 w 2920954"/>
                <a:gd name="connsiteY67" fmla="*/ 962089 h 1145943"/>
                <a:gd name="connsiteX68" fmla="*/ 2272701 w 2920954"/>
                <a:gd name="connsiteY68" fmla="*/ 962089 h 1145943"/>
                <a:gd name="connsiteX69" fmla="*/ 2272701 w 2920954"/>
                <a:gd name="connsiteY69" fmla="*/ 990551 h 1145943"/>
                <a:gd name="connsiteX70" fmla="*/ 2462781 w 2920954"/>
                <a:gd name="connsiteY70" fmla="*/ 990551 h 1145943"/>
                <a:gd name="connsiteX71" fmla="*/ 2462781 w 2920954"/>
                <a:gd name="connsiteY71" fmla="*/ 1022061 h 1145943"/>
                <a:gd name="connsiteX72" fmla="*/ 2531774 w 2920954"/>
                <a:gd name="connsiteY72" fmla="*/ 1022061 h 1145943"/>
                <a:gd name="connsiteX73" fmla="*/ 2531774 w 2920954"/>
                <a:gd name="connsiteY73" fmla="*/ 1045440 h 1145943"/>
                <a:gd name="connsiteX74" fmla="*/ 2567350 w 2920954"/>
                <a:gd name="connsiteY74" fmla="*/ 1045440 h 1145943"/>
                <a:gd name="connsiteX75" fmla="*/ 2567350 w 2920954"/>
                <a:gd name="connsiteY75" fmla="*/ 1096264 h 1145943"/>
                <a:gd name="connsiteX76" fmla="*/ 2580564 w 2920954"/>
                <a:gd name="connsiteY76" fmla="*/ 1096264 h 1145943"/>
                <a:gd name="connsiteX77" fmla="*/ 2580564 w 2920954"/>
                <a:gd name="connsiteY77" fmla="*/ 1107318 h 1145943"/>
                <a:gd name="connsiteX78" fmla="*/ 2901642 w 2920954"/>
                <a:gd name="connsiteY78" fmla="*/ 1107318 h 1145943"/>
                <a:gd name="connsiteX79" fmla="*/ 2901642 w 2920954"/>
                <a:gd name="connsiteY79" fmla="*/ 1145944 h 1145943"/>
                <a:gd name="connsiteX80" fmla="*/ 2920955 w 2920954"/>
                <a:gd name="connsiteY80" fmla="*/ 1145944 h 1145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2920954" h="1145943">
                  <a:moveTo>
                    <a:pt x="0" y="0"/>
                  </a:moveTo>
                  <a:lnTo>
                    <a:pt x="206344" y="0"/>
                  </a:lnTo>
                  <a:lnTo>
                    <a:pt x="206344" y="13214"/>
                  </a:lnTo>
                  <a:lnTo>
                    <a:pt x="284485" y="13214"/>
                  </a:lnTo>
                  <a:lnTo>
                    <a:pt x="284485" y="56922"/>
                  </a:lnTo>
                  <a:lnTo>
                    <a:pt x="335308" y="56922"/>
                  </a:lnTo>
                  <a:lnTo>
                    <a:pt x="335308" y="84367"/>
                  </a:lnTo>
                  <a:lnTo>
                    <a:pt x="363769" y="84367"/>
                  </a:lnTo>
                  <a:lnTo>
                    <a:pt x="363769" y="99487"/>
                  </a:lnTo>
                  <a:lnTo>
                    <a:pt x="427807" y="99487"/>
                  </a:lnTo>
                  <a:lnTo>
                    <a:pt x="427807" y="143195"/>
                  </a:lnTo>
                  <a:lnTo>
                    <a:pt x="452202" y="143195"/>
                  </a:lnTo>
                  <a:lnTo>
                    <a:pt x="452202" y="168607"/>
                  </a:lnTo>
                  <a:lnTo>
                    <a:pt x="510014" y="168607"/>
                  </a:lnTo>
                  <a:lnTo>
                    <a:pt x="510014" y="187920"/>
                  </a:lnTo>
                  <a:lnTo>
                    <a:pt x="553722" y="187920"/>
                  </a:lnTo>
                  <a:lnTo>
                    <a:pt x="553722" y="212315"/>
                  </a:lnTo>
                  <a:lnTo>
                    <a:pt x="590315" y="212315"/>
                  </a:lnTo>
                  <a:lnTo>
                    <a:pt x="590315" y="229595"/>
                  </a:lnTo>
                  <a:lnTo>
                    <a:pt x="614711" y="229595"/>
                  </a:lnTo>
                  <a:lnTo>
                    <a:pt x="614711" y="251958"/>
                  </a:lnTo>
                  <a:lnTo>
                    <a:pt x="720423" y="251958"/>
                  </a:lnTo>
                  <a:lnTo>
                    <a:pt x="720423" y="273304"/>
                  </a:lnTo>
                  <a:lnTo>
                    <a:pt x="735543" y="273304"/>
                  </a:lnTo>
                  <a:lnTo>
                    <a:pt x="735543" y="286518"/>
                  </a:lnTo>
                  <a:lnTo>
                    <a:pt x="757906" y="286518"/>
                  </a:lnTo>
                  <a:lnTo>
                    <a:pt x="757906" y="320061"/>
                  </a:lnTo>
                  <a:lnTo>
                    <a:pt x="765021" y="320061"/>
                  </a:lnTo>
                  <a:lnTo>
                    <a:pt x="765021" y="353478"/>
                  </a:lnTo>
                  <a:lnTo>
                    <a:pt x="782301" y="353478"/>
                  </a:lnTo>
                  <a:lnTo>
                    <a:pt x="782301" y="401252"/>
                  </a:lnTo>
                  <a:lnTo>
                    <a:pt x="791449" y="401252"/>
                  </a:lnTo>
                  <a:lnTo>
                    <a:pt x="791449" y="417515"/>
                  </a:lnTo>
                  <a:lnTo>
                    <a:pt x="890047" y="417515"/>
                  </a:lnTo>
                  <a:lnTo>
                    <a:pt x="890047" y="462240"/>
                  </a:lnTo>
                  <a:lnTo>
                    <a:pt x="922574" y="462240"/>
                  </a:lnTo>
                  <a:lnTo>
                    <a:pt x="922574" y="501882"/>
                  </a:lnTo>
                  <a:lnTo>
                    <a:pt x="950019" y="501882"/>
                  </a:lnTo>
                  <a:lnTo>
                    <a:pt x="950019" y="531360"/>
                  </a:lnTo>
                  <a:lnTo>
                    <a:pt x="1025111" y="531360"/>
                  </a:lnTo>
                  <a:lnTo>
                    <a:pt x="1025111" y="552706"/>
                  </a:lnTo>
                  <a:lnTo>
                    <a:pt x="1103379" y="552706"/>
                  </a:lnTo>
                  <a:lnTo>
                    <a:pt x="1103379" y="568969"/>
                  </a:lnTo>
                  <a:lnTo>
                    <a:pt x="1155219" y="568969"/>
                  </a:lnTo>
                  <a:lnTo>
                    <a:pt x="1155219" y="615600"/>
                  </a:lnTo>
                  <a:lnTo>
                    <a:pt x="1155219" y="689802"/>
                  </a:lnTo>
                  <a:lnTo>
                    <a:pt x="1220273" y="689802"/>
                  </a:lnTo>
                  <a:lnTo>
                    <a:pt x="1220273" y="711148"/>
                  </a:lnTo>
                  <a:lnTo>
                    <a:pt x="1254706" y="711148"/>
                  </a:lnTo>
                  <a:lnTo>
                    <a:pt x="1254706" y="737577"/>
                  </a:lnTo>
                  <a:lnTo>
                    <a:pt x="1380748" y="737577"/>
                  </a:lnTo>
                  <a:lnTo>
                    <a:pt x="1380748" y="760955"/>
                  </a:lnTo>
                  <a:lnTo>
                    <a:pt x="1403111" y="760955"/>
                  </a:lnTo>
                  <a:lnTo>
                    <a:pt x="1403111" y="780268"/>
                  </a:lnTo>
                  <a:lnTo>
                    <a:pt x="1498532" y="780268"/>
                  </a:lnTo>
                  <a:lnTo>
                    <a:pt x="1498532" y="809746"/>
                  </a:lnTo>
                  <a:lnTo>
                    <a:pt x="1553421" y="809746"/>
                  </a:lnTo>
                  <a:lnTo>
                    <a:pt x="1553421" y="836174"/>
                  </a:lnTo>
                  <a:lnTo>
                    <a:pt x="1566635" y="836174"/>
                  </a:lnTo>
                  <a:lnTo>
                    <a:pt x="1566635" y="859426"/>
                  </a:lnTo>
                  <a:lnTo>
                    <a:pt x="1676414" y="859426"/>
                  </a:lnTo>
                  <a:lnTo>
                    <a:pt x="1676414" y="876706"/>
                  </a:lnTo>
                  <a:lnTo>
                    <a:pt x="1856202" y="876706"/>
                  </a:lnTo>
                  <a:lnTo>
                    <a:pt x="1856202" y="904151"/>
                  </a:lnTo>
                  <a:lnTo>
                    <a:pt x="1927355" y="904151"/>
                  </a:lnTo>
                  <a:lnTo>
                    <a:pt x="1927355" y="928546"/>
                  </a:lnTo>
                  <a:lnTo>
                    <a:pt x="2216922" y="928546"/>
                  </a:lnTo>
                  <a:lnTo>
                    <a:pt x="2216922" y="962089"/>
                  </a:lnTo>
                  <a:lnTo>
                    <a:pt x="2272701" y="962089"/>
                  </a:lnTo>
                  <a:lnTo>
                    <a:pt x="2272701" y="990551"/>
                  </a:lnTo>
                  <a:lnTo>
                    <a:pt x="2462781" y="990551"/>
                  </a:lnTo>
                  <a:lnTo>
                    <a:pt x="2462781" y="1022061"/>
                  </a:lnTo>
                  <a:lnTo>
                    <a:pt x="2531774" y="1022061"/>
                  </a:lnTo>
                  <a:lnTo>
                    <a:pt x="2531774" y="1045440"/>
                  </a:lnTo>
                  <a:lnTo>
                    <a:pt x="2567350" y="1045440"/>
                  </a:lnTo>
                  <a:lnTo>
                    <a:pt x="2567350" y="1096264"/>
                  </a:lnTo>
                  <a:lnTo>
                    <a:pt x="2580564" y="1096264"/>
                  </a:lnTo>
                  <a:lnTo>
                    <a:pt x="2580564" y="1107318"/>
                  </a:lnTo>
                  <a:lnTo>
                    <a:pt x="2901642" y="1107318"/>
                  </a:lnTo>
                  <a:lnTo>
                    <a:pt x="2901642" y="1145944"/>
                  </a:lnTo>
                  <a:lnTo>
                    <a:pt x="2920955" y="1145944"/>
                  </a:lnTo>
                </a:path>
              </a:pathLst>
            </a:custGeom>
            <a:noFill/>
            <a:ln w="12686" cap="flat">
              <a:solidFill>
                <a:srgbClr val="0460A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7B41033A-111A-D455-18C2-A53653CD7F7A}"/>
                </a:ext>
              </a:extLst>
            </p:cNvPr>
            <p:cNvSpPr/>
            <p:nvPr/>
          </p:nvSpPr>
          <p:spPr>
            <a:xfrm>
              <a:off x="1449831" y="2106642"/>
              <a:ext cx="2705463" cy="1389769"/>
            </a:xfrm>
            <a:custGeom>
              <a:avLst/>
              <a:gdLst>
                <a:gd name="connsiteX0" fmla="*/ 2705463 w 2705463"/>
                <a:gd name="connsiteY0" fmla="*/ 1389769 h 1389769"/>
                <a:gd name="connsiteX1" fmla="*/ 2696315 w 2705463"/>
                <a:gd name="connsiteY1" fmla="*/ 1389769 h 1389769"/>
                <a:gd name="connsiteX2" fmla="*/ 2696315 w 2705463"/>
                <a:gd name="connsiteY2" fmla="*/ 1363341 h 1389769"/>
                <a:gd name="connsiteX3" fmla="*/ 2351859 w 2705463"/>
                <a:gd name="connsiteY3" fmla="*/ 1363341 h 1389769"/>
                <a:gd name="connsiteX4" fmla="*/ 2351859 w 2705463"/>
                <a:gd name="connsiteY4" fmla="*/ 1337929 h 1389769"/>
                <a:gd name="connsiteX5" fmla="*/ 2308151 w 2705463"/>
                <a:gd name="connsiteY5" fmla="*/ 1337929 h 1389769"/>
                <a:gd name="connsiteX6" fmla="*/ 2308151 w 2705463"/>
                <a:gd name="connsiteY6" fmla="*/ 1298414 h 1389769"/>
                <a:gd name="connsiteX7" fmla="*/ 1968903 w 2705463"/>
                <a:gd name="connsiteY7" fmla="*/ 1298414 h 1389769"/>
                <a:gd name="connsiteX8" fmla="*/ 1968903 w 2705463"/>
                <a:gd name="connsiteY8" fmla="*/ 1270969 h 1389769"/>
                <a:gd name="connsiteX9" fmla="*/ 1877421 w 2705463"/>
                <a:gd name="connsiteY9" fmla="*/ 1270969 h 1389769"/>
                <a:gd name="connsiteX10" fmla="*/ 1877421 w 2705463"/>
                <a:gd name="connsiteY10" fmla="*/ 1260805 h 1389769"/>
                <a:gd name="connsiteX11" fmla="*/ 1838795 w 2705463"/>
                <a:gd name="connsiteY11" fmla="*/ 1260805 h 1389769"/>
                <a:gd name="connsiteX12" fmla="*/ 1838795 w 2705463"/>
                <a:gd name="connsiteY12" fmla="*/ 1247591 h 1389769"/>
                <a:gd name="connsiteX13" fmla="*/ 1696616 w 2705463"/>
                <a:gd name="connsiteY13" fmla="*/ 1247591 h 1389769"/>
                <a:gd name="connsiteX14" fmla="*/ 1696616 w 2705463"/>
                <a:gd name="connsiteY14" fmla="*/ 1225228 h 1389769"/>
                <a:gd name="connsiteX15" fmla="*/ 1622414 w 2705463"/>
                <a:gd name="connsiteY15" fmla="*/ 1225228 h 1389769"/>
                <a:gd name="connsiteX16" fmla="*/ 1622414 w 2705463"/>
                <a:gd name="connsiteY16" fmla="*/ 1205915 h 1389769"/>
                <a:gd name="connsiteX17" fmla="*/ 1530932 w 2705463"/>
                <a:gd name="connsiteY17" fmla="*/ 1205915 h 1389769"/>
                <a:gd name="connsiteX18" fmla="*/ 1530932 w 2705463"/>
                <a:gd name="connsiteY18" fmla="*/ 1175421 h 1389769"/>
                <a:gd name="connsiteX19" fmla="*/ 1485317 w 2705463"/>
                <a:gd name="connsiteY19" fmla="*/ 1175421 h 1389769"/>
                <a:gd name="connsiteX20" fmla="*/ 1485317 w 2705463"/>
                <a:gd name="connsiteY20" fmla="*/ 1158141 h 1389769"/>
                <a:gd name="connsiteX21" fmla="*/ 1476169 w 2705463"/>
                <a:gd name="connsiteY21" fmla="*/ 1158141 h 1389769"/>
                <a:gd name="connsiteX22" fmla="*/ 1476169 w 2705463"/>
                <a:gd name="connsiteY22" fmla="*/ 1142894 h 1389769"/>
                <a:gd name="connsiteX23" fmla="*/ 1447708 w 2705463"/>
                <a:gd name="connsiteY23" fmla="*/ 1142894 h 1389769"/>
                <a:gd name="connsiteX24" fmla="*/ 1447708 w 2705463"/>
                <a:gd name="connsiteY24" fmla="*/ 1120532 h 1389769"/>
                <a:gd name="connsiteX25" fmla="*/ 1434494 w 2705463"/>
                <a:gd name="connsiteY25" fmla="*/ 1120532 h 1389769"/>
                <a:gd name="connsiteX26" fmla="*/ 1434494 w 2705463"/>
                <a:gd name="connsiteY26" fmla="*/ 1111384 h 1389769"/>
                <a:gd name="connsiteX27" fmla="*/ 1324715 w 2705463"/>
                <a:gd name="connsiteY27" fmla="*/ 1111384 h 1389769"/>
                <a:gd name="connsiteX28" fmla="*/ 1324715 w 2705463"/>
                <a:gd name="connsiteY28" fmla="*/ 1099186 h 1389769"/>
                <a:gd name="connsiteX29" fmla="*/ 1278974 w 2705463"/>
                <a:gd name="connsiteY29" fmla="*/ 1099186 h 1389769"/>
                <a:gd name="connsiteX30" fmla="*/ 1278974 w 2705463"/>
                <a:gd name="connsiteY30" fmla="*/ 1080000 h 1389769"/>
                <a:gd name="connsiteX31" fmla="*/ 1258772 w 2705463"/>
                <a:gd name="connsiteY31" fmla="*/ 1080000 h 1389769"/>
                <a:gd name="connsiteX32" fmla="*/ 1258772 w 2705463"/>
                <a:gd name="connsiteY32" fmla="*/ 1070852 h 1389769"/>
                <a:gd name="connsiteX33" fmla="*/ 1226245 w 2705463"/>
                <a:gd name="connsiteY33" fmla="*/ 1070852 h 1389769"/>
                <a:gd name="connsiteX34" fmla="*/ 1226245 w 2705463"/>
                <a:gd name="connsiteY34" fmla="*/ 1059671 h 1389769"/>
                <a:gd name="connsiteX35" fmla="*/ 1204899 w 2705463"/>
                <a:gd name="connsiteY35" fmla="*/ 1059671 h 1389769"/>
                <a:gd name="connsiteX36" fmla="*/ 1204899 w 2705463"/>
                <a:gd name="connsiteY36" fmla="*/ 1046457 h 1389769"/>
                <a:gd name="connsiteX37" fmla="*/ 1179487 w 2705463"/>
                <a:gd name="connsiteY37" fmla="*/ 1046457 h 1389769"/>
                <a:gd name="connsiteX38" fmla="*/ 1179487 w 2705463"/>
                <a:gd name="connsiteY38" fmla="*/ 1035275 h 1389769"/>
                <a:gd name="connsiteX39" fmla="*/ 1138828 w 2705463"/>
                <a:gd name="connsiteY39" fmla="*/ 1035275 h 1389769"/>
                <a:gd name="connsiteX40" fmla="*/ 1138828 w 2705463"/>
                <a:gd name="connsiteY40" fmla="*/ 1014946 h 1389769"/>
                <a:gd name="connsiteX41" fmla="*/ 1111384 w 2705463"/>
                <a:gd name="connsiteY41" fmla="*/ 1014946 h 1389769"/>
                <a:gd name="connsiteX42" fmla="*/ 1111384 w 2705463"/>
                <a:gd name="connsiteY42" fmla="*/ 997666 h 1389769"/>
                <a:gd name="connsiteX43" fmla="*/ 1011896 w 2705463"/>
                <a:gd name="connsiteY43" fmla="*/ 997666 h 1389769"/>
                <a:gd name="connsiteX44" fmla="*/ 1011896 w 2705463"/>
                <a:gd name="connsiteY44" fmla="*/ 960056 h 1389769"/>
                <a:gd name="connsiteX45" fmla="*/ 988518 w 2705463"/>
                <a:gd name="connsiteY45" fmla="*/ 960056 h 1389769"/>
                <a:gd name="connsiteX46" fmla="*/ 988518 w 2705463"/>
                <a:gd name="connsiteY46" fmla="*/ 941760 h 1389769"/>
                <a:gd name="connsiteX47" fmla="*/ 971238 w 2705463"/>
                <a:gd name="connsiteY47" fmla="*/ 941760 h 1389769"/>
                <a:gd name="connsiteX48" fmla="*/ 971238 w 2705463"/>
                <a:gd name="connsiteY48" fmla="*/ 921431 h 1389769"/>
                <a:gd name="connsiteX49" fmla="*/ 906183 w 2705463"/>
                <a:gd name="connsiteY49" fmla="*/ 921431 h 1389769"/>
                <a:gd name="connsiteX50" fmla="*/ 906183 w 2705463"/>
                <a:gd name="connsiteY50" fmla="*/ 910249 h 1389769"/>
                <a:gd name="connsiteX51" fmla="*/ 880772 w 2705463"/>
                <a:gd name="connsiteY51" fmla="*/ 910249 h 1389769"/>
                <a:gd name="connsiteX52" fmla="*/ 880772 w 2705463"/>
                <a:gd name="connsiteY52" fmla="*/ 886871 h 1389769"/>
                <a:gd name="connsiteX53" fmla="*/ 864508 w 2705463"/>
                <a:gd name="connsiteY53" fmla="*/ 886871 h 1389769"/>
                <a:gd name="connsiteX54" fmla="*/ 864508 w 2705463"/>
                <a:gd name="connsiteY54" fmla="*/ 857393 h 1389769"/>
                <a:gd name="connsiteX55" fmla="*/ 840113 w 2705463"/>
                <a:gd name="connsiteY55" fmla="*/ 857393 h 1389769"/>
                <a:gd name="connsiteX56" fmla="*/ 840113 w 2705463"/>
                <a:gd name="connsiteY56" fmla="*/ 847228 h 1389769"/>
                <a:gd name="connsiteX57" fmla="*/ 817751 w 2705463"/>
                <a:gd name="connsiteY57" fmla="*/ 847228 h 1389769"/>
                <a:gd name="connsiteX58" fmla="*/ 817751 w 2705463"/>
                <a:gd name="connsiteY58" fmla="*/ 819911 h 1389769"/>
                <a:gd name="connsiteX59" fmla="*/ 807586 w 2705463"/>
                <a:gd name="connsiteY59" fmla="*/ 819911 h 1389769"/>
                <a:gd name="connsiteX60" fmla="*/ 807586 w 2705463"/>
                <a:gd name="connsiteY60" fmla="*/ 776202 h 1389769"/>
                <a:gd name="connsiteX61" fmla="*/ 765021 w 2705463"/>
                <a:gd name="connsiteY61" fmla="*/ 776202 h 1389769"/>
                <a:gd name="connsiteX62" fmla="*/ 765021 w 2705463"/>
                <a:gd name="connsiteY62" fmla="*/ 765021 h 1389769"/>
                <a:gd name="connsiteX63" fmla="*/ 753840 w 2705463"/>
                <a:gd name="connsiteY63" fmla="*/ 765021 h 1389769"/>
                <a:gd name="connsiteX64" fmla="*/ 753840 w 2705463"/>
                <a:gd name="connsiteY64" fmla="*/ 718264 h 1389769"/>
                <a:gd name="connsiteX65" fmla="*/ 733511 w 2705463"/>
                <a:gd name="connsiteY65" fmla="*/ 718264 h 1389769"/>
                <a:gd name="connsiteX66" fmla="*/ 733511 w 2705463"/>
                <a:gd name="connsiteY66" fmla="*/ 677605 h 1389769"/>
                <a:gd name="connsiteX67" fmla="*/ 712165 w 2705463"/>
                <a:gd name="connsiteY67" fmla="*/ 677605 h 1389769"/>
                <a:gd name="connsiteX68" fmla="*/ 712165 w 2705463"/>
                <a:gd name="connsiteY68" fmla="*/ 658292 h 1389769"/>
                <a:gd name="connsiteX69" fmla="*/ 685736 w 2705463"/>
                <a:gd name="connsiteY69" fmla="*/ 658292 h 1389769"/>
                <a:gd name="connsiteX70" fmla="*/ 685736 w 2705463"/>
                <a:gd name="connsiteY70" fmla="*/ 642028 h 1389769"/>
                <a:gd name="connsiteX71" fmla="*/ 649143 w 2705463"/>
                <a:gd name="connsiteY71" fmla="*/ 642028 h 1389769"/>
                <a:gd name="connsiteX72" fmla="*/ 649143 w 2705463"/>
                <a:gd name="connsiteY72" fmla="*/ 628814 h 1389769"/>
                <a:gd name="connsiteX73" fmla="*/ 618649 w 2705463"/>
                <a:gd name="connsiteY73" fmla="*/ 628814 h 1389769"/>
                <a:gd name="connsiteX74" fmla="*/ 618649 w 2705463"/>
                <a:gd name="connsiteY74" fmla="*/ 601369 h 1389769"/>
                <a:gd name="connsiteX75" fmla="*/ 587139 w 2705463"/>
                <a:gd name="connsiteY75" fmla="*/ 601369 h 1389769"/>
                <a:gd name="connsiteX76" fmla="*/ 587139 w 2705463"/>
                <a:gd name="connsiteY76" fmla="*/ 588155 h 1389769"/>
                <a:gd name="connsiteX77" fmla="*/ 535299 w 2705463"/>
                <a:gd name="connsiteY77" fmla="*/ 588155 h 1389769"/>
                <a:gd name="connsiteX78" fmla="*/ 535299 w 2705463"/>
                <a:gd name="connsiteY78" fmla="*/ 574052 h 1389769"/>
                <a:gd name="connsiteX79" fmla="*/ 523101 w 2705463"/>
                <a:gd name="connsiteY79" fmla="*/ 574052 h 1389769"/>
                <a:gd name="connsiteX80" fmla="*/ 523101 w 2705463"/>
                <a:gd name="connsiteY80" fmla="*/ 553722 h 1389769"/>
                <a:gd name="connsiteX81" fmla="*/ 485619 w 2705463"/>
                <a:gd name="connsiteY81" fmla="*/ 553722 h 1389769"/>
                <a:gd name="connsiteX82" fmla="*/ 485619 w 2705463"/>
                <a:gd name="connsiteY82" fmla="*/ 493751 h 1389769"/>
                <a:gd name="connsiteX83" fmla="*/ 464273 w 2705463"/>
                <a:gd name="connsiteY83" fmla="*/ 493751 h 1389769"/>
                <a:gd name="connsiteX84" fmla="*/ 464273 w 2705463"/>
                <a:gd name="connsiteY84" fmla="*/ 480536 h 1389769"/>
                <a:gd name="connsiteX85" fmla="*/ 434795 w 2705463"/>
                <a:gd name="connsiteY85" fmla="*/ 480536 h 1389769"/>
                <a:gd name="connsiteX86" fmla="*/ 434795 w 2705463"/>
                <a:gd name="connsiteY86" fmla="*/ 468339 h 1389769"/>
                <a:gd name="connsiteX87" fmla="*/ 411416 w 2705463"/>
                <a:gd name="connsiteY87" fmla="*/ 468339 h 1389769"/>
                <a:gd name="connsiteX88" fmla="*/ 411416 w 2705463"/>
                <a:gd name="connsiteY88" fmla="*/ 455125 h 1389769"/>
                <a:gd name="connsiteX89" fmla="*/ 398202 w 2705463"/>
                <a:gd name="connsiteY89" fmla="*/ 455125 h 1389769"/>
                <a:gd name="connsiteX90" fmla="*/ 398202 w 2705463"/>
                <a:gd name="connsiteY90" fmla="*/ 429713 h 1389769"/>
                <a:gd name="connsiteX91" fmla="*/ 387021 w 2705463"/>
                <a:gd name="connsiteY91" fmla="*/ 429713 h 1389769"/>
                <a:gd name="connsiteX92" fmla="*/ 387021 w 2705463"/>
                <a:gd name="connsiteY92" fmla="*/ 402268 h 1389769"/>
                <a:gd name="connsiteX93" fmla="*/ 348395 w 2705463"/>
                <a:gd name="connsiteY93" fmla="*/ 402268 h 1389769"/>
                <a:gd name="connsiteX94" fmla="*/ 348395 w 2705463"/>
                <a:gd name="connsiteY94" fmla="*/ 384988 h 1389769"/>
                <a:gd name="connsiteX95" fmla="*/ 333148 w 2705463"/>
                <a:gd name="connsiteY95" fmla="*/ 384988 h 1389769"/>
                <a:gd name="connsiteX96" fmla="*/ 333148 w 2705463"/>
                <a:gd name="connsiteY96" fmla="*/ 357544 h 1389769"/>
                <a:gd name="connsiteX97" fmla="*/ 310786 w 2705463"/>
                <a:gd name="connsiteY97" fmla="*/ 357544 h 1389769"/>
                <a:gd name="connsiteX98" fmla="*/ 310786 w 2705463"/>
                <a:gd name="connsiteY98" fmla="*/ 322094 h 1389769"/>
                <a:gd name="connsiteX99" fmla="*/ 300621 w 2705463"/>
                <a:gd name="connsiteY99" fmla="*/ 322094 h 1389769"/>
                <a:gd name="connsiteX100" fmla="*/ 300621 w 2705463"/>
                <a:gd name="connsiteY100" fmla="*/ 273304 h 1389769"/>
                <a:gd name="connsiteX101" fmla="*/ 288423 w 2705463"/>
                <a:gd name="connsiteY101" fmla="*/ 273304 h 1389769"/>
                <a:gd name="connsiteX102" fmla="*/ 288423 w 2705463"/>
                <a:gd name="connsiteY102" fmla="*/ 258056 h 1389769"/>
                <a:gd name="connsiteX103" fmla="*/ 270127 w 2705463"/>
                <a:gd name="connsiteY103" fmla="*/ 258056 h 1389769"/>
                <a:gd name="connsiteX104" fmla="*/ 270127 w 2705463"/>
                <a:gd name="connsiteY104" fmla="*/ 238744 h 1389769"/>
                <a:gd name="connsiteX105" fmla="*/ 262122 w 2705463"/>
                <a:gd name="connsiteY105" fmla="*/ 238744 h 1389769"/>
                <a:gd name="connsiteX106" fmla="*/ 262122 w 2705463"/>
                <a:gd name="connsiteY106" fmla="*/ 215365 h 1389769"/>
                <a:gd name="connsiteX107" fmla="*/ 244842 w 2705463"/>
                <a:gd name="connsiteY107" fmla="*/ 215365 h 1389769"/>
                <a:gd name="connsiteX108" fmla="*/ 244842 w 2705463"/>
                <a:gd name="connsiteY108" fmla="*/ 206216 h 1389769"/>
                <a:gd name="connsiteX109" fmla="*/ 229595 w 2705463"/>
                <a:gd name="connsiteY109" fmla="*/ 206216 h 1389769"/>
                <a:gd name="connsiteX110" fmla="*/ 229595 w 2705463"/>
                <a:gd name="connsiteY110" fmla="*/ 184871 h 1389769"/>
                <a:gd name="connsiteX111" fmla="*/ 215365 w 2705463"/>
                <a:gd name="connsiteY111" fmla="*/ 184871 h 1389769"/>
                <a:gd name="connsiteX112" fmla="*/ 215365 w 2705463"/>
                <a:gd name="connsiteY112" fmla="*/ 163525 h 1389769"/>
                <a:gd name="connsiteX113" fmla="*/ 180805 w 2705463"/>
                <a:gd name="connsiteY113" fmla="*/ 163525 h 1389769"/>
                <a:gd name="connsiteX114" fmla="*/ 180805 w 2705463"/>
                <a:gd name="connsiteY114" fmla="*/ 144212 h 1389769"/>
                <a:gd name="connsiteX115" fmla="*/ 143195 w 2705463"/>
                <a:gd name="connsiteY115" fmla="*/ 144212 h 1389769"/>
                <a:gd name="connsiteX116" fmla="*/ 143195 w 2705463"/>
                <a:gd name="connsiteY116" fmla="*/ 125915 h 1389769"/>
                <a:gd name="connsiteX117" fmla="*/ 132014 w 2705463"/>
                <a:gd name="connsiteY117" fmla="*/ 125915 h 1389769"/>
                <a:gd name="connsiteX118" fmla="*/ 132014 w 2705463"/>
                <a:gd name="connsiteY118" fmla="*/ 108635 h 1389769"/>
                <a:gd name="connsiteX119" fmla="*/ 121849 w 2705463"/>
                <a:gd name="connsiteY119" fmla="*/ 108635 h 1389769"/>
                <a:gd name="connsiteX120" fmla="*/ 121849 w 2705463"/>
                <a:gd name="connsiteY120" fmla="*/ 88306 h 1389769"/>
                <a:gd name="connsiteX121" fmla="*/ 103553 w 2705463"/>
                <a:gd name="connsiteY121" fmla="*/ 88306 h 1389769"/>
                <a:gd name="connsiteX122" fmla="*/ 103553 w 2705463"/>
                <a:gd name="connsiteY122" fmla="*/ 57939 h 1389769"/>
                <a:gd name="connsiteX123" fmla="*/ 85256 w 2705463"/>
                <a:gd name="connsiteY123" fmla="*/ 57939 h 1389769"/>
                <a:gd name="connsiteX124" fmla="*/ 85256 w 2705463"/>
                <a:gd name="connsiteY124" fmla="*/ 20329 h 1389769"/>
                <a:gd name="connsiteX125" fmla="*/ 67976 w 2705463"/>
                <a:gd name="connsiteY125" fmla="*/ 20329 h 1389769"/>
                <a:gd name="connsiteX126" fmla="*/ 67976 w 2705463"/>
                <a:gd name="connsiteY126" fmla="*/ 0 h 1389769"/>
                <a:gd name="connsiteX127" fmla="*/ 0 w 2705463"/>
                <a:gd name="connsiteY127" fmla="*/ 0 h 1389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</a:cxnLst>
              <a:rect l="l" t="t" r="r" b="b"/>
              <a:pathLst>
                <a:path w="2705463" h="1389769">
                  <a:moveTo>
                    <a:pt x="2705463" y="1389769"/>
                  </a:moveTo>
                  <a:lnTo>
                    <a:pt x="2696315" y="1389769"/>
                  </a:lnTo>
                  <a:lnTo>
                    <a:pt x="2696315" y="1363341"/>
                  </a:lnTo>
                  <a:lnTo>
                    <a:pt x="2351859" y="1363341"/>
                  </a:lnTo>
                  <a:lnTo>
                    <a:pt x="2351859" y="1337929"/>
                  </a:lnTo>
                  <a:lnTo>
                    <a:pt x="2308151" y="1337929"/>
                  </a:lnTo>
                  <a:lnTo>
                    <a:pt x="2308151" y="1298414"/>
                  </a:lnTo>
                  <a:lnTo>
                    <a:pt x="1968903" y="1298414"/>
                  </a:lnTo>
                  <a:lnTo>
                    <a:pt x="1968903" y="1270969"/>
                  </a:lnTo>
                  <a:lnTo>
                    <a:pt x="1877421" y="1270969"/>
                  </a:lnTo>
                  <a:lnTo>
                    <a:pt x="1877421" y="1260805"/>
                  </a:lnTo>
                  <a:lnTo>
                    <a:pt x="1838795" y="1260805"/>
                  </a:lnTo>
                  <a:lnTo>
                    <a:pt x="1838795" y="1247591"/>
                  </a:lnTo>
                  <a:lnTo>
                    <a:pt x="1696616" y="1247591"/>
                  </a:lnTo>
                  <a:lnTo>
                    <a:pt x="1696616" y="1225228"/>
                  </a:lnTo>
                  <a:lnTo>
                    <a:pt x="1622414" y="1225228"/>
                  </a:lnTo>
                  <a:lnTo>
                    <a:pt x="1622414" y="1205915"/>
                  </a:lnTo>
                  <a:lnTo>
                    <a:pt x="1530932" y="1205915"/>
                  </a:lnTo>
                  <a:lnTo>
                    <a:pt x="1530932" y="1175421"/>
                  </a:lnTo>
                  <a:lnTo>
                    <a:pt x="1485317" y="1175421"/>
                  </a:lnTo>
                  <a:lnTo>
                    <a:pt x="1485317" y="1158141"/>
                  </a:lnTo>
                  <a:lnTo>
                    <a:pt x="1476169" y="1158141"/>
                  </a:lnTo>
                  <a:lnTo>
                    <a:pt x="1476169" y="1142894"/>
                  </a:lnTo>
                  <a:lnTo>
                    <a:pt x="1447708" y="1142894"/>
                  </a:lnTo>
                  <a:lnTo>
                    <a:pt x="1447708" y="1120532"/>
                  </a:lnTo>
                  <a:lnTo>
                    <a:pt x="1434494" y="1120532"/>
                  </a:lnTo>
                  <a:lnTo>
                    <a:pt x="1434494" y="1111384"/>
                  </a:lnTo>
                  <a:lnTo>
                    <a:pt x="1324715" y="1111384"/>
                  </a:lnTo>
                  <a:lnTo>
                    <a:pt x="1324715" y="1099186"/>
                  </a:lnTo>
                  <a:lnTo>
                    <a:pt x="1278974" y="1099186"/>
                  </a:lnTo>
                  <a:lnTo>
                    <a:pt x="1278974" y="1080000"/>
                  </a:lnTo>
                  <a:lnTo>
                    <a:pt x="1258772" y="1080000"/>
                  </a:lnTo>
                  <a:lnTo>
                    <a:pt x="1258772" y="1070852"/>
                  </a:lnTo>
                  <a:lnTo>
                    <a:pt x="1226245" y="1070852"/>
                  </a:lnTo>
                  <a:lnTo>
                    <a:pt x="1226245" y="1059671"/>
                  </a:lnTo>
                  <a:lnTo>
                    <a:pt x="1204899" y="1059671"/>
                  </a:lnTo>
                  <a:lnTo>
                    <a:pt x="1204899" y="1046457"/>
                  </a:lnTo>
                  <a:lnTo>
                    <a:pt x="1179487" y="1046457"/>
                  </a:lnTo>
                  <a:lnTo>
                    <a:pt x="1179487" y="1035275"/>
                  </a:lnTo>
                  <a:lnTo>
                    <a:pt x="1138828" y="1035275"/>
                  </a:lnTo>
                  <a:lnTo>
                    <a:pt x="1138828" y="1014946"/>
                  </a:lnTo>
                  <a:lnTo>
                    <a:pt x="1111384" y="1014946"/>
                  </a:lnTo>
                  <a:lnTo>
                    <a:pt x="1111384" y="997666"/>
                  </a:lnTo>
                  <a:lnTo>
                    <a:pt x="1011896" y="997666"/>
                  </a:lnTo>
                  <a:lnTo>
                    <a:pt x="1011896" y="960056"/>
                  </a:lnTo>
                  <a:lnTo>
                    <a:pt x="988518" y="960056"/>
                  </a:lnTo>
                  <a:lnTo>
                    <a:pt x="988518" y="941760"/>
                  </a:lnTo>
                  <a:lnTo>
                    <a:pt x="971238" y="941760"/>
                  </a:lnTo>
                  <a:lnTo>
                    <a:pt x="971238" y="921431"/>
                  </a:lnTo>
                  <a:lnTo>
                    <a:pt x="906183" y="921431"/>
                  </a:lnTo>
                  <a:lnTo>
                    <a:pt x="906183" y="910249"/>
                  </a:lnTo>
                  <a:lnTo>
                    <a:pt x="880772" y="910249"/>
                  </a:lnTo>
                  <a:lnTo>
                    <a:pt x="880772" y="886871"/>
                  </a:lnTo>
                  <a:lnTo>
                    <a:pt x="864508" y="886871"/>
                  </a:lnTo>
                  <a:lnTo>
                    <a:pt x="864508" y="857393"/>
                  </a:lnTo>
                  <a:lnTo>
                    <a:pt x="840113" y="857393"/>
                  </a:lnTo>
                  <a:lnTo>
                    <a:pt x="840113" y="847228"/>
                  </a:lnTo>
                  <a:lnTo>
                    <a:pt x="817751" y="847228"/>
                  </a:lnTo>
                  <a:lnTo>
                    <a:pt x="817751" y="819911"/>
                  </a:lnTo>
                  <a:lnTo>
                    <a:pt x="807586" y="819911"/>
                  </a:lnTo>
                  <a:lnTo>
                    <a:pt x="807586" y="776202"/>
                  </a:lnTo>
                  <a:lnTo>
                    <a:pt x="765021" y="776202"/>
                  </a:lnTo>
                  <a:lnTo>
                    <a:pt x="765021" y="765021"/>
                  </a:lnTo>
                  <a:lnTo>
                    <a:pt x="753840" y="765021"/>
                  </a:lnTo>
                  <a:lnTo>
                    <a:pt x="753840" y="718264"/>
                  </a:lnTo>
                  <a:lnTo>
                    <a:pt x="733511" y="718264"/>
                  </a:lnTo>
                  <a:lnTo>
                    <a:pt x="733511" y="677605"/>
                  </a:lnTo>
                  <a:lnTo>
                    <a:pt x="712165" y="677605"/>
                  </a:lnTo>
                  <a:lnTo>
                    <a:pt x="712165" y="658292"/>
                  </a:lnTo>
                  <a:lnTo>
                    <a:pt x="685736" y="658292"/>
                  </a:lnTo>
                  <a:lnTo>
                    <a:pt x="685736" y="642028"/>
                  </a:lnTo>
                  <a:lnTo>
                    <a:pt x="649143" y="642028"/>
                  </a:lnTo>
                  <a:lnTo>
                    <a:pt x="649143" y="628814"/>
                  </a:lnTo>
                  <a:lnTo>
                    <a:pt x="618649" y="628814"/>
                  </a:lnTo>
                  <a:lnTo>
                    <a:pt x="618649" y="601369"/>
                  </a:lnTo>
                  <a:lnTo>
                    <a:pt x="587139" y="601369"/>
                  </a:lnTo>
                  <a:lnTo>
                    <a:pt x="587139" y="588155"/>
                  </a:lnTo>
                  <a:lnTo>
                    <a:pt x="535299" y="588155"/>
                  </a:lnTo>
                  <a:lnTo>
                    <a:pt x="535299" y="574052"/>
                  </a:lnTo>
                  <a:lnTo>
                    <a:pt x="523101" y="574052"/>
                  </a:lnTo>
                  <a:lnTo>
                    <a:pt x="523101" y="553722"/>
                  </a:lnTo>
                  <a:lnTo>
                    <a:pt x="485619" y="553722"/>
                  </a:lnTo>
                  <a:lnTo>
                    <a:pt x="485619" y="493751"/>
                  </a:lnTo>
                  <a:lnTo>
                    <a:pt x="464273" y="493751"/>
                  </a:lnTo>
                  <a:lnTo>
                    <a:pt x="464273" y="480536"/>
                  </a:lnTo>
                  <a:lnTo>
                    <a:pt x="434795" y="480536"/>
                  </a:lnTo>
                  <a:lnTo>
                    <a:pt x="434795" y="468339"/>
                  </a:lnTo>
                  <a:lnTo>
                    <a:pt x="411416" y="468339"/>
                  </a:lnTo>
                  <a:lnTo>
                    <a:pt x="411416" y="455125"/>
                  </a:lnTo>
                  <a:lnTo>
                    <a:pt x="398202" y="455125"/>
                  </a:lnTo>
                  <a:lnTo>
                    <a:pt x="398202" y="429713"/>
                  </a:lnTo>
                  <a:lnTo>
                    <a:pt x="387021" y="429713"/>
                  </a:lnTo>
                  <a:lnTo>
                    <a:pt x="387021" y="402268"/>
                  </a:lnTo>
                  <a:lnTo>
                    <a:pt x="348395" y="402268"/>
                  </a:lnTo>
                  <a:lnTo>
                    <a:pt x="348395" y="384988"/>
                  </a:lnTo>
                  <a:lnTo>
                    <a:pt x="333148" y="384988"/>
                  </a:lnTo>
                  <a:lnTo>
                    <a:pt x="333148" y="357544"/>
                  </a:lnTo>
                  <a:lnTo>
                    <a:pt x="310786" y="357544"/>
                  </a:lnTo>
                  <a:lnTo>
                    <a:pt x="310786" y="322094"/>
                  </a:lnTo>
                  <a:lnTo>
                    <a:pt x="300621" y="322094"/>
                  </a:lnTo>
                  <a:lnTo>
                    <a:pt x="300621" y="273304"/>
                  </a:lnTo>
                  <a:lnTo>
                    <a:pt x="288423" y="273304"/>
                  </a:lnTo>
                  <a:lnTo>
                    <a:pt x="288423" y="258056"/>
                  </a:lnTo>
                  <a:lnTo>
                    <a:pt x="270127" y="258056"/>
                  </a:lnTo>
                  <a:lnTo>
                    <a:pt x="270127" y="238744"/>
                  </a:lnTo>
                  <a:lnTo>
                    <a:pt x="262122" y="238744"/>
                  </a:lnTo>
                  <a:lnTo>
                    <a:pt x="262122" y="215365"/>
                  </a:lnTo>
                  <a:lnTo>
                    <a:pt x="244842" y="215365"/>
                  </a:lnTo>
                  <a:lnTo>
                    <a:pt x="244842" y="206216"/>
                  </a:lnTo>
                  <a:lnTo>
                    <a:pt x="229595" y="206216"/>
                  </a:lnTo>
                  <a:lnTo>
                    <a:pt x="229595" y="184871"/>
                  </a:lnTo>
                  <a:lnTo>
                    <a:pt x="215365" y="184871"/>
                  </a:lnTo>
                  <a:lnTo>
                    <a:pt x="215365" y="163525"/>
                  </a:lnTo>
                  <a:lnTo>
                    <a:pt x="180805" y="163525"/>
                  </a:lnTo>
                  <a:lnTo>
                    <a:pt x="180805" y="144212"/>
                  </a:lnTo>
                  <a:lnTo>
                    <a:pt x="143195" y="144212"/>
                  </a:lnTo>
                  <a:lnTo>
                    <a:pt x="143195" y="125915"/>
                  </a:lnTo>
                  <a:lnTo>
                    <a:pt x="132014" y="125915"/>
                  </a:lnTo>
                  <a:lnTo>
                    <a:pt x="132014" y="108635"/>
                  </a:lnTo>
                  <a:lnTo>
                    <a:pt x="121849" y="108635"/>
                  </a:lnTo>
                  <a:lnTo>
                    <a:pt x="121849" y="88306"/>
                  </a:lnTo>
                  <a:lnTo>
                    <a:pt x="103553" y="88306"/>
                  </a:lnTo>
                  <a:lnTo>
                    <a:pt x="103553" y="57939"/>
                  </a:lnTo>
                  <a:lnTo>
                    <a:pt x="85256" y="57939"/>
                  </a:lnTo>
                  <a:lnTo>
                    <a:pt x="85256" y="20329"/>
                  </a:lnTo>
                  <a:lnTo>
                    <a:pt x="67976" y="20329"/>
                  </a:lnTo>
                  <a:lnTo>
                    <a:pt x="67976" y="0"/>
                  </a:lnTo>
                  <a:lnTo>
                    <a:pt x="0" y="0"/>
                  </a:lnTo>
                </a:path>
              </a:pathLst>
            </a:custGeom>
            <a:noFill/>
            <a:ln w="12686" cap="flat">
              <a:solidFill>
                <a:srgbClr val="FF585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0B5805A5-7901-0A5E-5D7A-D958011A2EE6}"/>
                </a:ext>
              </a:extLst>
            </p:cNvPr>
            <p:cNvSpPr/>
            <p:nvPr/>
          </p:nvSpPr>
          <p:spPr>
            <a:xfrm>
              <a:off x="1447544" y="2092157"/>
              <a:ext cx="2715500" cy="1394216"/>
            </a:xfrm>
            <a:custGeom>
              <a:avLst/>
              <a:gdLst>
                <a:gd name="connsiteX0" fmla="*/ 2710800 w 2715500"/>
                <a:gd name="connsiteY0" fmla="*/ 929817 h 1394216"/>
                <a:gd name="connsiteX1" fmla="*/ 2691487 w 2715500"/>
                <a:gd name="connsiteY1" fmla="*/ 929817 h 1394216"/>
                <a:gd name="connsiteX2" fmla="*/ 2691487 w 2715500"/>
                <a:gd name="connsiteY2" fmla="*/ 894240 h 1394216"/>
                <a:gd name="connsiteX3" fmla="*/ 2369393 w 2715500"/>
                <a:gd name="connsiteY3" fmla="*/ 894240 h 1394216"/>
                <a:gd name="connsiteX4" fmla="*/ 2369393 w 2715500"/>
                <a:gd name="connsiteY4" fmla="*/ 868828 h 1394216"/>
                <a:gd name="connsiteX5" fmla="*/ 2349063 w 2715500"/>
                <a:gd name="connsiteY5" fmla="*/ 868828 h 1394216"/>
                <a:gd name="connsiteX6" fmla="*/ 2349063 w 2715500"/>
                <a:gd name="connsiteY6" fmla="*/ 845449 h 1394216"/>
                <a:gd name="connsiteX7" fmla="*/ 2324668 w 2715500"/>
                <a:gd name="connsiteY7" fmla="*/ 845449 h 1394216"/>
                <a:gd name="connsiteX8" fmla="*/ 2324668 w 2715500"/>
                <a:gd name="connsiteY8" fmla="*/ 818005 h 1394216"/>
                <a:gd name="connsiteX9" fmla="*/ 2249449 w 2715500"/>
                <a:gd name="connsiteY9" fmla="*/ 818005 h 1394216"/>
                <a:gd name="connsiteX10" fmla="*/ 2249449 w 2715500"/>
                <a:gd name="connsiteY10" fmla="*/ 788527 h 1394216"/>
                <a:gd name="connsiteX11" fmla="*/ 2065595 w 2715500"/>
                <a:gd name="connsiteY11" fmla="*/ 788527 h 1394216"/>
                <a:gd name="connsiteX12" fmla="*/ 2065595 w 2715500"/>
                <a:gd name="connsiteY12" fmla="*/ 762099 h 1394216"/>
                <a:gd name="connsiteX13" fmla="*/ 2013755 w 2715500"/>
                <a:gd name="connsiteY13" fmla="*/ 762099 h 1394216"/>
                <a:gd name="connsiteX14" fmla="*/ 2013755 w 2715500"/>
                <a:gd name="connsiteY14" fmla="*/ 736687 h 1394216"/>
                <a:gd name="connsiteX15" fmla="*/ 1714023 w 2715500"/>
                <a:gd name="connsiteY15" fmla="*/ 736687 h 1394216"/>
                <a:gd name="connsiteX16" fmla="*/ 1714023 w 2715500"/>
                <a:gd name="connsiteY16" fmla="*/ 714325 h 1394216"/>
                <a:gd name="connsiteX17" fmla="*/ 1659134 w 2715500"/>
                <a:gd name="connsiteY17" fmla="*/ 714325 h 1394216"/>
                <a:gd name="connsiteX18" fmla="*/ 1659134 w 2715500"/>
                <a:gd name="connsiteY18" fmla="*/ 690946 h 1394216"/>
                <a:gd name="connsiteX19" fmla="*/ 1454951 w 2715500"/>
                <a:gd name="connsiteY19" fmla="*/ 690946 h 1394216"/>
                <a:gd name="connsiteX20" fmla="*/ 1454951 w 2715500"/>
                <a:gd name="connsiteY20" fmla="*/ 666551 h 1394216"/>
                <a:gd name="connsiteX21" fmla="*/ 1354320 w 2715500"/>
                <a:gd name="connsiteY21" fmla="*/ 666551 h 1394216"/>
                <a:gd name="connsiteX22" fmla="*/ 1354320 w 2715500"/>
                <a:gd name="connsiteY22" fmla="*/ 642155 h 1394216"/>
                <a:gd name="connsiteX23" fmla="*/ 1340089 w 2715500"/>
                <a:gd name="connsiteY23" fmla="*/ 642155 h 1394216"/>
                <a:gd name="connsiteX24" fmla="*/ 1340089 w 2715500"/>
                <a:gd name="connsiteY24" fmla="*/ 617760 h 1394216"/>
                <a:gd name="connsiteX25" fmla="*/ 1286216 w 2715500"/>
                <a:gd name="connsiteY25" fmla="*/ 617760 h 1394216"/>
                <a:gd name="connsiteX26" fmla="*/ 1286216 w 2715500"/>
                <a:gd name="connsiteY26" fmla="*/ 596414 h 1394216"/>
                <a:gd name="connsiteX27" fmla="*/ 1178471 w 2715500"/>
                <a:gd name="connsiteY27" fmla="*/ 596414 h 1394216"/>
                <a:gd name="connsiteX28" fmla="*/ 1178471 w 2715500"/>
                <a:gd name="connsiteY28" fmla="*/ 556772 h 1394216"/>
                <a:gd name="connsiteX29" fmla="*/ 1038325 w 2715500"/>
                <a:gd name="connsiteY29" fmla="*/ 556772 h 1394216"/>
                <a:gd name="connsiteX30" fmla="*/ 1038325 w 2715500"/>
                <a:gd name="connsiteY30" fmla="*/ 534409 h 1394216"/>
                <a:gd name="connsiteX31" fmla="*/ 1011896 w 2715500"/>
                <a:gd name="connsiteY31" fmla="*/ 534409 h 1394216"/>
                <a:gd name="connsiteX32" fmla="*/ 1011896 w 2715500"/>
                <a:gd name="connsiteY32" fmla="*/ 512047 h 1394216"/>
                <a:gd name="connsiteX33" fmla="*/ 957007 w 2715500"/>
                <a:gd name="connsiteY33" fmla="*/ 512047 h 1394216"/>
                <a:gd name="connsiteX34" fmla="*/ 957007 w 2715500"/>
                <a:gd name="connsiteY34" fmla="*/ 493751 h 1394216"/>
                <a:gd name="connsiteX35" fmla="*/ 950908 w 2715500"/>
                <a:gd name="connsiteY35" fmla="*/ 493751 h 1394216"/>
                <a:gd name="connsiteX36" fmla="*/ 950908 w 2715500"/>
                <a:gd name="connsiteY36" fmla="*/ 430729 h 1394216"/>
                <a:gd name="connsiteX37" fmla="*/ 936678 w 2715500"/>
                <a:gd name="connsiteY37" fmla="*/ 430729 h 1394216"/>
                <a:gd name="connsiteX38" fmla="*/ 936678 w 2715500"/>
                <a:gd name="connsiteY38" fmla="*/ 409384 h 1394216"/>
                <a:gd name="connsiteX39" fmla="*/ 897035 w 2715500"/>
                <a:gd name="connsiteY39" fmla="*/ 409384 h 1394216"/>
                <a:gd name="connsiteX40" fmla="*/ 897035 w 2715500"/>
                <a:gd name="connsiteY40" fmla="*/ 394136 h 1394216"/>
                <a:gd name="connsiteX41" fmla="*/ 806569 w 2715500"/>
                <a:gd name="connsiteY41" fmla="*/ 394136 h 1394216"/>
                <a:gd name="connsiteX42" fmla="*/ 806569 w 2715500"/>
                <a:gd name="connsiteY42" fmla="*/ 370758 h 1394216"/>
                <a:gd name="connsiteX43" fmla="*/ 743548 w 2715500"/>
                <a:gd name="connsiteY43" fmla="*/ 370758 h 1394216"/>
                <a:gd name="connsiteX44" fmla="*/ 743548 w 2715500"/>
                <a:gd name="connsiteY44" fmla="*/ 356527 h 1394216"/>
                <a:gd name="connsiteX45" fmla="*/ 735416 w 2715500"/>
                <a:gd name="connsiteY45" fmla="*/ 356527 h 1394216"/>
                <a:gd name="connsiteX46" fmla="*/ 735416 w 2715500"/>
                <a:gd name="connsiteY46" fmla="*/ 341280 h 1394216"/>
                <a:gd name="connsiteX47" fmla="*/ 711021 w 2715500"/>
                <a:gd name="connsiteY47" fmla="*/ 341280 h 1394216"/>
                <a:gd name="connsiteX48" fmla="*/ 711021 w 2715500"/>
                <a:gd name="connsiteY48" fmla="*/ 319934 h 1394216"/>
                <a:gd name="connsiteX49" fmla="*/ 679511 w 2715500"/>
                <a:gd name="connsiteY49" fmla="*/ 319934 h 1394216"/>
                <a:gd name="connsiteX50" fmla="*/ 679511 w 2715500"/>
                <a:gd name="connsiteY50" fmla="*/ 300621 h 1394216"/>
                <a:gd name="connsiteX51" fmla="*/ 666296 w 2715500"/>
                <a:gd name="connsiteY51" fmla="*/ 300621 h 1394216"/>
                <a:gd name="connsiteX52" fmla="*/ 666296 w 2715500"/>
                <a:gd name="connsiteY52" fmla="*/ 278259 h 1394216"/>
                <a:gd name="connsiteX53" fmla="*/ 583962 w 2715500"/>
                <a:gd name="connsiteY53" fmla="*/ 278259 h 1394216"/>
                <a:gd name="connsiteX54" fmla="*/ 583962 w 2715500"/>
                <a:gd name="connsiteY54" fmla="*/ 264028 h 1394216"/>
                <a:gd name="connsiteX55" fmla="*/ 573798 w 2715500"/>
                <a:gd name="connsiteY55" fmla="*/ 264028 h 1394216"/>
                <a:gd name="connsiteX56" fmla="*/ 573798 w 2715500"/>
                <a:gd name="connsiteY56" fmla="*/ 239887 h 1394216"/>
                <a:gd name="connsiteX57" fmla="*/ 562871 w 2715500"/>
                <a:gd name="connsiteY57" fmla="*/ 239887 h 1394216"/>
                <a:gd name="connsiteX58" fmla="*/ 562871 w 2715500"/>
                <a:gd name="connsiteY58" fmla="*/ 211299 h 1394216"/>
                <a:gd name="connsiteX59" fmla="*/ 552833 w 2715500"/>
                <a:gd name="connsiteY59" fmla="*/ 211299 h 1394216"/>
                <a:gd name="connsiteX60" fmla="*/ 552833 w 2715500"/>
                <a:gd name="connsiteY60" fmla="*/ 192367 h 1394216"/>
                <a:gd name="connsiteX61" fmla="*/ 546988 w 2715500"/>
                <a:gd name="connsiteY61" fmla="*/ 192367 h 1394216"/>
                <a:gd name="connsiteX62" fmla="*/ 546988 w 2715500"/>
                <a:gd name="connsiteY62" fmla="*/ 178136 h 1394216"/>
                <a:gd name="connsiteX63" fmla="*/ 536442 w 2715500"/>
                <a:gd name="connsiteY63" fmla="*/ 178136 h 1394216"/>
                <a:gd name="connsiteX64" fmla="*/ 536442 w 2715500"/>
                <a:gd name="connsiteY64" fmla="*/ 163906 h 1394216"/>
                <a:gd name="connsiteX65" fmla="*/ 501120 w 2715500"/>
                <a:gd name="connsiteY65" fmla="*/ 163906 h 1394216"/>
                <a:gd name="connsiteX66" fmla="*/ 501120 w 2715500"/>
                <a:gd name="connsiteY66" fmla="*/ 148786 h 1394216"/>
                <a:gd name="connsiteX67" fmla="*/ 412560 w 2715500"/>
                <a:gd name="connsiteY67" fmla="*/ 148786 h 1394216"/>
                <a:gd name="connsiteX68" fmla="*/ 412560 w 2715500"/>
                <a:gd name="connsiteY68" fmla="*/ 132776 h 1394216"/>
                <a:gd name="connsiteX69" fmla="*/ 373553 w 2715500"/>
                <a:gd name="connsiteY69" fmla="*/ 132776 h 1394216"/>
                <a:gd name="connsiteX70" fmla="*/ 373553 w 2715500"/>
                <a:gd name="connsiteY70" fmla="*/ 117656 h 1394216"/>
                <a:gd name="connsiteX71" fmla="*/ 340009 w 2715500"/>
                <a:gd name="connsiteY71" fmla="*/ 117656 h 1394216"/>
                <a:gd name="connsiteX72" fmla="*/ 340009 w 2715500"/>
                <a:gd name="connsiteY72" fmla="*/ 99233 h 1394216"/>
                <a:gd name="connsiteX73" fmla="*/ 293887 w 2715500"/>
                <a:gd name="connsiteY73" fmla="*/ 99233 h 1394216"/>
                <a:gd name="connsiteX74" fmla="*/ 293887 w 2715500"/>
                <a:gd name="connsiteY74" fmla="*/ 88306 h 1394216"/>
                <a:gd name="connsiteX75" fmla="*/ 241031 w 2715500"/>
                <a:gd name="connsiteY75" fmla="*/ 88306 h 1394216"/>
                <a:gd name="connsiteX76" fmla="*/ 241031 w 2715500"/>
                <a:gd name="connsiteY76" fmla="*/ 72296 h 1394216"/>
                <a:gd name="connsiteX77" fmla="*/ 210409 w 2715500"/>
                <a:gd name="connsiteY77" fmla="*/ 72296 h 1394216"/>
                <a:gd name="connsiteX78" fmla="*/ 210409 w 2715500"/>
                <a:gd name="connsiteY78" fmla="*/ 40405 h 1394216"/>
                <a:gd name="connsiteX79" fmla="*/ 152471 w 2715500"/>
                <a:gd name="connsiteY79" fmla="*/ 40405 h 1394216"/>
                <a:gd name="connsiteX80" fmla="*/ 152471 w 2715500"/>
                <a:gd name="connsiteY80" fmla="*/ 26555 h 1394216"/>
                <a:gd name="connsiteX81" fmla="*/ 122231 w 2715500"/>
                <a:gd name="connsiteY81" fmla="*/ 26555 h 1394216"/>
                <a:gd name="connsiteX82" fmla="*/ 122231 w 2715500"/>
                <a:gd name="connsiteY82" fmla="*/ 16518 h 1394216"/>
                <a:gd name="connsiteX83" fmla="*/ 81064 w 2715500"/>
                <a:gd name="connsiteY83" fmla="*/ 16518 h 1394216"/>
                <a:gd name="connsiteX84" fmla="*/ 81064 w 2715500"/>
                <a:gd name="connsiteY84" fmla="*/ 0 h 1394216"/>
                <a:gd name="connsiteX85" fmla="*/ 0 w 2715500"/>
                <a:gd name="connsiteY85" fmla="*/ 0 h 1394216"/>
                <a:gd name="connsiteX86" fmla="*/ 0 w 2715500"/>
                <a:gd name="connsiteY86" fmla="*/ 142306 h 1394216"/>
                <a:gd name="connsiteX87" fmla="*/ 75092 w 2715500"/>
                <a:gd name="connsiteY87" fmla="*/ 142306 h 1394216"/>
                <a:gd name="connsiteX88" fmla="*/ 75092 w 2715500"/>
                <a:gd name="connsiteY88" fmla="*/ 188047 h 1394216"/>
                <a:gd name="connsiteX89" fmla="*/ 126296 w 2715500"/>
                <a:gd name="connsiteY89" fmla="*/ 188047 h 1394216"/>
                <a:gd name="connsiteX90" fmla="*/ 126296 w 2715500"/>
                <a:gd name="connsiteY90" fmla="*/ 212824 h 1394216"/>
                <a:gd name="connsiteX91" fmla="*/ 152344 w 2715500"/>
                <a:gd name="connsiteY91" fmla="*/ 212824 h 1394216"/>
                <a:gd name="connsiteX92" fmla="*/ 152344 w 2715500"/>
                <a:gd name="connsiteY92" fmla="*/ 244334 h 1394216"/>
                <a:gd name="connsiteX93" fmla="*/ 209901 w 2715500"/>
                <a:gd name="connsiteY93" fmla="*/ 244334 h 1394216"/>
                <a:gd name="connsiteX94" fmla="*/ 209901 w 2715500"/>
                <a:gd name="connsiteY94" fmla="*/ 295158 h 1394216"/>
                <a:gd name="connsiteX95" fmla="*/ 239252 w 2715500"/>
                <a:gd name="connsiteY95" fmla="*/ 295158 h 1394216"/>
                <a:gd name="connsiteX96" fmla="*/ 239252 w 2715500"/>
                <a:gd name="connsiteY96" fmla="*/ 326668 h 1394216"/>
                <a:gd name="connsiteX97" fmla="*/ 303925 w 2715500"/>
                <a:gd name="connsiteY97" fmla="*/ 326668 h 1394216"/>
                <a:gd name="connsiteX98" fmla="*/ 303925 w 2715500"/>
                <a:gd name="connsiteY98" fmla="*/ 345092 h 1394216"/>
                <a:gd name="connsiteX99" fmla="*/ 342551 w 2715500"/>
                <a:gd name="connsiteY99" fmla="*/ 345092 h 1394216"/>
                <a:gd name="connsiteX100" fmla="*/ 342551 w 2715500"/>
                <a:gd name="connsiteY100" fmla="*/ 374951 h 1394216"/>
                <a:gd name="connsiteX101" fmla="*/ 372409 w 2715500"/>
                <a:gd name="connsiteY101" fmla="*/ 374951 h 1394216"/>
                <a:gd name="connsiteX102" fmla="*/ 372409 w 2715500"/>
                <a:gd name="connsiteY102" fmla="*/ 399727 h 1394216"/>
                <a:gd name="connsiteX103" fmla="*/ 408113 w 2715500"/>
                <a:gd name="connsiteY103" fmla="*/ 399727 h 1394216"/>
                <a:gd name="connsiteX104" fmla="*/ 408113 w 2715500"/>
                <a:gd name="connsiteY104" fmla="*/ 421962 h 1394216"/>
                <a:gd name="connsiteX105" fmla="*/ 498833 w 2715500"/>
                <a:gd name="connsiteY105" fmla="*/ 421962 h 1394216"/>
                <a:gd name="connsiteX106" fmla="*/ 498833 w 2715500"/>
                <a:gd name="connsiteY106" fmla="*/ 450042 h 1394216"/>
                <a:gd name="connsiteX107" fmla="*/ 536188 w 2715500"/>
                <a:gd name="connsiteY107" fmla="*/ 450042 h 1394216"/>
                <a:gd name="connsiteX108" fmla="*/ 536188 w 2715500"/>
                <a:gd name="connsiteY108" fmla="*/ 470245 h 1394216"/>
                <a:gd name="connsiteX109" fmla="*/ 550419 w 2715500"/>
                <a:gd name="connsiteY109" fmla="*/ 470245 h 1394216"/>
                <a:gd name="connsiteX110" fmla="*/ 550419 w 2715500"/>
                <a:gd name="connsiteY110" fmla="*/ 501374 h 1394216"/>
                <a:gd name="connsiteX111" fmla="*/ 560965 w 2715500"/>
                <a:gd name="connsiteY111" fmla="*/ 501374 h 1394216"/>
                <a:gd name="connsiteX112" fmla="*/ 560965 w 2715500"/>
                <a:gd name="connsiteY112" fmla="*/ 543304 h 1394216"/>
                <a:gd name="connsiteX113" fmla="*/ 568080 w 2715500"/>
                <a:gd name="connsiteY113" fmla="*/ 543304 h 1394216"/>
                <a:gd name="connsiteX114" fmla="*/ 568080 w 2715500"/>
                <a:gd name="connsiteY114" fmla="*/ 579007 h 1394216"/>
                <a:gd name="connsiteX115" fmla="*/ 576466 w 2715500"/>
                <a:gd name="connsiteY115" fmla="*/ 579007 h 1394216"/>
                <a:gd name="connsiteX116" fmla="*/ 576466 w 2715500"/>
                <a:gd name="connsiteY116" fmla="*/ 601624 h 1394216"/>
                <a:gd name="connsiteX117" fmla="*/ 612551 w 2715500"/>
                <a:gd name="connsiteY117" fmla="*/ 601624 h 1394216"/>
                <a:gd name="connsiteX118" fmla="*/ 612551 w 2715500"/>
                <a:gd name="connsiteY118" fmla="*/ 614202 h 1394216"/>
                <a:gd name="connsiteX119" fmla="*/ 668838 w 2715500"/>
                <a:gd name="connsiteY119" fmla="*/ 614202 h 1394216"/>
                <a:gd name="connsiteX120" fmla="*/ 668838 w 2715500"/>
                <a:gd name="connsiteY120" fmla="*/ 657021 h 1394216"/>
                <a:gd name="connsiteX121" fmla="*/ 687769 w 2715500"/>
                <a:gd name="connsiteY121" fmla="*/ 657021 h 1394216"/>
                <a:gd name="connsiteX122" fmla="*/ 687769 w 2715500"/>
                <a:gd name="connsiteY122" fmla="*/ 670871 h 1394216"/>
                <a:gd name="connsiteX123" fmla="*/ 714579 w 2715500"/>
                <a:gd name="connsiteY123" fmla="*/ 670871 h 1394216"/>
                <a:gd name="connsiteX124" fmla="*/ 714579 w 2715500"/>
                <a:gd name="connsiteY124" fmla="*/ 688532 h 1394216"/>
                <a:gd name="connsiteX125" fmla="*/ 736433 w 2715500"/>
                <a:gd name="connsiteY125" fmla="*/ 688532 h 1394216"/>
                <a:gd name="connsiteX126" fmla="*/ 736433 w 2715500"/>
                <a:gd name="connsiteY126" fmla="*/ 732748 h 1394216"/>
                <a:gd name="connsiteX127" fmla="*/ 809873 w 2715500"/>
                <a:gd name="connsiteY127" fmla="*/ 732748 h 1394216"/>
                <a:gd name="connsiteX128" fmla="*/ 809873 w 2715500"/>
                <a:gd name="connsiteY128" fmla="*/ 757016 h 1394216"/>
                <a:gd name="connsiteX129" fmla="*/ 894621 w 2715500"/>
                <a:gd name="connsiteY129" fmla="*/ 757016 h 1394216"/>
                <a:gd name="connsiteX130" fmla="*/ 894621 w 2715500"/>
                <a:gd name="connsiteY130" fmla="*/ 783064 h 1394216"/>
                <a:gd name="connsiteX131" fmla="*/ 938329 w 2715500"/>
                <a:gd name="connsiteY131" fmla="*/ 783064 h 1394216"/>
                <a:gd name="connsiteX132" fmla="*/ 938329 w 2715500"/>
                <a:gd name="connsiteY132" fmla="*/ 808729 h 1394216"/>
                <a:gd name="connsiteX133" fmla="*/ 951798 w 2715500"/>
                <a:gd name="connsiteY133" fmla="*/ 808729 h 1394216"/>
                <a:gd name="connsiteX134" fmla="*/ 951798 w 2715500"/>
                <a:gd name="connsiteY134" fmla="*/ 880899 h 1394216"/>
                <a:gd name="connsiteX135" fmla="*/ 958532 w 2715500"/>
                <a:gd name="connsiteY135" fmla="*/ 880899 h 1394216"/>
                <a:gd name="connsiteX136" fmla="*/ 958532 w 2715500"/>
                <a:gd name="connsiteY136" fmla="*/ 905294 h 1394216"/>
                <a:gd name="connsiteX137" fmla="*/ 1010118 w 2715500"/>
                <a:gd name="connsiteY137" fmla="*/ 905294 h 1394216"/>
                <a:gd name="connsiteX138" fmla="*/ 1010118 w 2715500"/>
                <a:gd name="connsiteY138" fmla="*/ 928419 h 1394216"/>
                <a:gd name="connsiteX139" fmla="*/ 1047092 w 2715500"/>
                <a:gd name="connsiteY139" fmla="*/ 928419 h 1394216"/>
                <a:gd name="connsiteX140" fmla="*/ 1047092 w 2715500"/>
                <a:gd name="connsiteY140" fmla="*/ 956499 h 1394216"/>
                <a:gd name="connsiteX141" fmla="*/ 1182663 w 2715500"/>
                <a:gd name="connsiteY141" fmla="*/ 956499 h 1394216"/>
                <a:gd name="connsiteX142" fmla="*/ 1182663 w 2715500"/>
                <a:gd name="connsiteY142" fmla="*/ 1002621 h 1394216"/>
                <a:gd name="connsiteX143" fmla="*/ 1287995 w 2715500"/>
                <a:gd name="connsiteY143" fmla="*/ 1002621 h 1394216"/>
                <a:gd name="connsiteX144" fmla="*/ 1287995 w 2715500"/>
                <a:gd name="connsiteY144" fmla="*/ 1032480 h 1394216"/>
                <a:gd name="connsiteX145" fmla="*/ 1338819 w 2715500"/>
                <a:gd name="connsiteY145" fmla="*/ 1032480 h 1394216"/>
                <a:gd name="connsiteX146" fmla="*/ 1338819 w 2715500"/>
                <a:gd name="connsiteY146" fmla="*/ 1059289 h 1394216"/>
                <a:gd name="connsiteX147" fmla="*/ 1353939 w 2715500"/>
                <a:gd name="connsiteY147" fmla="*/ 1059289 h 1394216"/>
                <a:gd name="connsiteX148" fmla="*/ 1353939 w 2715500"/>
                <a:gd name="connsiteY148" fmla="*/ 1081906 h 1394216"/>
                <a:gd name="connsiteX149" fmla="*/ 1455586 w 2715500"/>
                <a:gd name="connsiteY149" fmla="*/ 1081906 h 1394216"/>
                <a:gd name="connsiteX150" fmla="*/ 1455586 w 2715500"/>
                <a:gd name="connsiteY150" fmla="*/ 1109224 h 1394216"/>
                <a:gd name="connsiteX151" fmla="*/ 1657990 w 2715500"/>
                <a:gd name="connsiteY151" fmla="*/ 1109224 h 1394216"/>
                <a:gd name="connsiteX152" fmla="*/ 1657990 w 2715500"/>
                <a:gd name="connsiteY152" fmla="*/ 1136922 h 1394216"/>
                <a:gd name="connsiteX153" fmla="*/ 1713388 w 2715500"/>
                <a:gd name="connsiteY153" fmla="*/ 1136922 h 1394216"/>
                <a:gd name="connsiteX154" fmla="*/ 1713388 w 2715500"/>
                <a:gd name="connsiteY154" fmla="*/ 1164621 h 1394216"/>
                <a:gd name="connsiteX155" fmla="*/ 2012739 w 2715500"/>
                <a:gd name="connsiteY155" fmla="*/ 1164621 h 1394216"/>
                <a:gd name="connsiteX156" fmla="*/ 2012739 w 2715500"/>
                <a:gd name="connsiteY156" fmla="*/ 1192320 h 1394216"/>
                <a:gd name="connsiteX157" fmla="*/ 2065214 w 2715500"/>
                <a:gd name="connsiteY157" fmla="*/ 1192320 h 1394216"/>
                <a:gd name="connsiteX158" fmla="*/ 2065214 w 2715500"/>
                <a:gd name="connsiteY158" fmla="*/ 1222560 h 1394216"/>
                <a:gd name="connsiteX159" fmla="*/ 2249957 w 2715500"/>
                <a:gd name="connsiteY159" fmla="*/ 1222560 h 1394216"/>
                <a:gd name="connsiteX160" fmla="*/ 2249957 w 2715500"/>
                <a:gd name="connsiteY160" fmla="*/ 1256104 h 1394216"/>
                <a:gd name="connsiteX161" fmla="*/ 2323016 w 2715500"/>
                <a:gd name="connsiteY161" fmla="*/ 1256104 h 1394216"/>
                <a:gd name="connsiteX162" fmla="*/ 2323016 w 2715500"/>
                <a:gd name="connsiteY162" fmla="*/ 1285454 h 1394216"/>
                <a:gd name="connsiteX163" fmla="*/ 2353637 w 2715500"/>
                <a:gd name="connsiteY163" fmla="*/ 1285454 h 1394216"/>
                <a:gd name="connsiteX164" fmla="*/ 2353637 w 2715500"/>
                <a:gd name="connsiteY164" fmla="*/ 1312264 h 1394216"/>
                <a:gd name="connsiteX165" fmla="*/ 2370409 w 2715500"/>
                <a:gd name="connsiteY165" fmla="*/ 1312264 h 1394216"/>
                <a:gd name="connsiteX166" fmla="*/ 2370409 w 2715500"/>
                <a:gd name="connsiteY166" fmla="*/ 1342122 h 1394216"/>
                <a:gd name="connsiteX167" fmla="*/ 2691614 w 2715500"/>
                <a:gd name="connsiteY167" fmla="*/ 1342122 h 1394216"/>
                <a:gd name="connsiteX168" fmla="*/ 2691614 w 2715500"/>
                <a:gd name="connsiteY168" fmla="*/ 1394216 h 1394216"/>
                <a:gd name="connsiteX169" fmla="*/ 2715501 w 2715500"/>
                <a:gd name="connsiteY169" fmla="*/ 1394216 h 1394216"/>
                <a:gd name="connsiteX170" fmla="*/ 2715501 w 2715500"/>
                <a:gd name="connsiteY170" fmla="*/ 929435 h 1394216"/>
                <a:gd name="connsiteX171" fmla="*/ 2710546 w 2715500"/>
                <a:gd name="connsiteY171" fmla="*/ 929689 h 1394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</a:cxnLst>
              <a:rect l="l" t="t" r="r" b="b"/>
              <a:pathLst>
                <a:path w="2715500" h="1394216">
                  <a:moveTo>
                    <a:pt x="2710800" y="929817"/>
                  </a:moveTo>
                  <a:lnTo>
                    <a:pt x="2691487" y="929817"/>
                  </a:lnTo>
                  <a:lnTo>
                    <a:pt x="2691487" y="894240"/>
                  </a:lnTo>
                  <a:lnTo>
                    <a:pt x="2369393" y="894240"/>
                  </a:lnTo>
                  <a:lnTo>
                    <a:pt x="2369393" y="868828"/>
                  </a:lnTo>
                  <a:lnTo>
                    <a:pt x="2349063" y="868828"/>
                  </a:lnTo>
                  <a:lnTo>
                    <a:pt x="2349063" y="845449"/>
                  </a:lnTo>
                  <a:lnTo>
                    <a:pt x="2324668" y="845449"/>
                  </a:lnTo>
                  <a:lnTo>
                    <a:pt x="2324668" y="818005"/>
                  </a:lnTo>
                  <a:lnTo>
                    <a:pt x="2249449" y="818005"/>
                  </a:lnTo>
                  <a:lnTo>
                    <a:pt x="2249449" y="788527"/>
                  </a:lnTo>
                  <a:lnTo>
                    <a:pt x="2065595" y="788527"/>
                  </a:lnTo>
                  <a:lnTo>
                    <a:pt x="2065595" y="762099"/>
                  </a:lnTo>
                  <a:lnTo>
                    <a:pt x="2013755" y="762099"/>
                  </a:lnTo>
                  <a:lnTo>
                    <a:pt x="2013755" y="736687"/>
                  </a:lnTo>
                  <a:lnTo>
                    <a:pt x="1714023" y="736687"/>
                  </a:lnTo>
                  <a:lnTo>
                    <a:pt x="1714023" y="714325"/>
                  </a:lnTo>
                  <a:lnTo>
                    <a:pt x="1659134" y="714325"/>
                  </a:lnTo>
                  <a:lnTo>
                    <a:pt x="1659134" y="690946"/>
                  </a:lnTo>
                  <a:lnTo>
                    <a:pt x="1454951" y="690946"/>
                  </a:lnTo>
                  <a:lnTo>
                    <a:pt x="1454951" y="666551"/>
                  </a:lnTo>
                  <a:lnTo>
                    <a:pt x="1354320" y="666551"/>
                  </a:lnTo>
                  <a:lnTo>
                    <a:pt x="1354320" y="642155"/>
                  </a:lnTo>
                  <a:lnTo>
                    <a:pt x="1340089" y="642155"/>
                  </a:lnTo>
                  <a:lnTo>
                    <a:pt x="1340089" y="617760"/>
                  </a:lnTo>
                  <a:lnTo>
                    <a:pt x="1286216" y="617760"/>
                  </a:lnTo>
                  <a:lnTo>
                    <a:pt x="1286216" y="596414"/>
                  </a:lnTo>
                  <a:lnTo>
                    <a:pt x="1178471" y="596414"/>
                  </a:lnTo>
                  <a:lnTo>
                    <a:pt x="1178471" y="556772"/>
                  </a:lnTo>
                  <a:lnTo>
                    <a:pt x="1038325" y="556772"/>
                  </a:lnTo>
                  <a:lnTo>
                    <a:pt x="1038325" y="534409"/>
                  </a:lnTo>
                  <a:lnTo>
                    <a:pt x="1011896" y="534409"/>
                  </a:lnTo>
                  <a:lnTo>
                    <a:pt x="1011896" y="512047"/>
                  </a:lnTo>
                  <a:lnTo>
                    <a:pt x="957007" y="512047"/>
                  </a:lnTo>
                  <a:lnTo>
                    <a:pt x="957007" y="493751"/>
                  </a:lnTo>
                  <a:lnTo>
                    <a:pt x="950908" y="493751"/>
                  </a:lnTo>
                  <a:lnTo>
                    <a:pt x="950908" y="430729"/>
                  </a:lnTo>
                  <a:lnTo>
                    <a:pt x="936678" y="430729"/>
                  </a:lnTo>
                  <a:lnTo>
                    <a:pt x="936678" y="409384"/>
                  </a:lnTo>
                  <a:lnTo>
                    <a:pt x="897035" y="409384"/>
                  </a:lnTo>
                  <a:lnTo>
                    <a:pt x="897035" y="394136"/>
                  </a:lnTo>
                  <a:lnTo>
                    <a:pt x="806569" y="394136"/>
                  </a:lnTo>
                  <a:lnTo>
                    <a:pt x="806569" y="370758"/>
                  </a:lnTo>
                  <a:lnTo>
                    <a:pt x="743548" y="370758"/>
                  </a:lnTo>
                  <a:lnTo>
                    <a:pt x="743548" y="356527"/>
                  </a:lnTo>
                  <a:lnTo>
                    <a:pt x="735416" y="356527"/>
                  </a:lnTo>
                  <a:lnTo>
                    <a:pt x="735416" y="341280"/>
                  </a:lnTo>
                  <a:lnTo>
                    <a:pt x="711021" y="341280"/>
                  </a:lnTo>
                  <a:lnTo>
                    <a:pt x="711021" y="319934"/>
                  </a:lnTo>
                  <a:lnTo>
                    <a:pt x="679511" y="319934"/>
                  </a:lnTo>
                  <a:lnTo>
                    <a:pt x="679511" y="300621"/>
                  </a:lnTo>
                  <a:lnTo>
                    <a:pt x="666296" y="300621"/>
                  </a:lnTo>
                  <a:lnTo>
                    <a:pt x="666296" y="278259"/>
                  </a:lnTo>
                  <a:lnTo>
                    <a:pt x="583962" y="278259"/>
                  </a:lnTo>
                  <a:lnTo>
                    <a:pt x="583962" y="264028"/>
                  </a:lnTo>
                  <a:lnTo>
                    <a:pt x="573798" y="264028"/>
                  </a:lnTo>
                  <a:lnTo>
                    <a:pt x="573798" y="239887"/>
                  </a:lnTo>
                  <a:lnTo>
                    <a:pt x="562871" y="239887"/>
                  </a:lnTo>
                  <a:lnTo>
                    <a:pt x="562871" y="211299"/>
                  </a:lnTo>
                  <a:lnTo>
                    <a:pt x="552833" y="211299"/>
                  </a:lnTo>
                  <a:lnTo>
                    <a:pt x="552833" y="192367"/>
                  </a:lnTo>
                  <a:lnTo>
                    <a:pt x="546988" y="192367"/>
                  </a:lnTo>
                  <a:lnTo>
                    <a:pt x="546988" y="178136"/>
                  </a:lnTo>
                  <a:lnTo>
                    <a:pt x="536442" y="178136"/>
                  </a:lnTo>
                  <a:lnTo>
                    <a:pt x="536442" y="163906"/>
                  </a:lnTo>
                  <a:lnTo>
                    <a:pt x="501120" y="163906"/>
                  </a:lnTo>
                  <a:lnTo>
                    <a:pt x="501120" y="148786"/>
                  </a:lnTo>
                  <a:lnTo>
                    <a:pt x="412560" y="148786"/>
                  </a:lnTo>
                  <a:lnTo>
                    <a:pt x="412560" y="132776"/>
                  </a:lnTo>
                  <a:lnTo>
                    <a:pt x="373553" y="132776"/>
                  </a:lnTo>
                  <a:lnTo>
                    <a:pt x="373553" y="117656"/>
                  </a:lnTo>
                  <a:lnTo>
                    <a:pt x="340009" y="117656"/>
                  </a:lnTo>
                  <a:lnTo>
                    <a:pt x="340009" y="99233"/>
                  </a:lnTo>
                  <a:lnTo>
                    <a:pt x="293887" y="99233"/>
                  </a:lnTo>
                  <a:lnTo>
                    <a:pt x="293887" y="88306"/>
                  </a:lnTo>
                  <a:lnTo>
                    <a:pt x="241031" y="88306"/>
                  </a:lnTo>
                  <a:lnTo>
                    <a:pt x="241031" y="72296"/>
                  </a:lnTo>
                  <a:lnTo>
                    <a:pt x="210409" y="72296"/>
                  </a:lnTo>
                  <a:lnTo>
                    <a:pt x="210409" y="40405"/>
                  </a:lnTo>
                  <a:lnTo>
                    <a:pt x="152471" y="40405"/>
                  </a:lnTo>
                  <a:lnTo>
                    <a:pt x="152471" y="26555"/>
                  </a:lnTo>
                  <a:lnTo>
                    <a:pt x="122231" y="26555"/>
                  </a:lnTo>
                  <a:lnTo>
                    <a:pt x="122231" y="16518"/>
                  </a:lnTo>
                  <a:lnTo>
                    <a:pt x="81064" y="16518"/>
                  </a:lnTo>
                  <a:lnTo>
                    <a:pt x="81064" y="0"/>
                  </a:lnTo>
                  <a:lnTo>
                    <a:pt x="0" y="0"/>
                  </a:lnTo>
                  <a:lnTo>
                    <a:pt x="0" y="142306"/>
                  </a:lnTo>
                  <a:lnTo>
                    <a:pt x="75092" y="142306"/>
                  </a:lnTo>
                  <a:lnTo>
                    <a:pt x="75092" y="188047"/>
                  </a:lnTo>
                  <a:lnTo>
                    <a:pt x="126296" y="188047"/>
                  </a:lnTo>
                  <a:lnTo>
                    <a:pt x="126296" y="212824"/>
                  </a:lnTo>
                  <a:lnTo>
                    <a:pt x="152344" y="212824"/>
                  </a:lnTo>
                  <a:lnTo>
                    <a:pt x="152344" y="244334"/>
                  </a:lnTo>
                  <a:lnTo>
                    <a:pt x="209901" y="244334"/>
                  </a:lnTo>
                  <a:lnTo>
                    <a:pt x="209901" y="295158"/>
                  </a:lnTo>
                  <a:lnTo>
                    <a:pt x="239252" y="295158"/>
                  </a:lnTo>
                  <a:lnTo>
                    <a:pt x="239252" y="326668"/>
                  </a:lnTo>
                  <a:lnTo>
                    <a:pt x="303925" y="326668"/>
                  </a:lnTo>
                  <a:lnTo>
                    <a:pt x="303925" y="345092"/>
                  </a:lnTo>
                  <a:lnTo>
                    <a:pt x="342551" y="345092"/>
                  </a:lnTo>
                  <a:lnTo>
                    <a:pt x="342551" y="374951"/>
                  </a:lnTo>
                  <a:lnTo>
                    <a:pt x="372409" y="374951"/>
                  </a:lnTo>
                  <a:lnTo>
                    <a:pt x="372409" y="399727"/>
                  </a:lnTo>
                  <a:lnTo>
                    <a:pt x="408113" y="399727"/>
                  </a:lnTo>
                  <a:lnTo>
                    <a:pt x="408113" y="421962"/>
                  </a:lnTo>
                  <a:lnTo>
                    <a:pt x="498833" y="421962"/>
                  </a:lnTo>
                  <a:lnTo>
                    <a:pt x="498833" y="450042"/>
                  </a:lnTo>
                  <a:lnTo>
                    <a:pt x="536188" y="450042"/>
                  </a:lnTo>
                  <a:lnTo>
                    <a:pt x="536188" y="470245"/>
                  </a:lnTo>
                  <a:lnTo>
                    <a:pt x="550419" y="470245"/>
                  </a:lnTo>
                  <a:lnTo>
                    <a:pt x="550419" y="501374"/>
                  </a:lnTo>
                  <a:lnTo>
                    <a:pt x="560965" y="501374"/>
                  </a:lnTo>
                  <a:lnTo>
                    <a:pt x="560965" y="543304"/>
                  </a:lnTo>
                  <a:lnTo>
                    <a:pt x="568080" y="543304"/>
                  </a:lnTo>
                  <a:lnTo>
                    <a:pt x="568080" y="579007"/>
                  </a:lnTo>
                  <a:lnTo>
                    <a:pt x="576466" y="579007"/>
                  </a:lnTo>
                  <a:lnTo>
                    <a:pt x="576466" y="601624"/>
                  </a:lnTo>
                  <a:lnTo>
                    <a:pt x="612551" y="601624"/>
                  </a:lnTo>
                  <a:lnTo>
                    <a:pt x="612551" y="614202"/>
                  </a:lnTo>
                  <a:lnTo>
                    <a:pt x="668838" y="614202"/>
                  </a:lnTo>
                  <a:lnTo>
                    <a:pt x="668838" y="657021"/>
                  </a:lnTo>
                  <a:lnTo>
                    <a:pt x="687769" y="657021"/>
                  </a:lnTo>
                  <a:lnTo>
                    <a:pt x="687769" y="670871"/>
                  </a:lnTo>
                  <a:lnTo>
                    <a:pt x="714579" y="670871"/>
                  </a:lnTo>
                  <a:lnTo>
                    <a:pt x="714579" y="688532"/>
                  </a:lnTo>
                  <a:lnTo>
                    <a:pt x="736433" y="688532"/>
                  </a:lnTo>
                  <a:lnTo>
                    <a:pt x="736433" y="732748"/>
                  </a:lnTo>
                  <a:lnTo>
                    <a:pt x="809873" y="732748"/>
                  </a:lnTo>
                  <a:cubicBezTo>
                    <a:pt x="809873" y="732748"/>
                    <a:pt x="808602" y="757016"/>
                    <a:pt x="809873" y="757016"/>
                  </a:cubicBezTo>
                  <a:lnTo>
                    <a:pt x="894621" y="757016"/>
                  </a:lnTo>
                  <a:lnTo>
                    <a:pt x="894621" y="783064"/>
                  </a:lnTo>
                  <a:lnTo>
                    <a:pt x="938329" y="783064"/>
                  </a:lnTo>
                  <a:lnTo>
                    <a:pt x="938329" y="808729"/>
                  </a:lnTo>
                  <a:lnTo>
                    <a:pt x="951798" y="808729"/>
                  </a:lnTo>
                  <a:lnTo>
                    <a:pt x="951798" y="880899"/>
                  </a:lnTo>
                  <a:lnTo>
                    <a:pt x="958532" y="880899"/>
                  </a:lnTo>
                  <a:lnTo>
                    <a:pt x="958532" y="905294"/>
                  </a:lnTo>
                  <a:lnTo>
                    <a:pt x="1010118" y="905294"/>
                  </a:lnTo>
                  <a:lnTo>
                    <a:pt x="1010118" y="928419"/>
                  </a:lnTo>
                  <a:lnTo>
                    <a:pt x="1047092" y="928419"/>
                  </a:lnTo>
                  <a:lnTo>
                    <a:pt x="1047092" y="956499"/>
                  </a:lnTo>
                  <a:lnTo>
                    <a:pt x="1182663" y="956499"/>
                  </a:lnTo>
                  <a:lnTo>
                    <a:pt x="1182663" y="1002621"/>
                  </a:lnTo>
                  <a:lnTo>
                    <a:pt x="1287995" y="1002621"/>
                  </a:lnTo>
                  <a:lnTo>
                    <a:pt x="1287995" y="1032480"/>
                  </a:lnTo>
                  <a:lnTo>
                    <a:pt x="1338819" y="1032480"/>
                  </a:lnTo>
                  <a:lnTo>
                    <a:pt x="1338819" y="1059289"/>
                  </a:lnTo>
                  <a:lnTo>
                    <a:pt x="1353939" y="1059289"/>
                  </a:lnTo>
                  <a:lnTo>
                    <a:pt x="1353939" y="1081906"/>
                  </a:lnTo>
                  <a:lnTo>
                    <a:pt x="1455586" y="1081906"/>
                  </a:lnTo>
                  <a:lnTo>
                    <a:pt x="1455586" y="1109224"/>
                  </a:lnTo>
                  <a:lnTo>
                    <a:pt x="1657990" y="1109224"/>
                  </a:lnTo>
                  <a:lnTo>
                    <a:pt x="1657990" y="1136922"/>
                  </a:lnTo>
                  <a:lnTo>
                    <a:pt x="1713388" y="1136922"/>
                  </a:lnTo>
                  <a:lnTo>
                    <a:pt x="1713388" y="1164621"/>
                  </a:lnTo>
                  <a:lnTo>
                    <a:pt x="2012739" y="1164621"/>
                  </a:lnTo>
                  <a:lnTo>
                    <a:pt x="2012739" y="1192320"/>
                  </a:lnTo>
                  <a:lnTo>
                    <a:pt x="2065214" y="1192320"/>
                  </a:lnTo>
                  <a:lnTo>
                    <a:pt x="2065214" y="1222560"/>
                  </a:lnTo>
                  <a:cubicBezTo>
                    <a:pt x="2065214" y="1222560"/>
                    <a:pt x="2249957" y="1219257"/>
                    <a:pt x="2249957" y="1222560"/>
                  </a:cubicBezTo>
                  <a:lnTo>
                    <a:pt x="2249957" y="1256104"/>
                  </a:lnTo>
                  <a:lnTo>
                    <a:pt x="2323016" y="1256104"/>
                  </a:lnTo>
                  <a:lnTo>
                    <a:pt x="2323016" y="1285454"/>
                  </a:lnTo>
                  <a:lnTo>
                    <a:pt x="2353637" y="1285454"/>
                  </a:lnTo>
                  <a:lnTo>
                    <a:pt x="2353637" y="1312264"/>
                  </a:lnTo>
                  <a:lnTo>
                    <a:pt x="2370409" y="1312264"/>
                  </a:lnTo>
                  <a:lnTo>
                    <a:pt x="2370409" y="1342122"/>
                  </a:lnTo>
                  <a:lnTo>
                    <a:pt x="2691614" y="1342122"/>
                  </a:lnTo>
                  <a:lnTo>
                    <a:pt x="2691614" y="1394216"/>
                  </a:lnTo>
                  <a:lnTo>
                    <a:pt x="2715501" y="1394216"/>
                  </a:lnTo>
                  <a:lnTo>
                    <a:pt x="2715501" y="929435"/>
                  </a:lnTo>
                  <a:lnTo>
                    <a:pt x="2710546" y="929689"/>
                  </a:lnTo>
                  <a:close/>
                </a:path>
              </a:pathLst>
            </a:custGeom>
            <a:solidFill>
              <a:srgbClr val="0460A9">
                <a:alpha val="30000"/>
              </a:srgbClr>
            </a:solidFill>
            <a:ln w="126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0DEAA882-C011-FD55-95F6-F3F88B077045}"/>
                </a:ext>
              </a:extLst>
            </p:cNvPr>
            <p:cNvSpPr/>
            <p:nvPr/>
          </p:nvSpPr>
          <p:spPr>
            <a:xfrm>
              <a:off x="1445130" y="2111851"/>
              <a:ext cx="2712705" cy="1548974"/>
            </a:xfrm>
            <a:custGeom>
              <a:avLst/>
              <a:gdLst>
                <a:gd name="connsiteX0" fmla="*/ 254 w 2712705"/>
                <a:gd name="connsiteY0" fmla="*/ 11308 h 1548974"/>
                <a:gd name="connsiteX1" fmla="*/ 11562 w 2712705"/>
                <a:gd name="connsiteY1" fmla="*/ 11308 h 1548974"/>
                <a:gd name="connsiteX2" fmla="*/ 11562 w 2712705"/>
                <a:gd name="connsiteY2" fmla="*/ 53492 h 1548974"/>
                <a:gd name="connsiteX3" fmla="*/ 19694 w 2712705"/>
                <a:gd name="connsiteY3" fmla="*/ 53492 h 1548974"/>
                <a:gd name="connsiteX4" fmla="*/ 19694 w 2712705"/>
                <a:gd name="connsiteY4" fmla="*/ 63784 h 1548974"/>
                <a:gd name="connsiteX5" fmla="*/ 70518 w 2712705"/>
                <a:gd name="connsiteY5" fmla="*/ 63784 h 1548974"/>
                <a:gd name="connsiteX6" fmla="*/ 70518 w 2712705"/>
                <a:gd name="connsiteY6" fmla="*/ 78395 h 1548974"/>
                <a:gd name="connsiteX7" fmla="*/ 83986 w 2712705"/>
                <a:gd name="connsiteY7" fmla="*/ 78395 h 1548974"/>
                <a:gd name="connsiteX8" fmla="*/ 83986 w 2712705"/>
                <a:gd name="connsiteY8" fmla="*/ 120071 h 1548974"/>
                <a:gd name="connsiteX9" fmla="*/ 96438 w 2712705"/>
                <a:gd name="connsiteY9" fmla="*/ 120071 h 1548974"/>
                <a:gd name="connsiteX10" fmla="*/ 96438 w 2712705"/>
                <a:gd name="connsiteY10" fmla="*/ 128711 h 1548974"/>
                <a:gd name="connsiteX11" fmla="*/ 107238 w 2712705"/>
                <a:gd name="connsiteY11" fmla="*/ 128711 h 1548974"/>
                <a:gd name="connsiteX12" fmla="*/ 107238 w 2712705"/>
                <a:gd name="connsiteY12" fmla="*/ 168226 h 1548974"/>
                <a:gd name="connsiteX13" fmla="*/ 116386 w 2712705"/>
                <a:gd name="connsiteY13" fmla="*/ 168226 h 1548974"/>
                <a:gd name="connsiteX14" fmla="*/ 116386 w 2712705"/>
                <a:gd name="connsiteY14" fmla="*/ 183854 h 1548974"/>
                <a:gd name="connsiteX15" fmla="*/ 134809 w 2712705"/>
                <a:gd name="connsiteY15" fmla="*/ 183854 h 1548974"/>
                <a:gd name="connsiteX16" fmla="*/ 134809 w 2712705"/>
                <a:gd name="connsiteY16" fmla="*/ 207106 h 1548974"/>
                <a:gd name="connsiteX17" fmla="*/ 141798 w 2712705"/>
                <a:gd name="connsiteY17" fmla="*/ 207106 h 1548974"/>
                <a:gd name="connsiteX18" fmla="*/ 141798 w 2712705"/>
                <a:gd name="connsiteY18" fmla="*/ 231374 h 1548974"/>
                <a:gd name="connsiteX19" fmla="*/ 177501 w 2712705"/>
                <a:gd name="connsiteY19" fmla="*/ 231374 h 1548974"/>
                <a:gd name="connsiteX20" fmla="*/ 177501 w 2712705"/>
                <a:gd name="connsiteY20" fmla="*/ 258438 h 1548974"/>
                <a:gd name="connsiteX21" fmla="*/ 212061 w 2712705"/>
                <a:gd name="connsiteY21" fmla="*/ 258438 h 1548974"/>
                <a:gd name="connsiteX22" fmla="*/ 212061 w 2712705"/>
                <a:gd name="connsiteY22" fmla="*/ 275464 h 1548974"/>
                <a:gd name="connsiteX23" fmla="*/ 225021 w 2712705"/>
                <a:gd name="connsiteY23" fmla="*/ 275464 h 1548974"/>
                <a:gd name="connsiteX24" fmla="*/ 225021 w 2712705"/>
                <a:gd name="connsiteY24" fmla="*/ 284866 h 1548974"/>
                <a:gd name="connsiteX25" fmla="*/ 234805 w 2712705"/>
                <a:gd name="connsiteY25" fmla="*/ 284866 h 1548974"/>
                <a:gd name="connsiteX26" fmla="*/ 234805 w 2712705"/>
                <a:gd name="connsiteY26" fmla="*/ 305449 h 1548974"/>
                <a:gd name="connsiteX27" fmla="*/ 261360 w 2712705"/>
                <a:gd name="connsiteY27" fmla="*/ 305449 h 1548974"/>
                <a:gd name="connsiteX28" fmla="*/ 261360 w 2712705"/>
                <a:gd name="connsiteY28" fmla="*/ 339501 h 1548974"/>
                <a:gd name="connsiteX29" fmla="*/ 267332 w 2712705"/>
                <a:gd name="connsiteY29" fmla="*/ 339501 h 1548974"/>
                <a:gd name="connsiteX30" fmla="*/ 267332 w 2712705"/>
                <a:gd name="connsiteY30" fmla="*/ 352461 h 1548974"/>
                <a:gd name="connsiteX31" fmla="*/ 274955 w 2712705"/>
                <a:gd name="connsiteY31" fmla="*/ 352461 h 1548974"/>
                <a:gd name="connsiteX32" fmla="*/ 274955 w 2712705"/>
                <a:gd name="connsiteY32" fmla="*/ 365929 h 1548974"/>
                <a:gd name="connsiteX33" fmla="*/ 290584 w 2712705"/>
                <a:gd name="connsiteY33" fmla="*/ 365929 h 1548974"/>
                <a:gd name="connsiteX34" fmla="*/ 290584 w 2712705"/>
                <a:gd name="connsiteY34" fmla="*/ 376729 h 1548974"/>
                <a:gd name="connsiteX35" fmla="*/ 294395 w 2712705"/>
                <a:gd name="connsiteY35" fmla="*/ 376729 h 1548974"/>
                <a:gd name="connsiteX36" fmla="*/ 294395 w 2712705"/>
                <a:gd name="connsiteY36" fmla="*/ 393501 h 1548974"/>
                <a:gd name="connsiteX37" fmla="*/ 311675 w 2712705"/>
                <a:gd name="connsiteY37" fmla="*/ 393501 h 1548974"/>
                <a:gd name="connsiteX38" fmla="*/ 311675 w 2712705"/>
                <a:gd name="connsiteY38" fmla="*/ 446485 h 1548974"/>
                <a:gd name="connsiteX39" fmla="*/ 317139 w 2712705"/>
                <a:gd name="connsiteY39" fmla="*/ 446485 h 1548974"/>
                <a:gd name="connsiteX40" fmla="*/ 317139 w 2712705"/>
                <a:gd name="connsiteY40" fmla="*/ 459953 h 1548974"/>
                <a:gd name="connsiteX41" fmla="*/ 325271 w 2712705"/>
                <a:gd name="connsiteY41" fmla="*/ 459953 h 1548974"/>
                <a:gd name="connsiteX42" fmla="*/ 325271 w 2712705"/>
                <a:gd name="connsiteY42" fmla="*/ 484221 h 1548974"/>
                <a:gd name="connsiteX43" fmla="*/ 343694 w 2712705"/>
                <a:gd name="connsiteY43" fmla="*/ 484221 h 1548974"/>
                <a:gd name="connsiteX44" fmla="*/ 343694 w 2712705"/>
                <a:gd name="connsiteY44" fmla="*/ 514461 h 1548974"/>
                <a:gd name="connsiteX45" fmla="*/ 352842 w 2712705"/>
                <a:gd name="connsiteY45" fmla="*/ 514461 h 1548974"/>
                <a:gd name="connsiteX46" fmla="*/ 352842 w 2712705"/>
                <a:gd name="connsiteY46" fmla="*/ 538729 h 1548974"/>
                <a:gd name="connsiteX47" fmla="*/ 385242 w 2712705"/>
                <a:gd name="connsiteY47" fmla="*/ 538729 h 1548974"/>
                <a:gd name="connsiteX48" fmla="*/ 385242 w 2712705"/>
                <a:gd name="connsiteY48" fmla="*/ 550038 h 1548974"/>
                <a:gd name="connsiteX49" fmla="*/ 400871 w 2712705"/>
                <a:gd name="connsiteY49" fmla="*/ 550038 h 1548974"/>
                <a:gd name="connsiteX50" fmla="*/ 400871 w 2712705"/>
                <a:gd name="connsiteY50" fmla="*/ 588918 h 1548974"/>
                <a:gd name="connsiteX51" fmla="*/ 415991 w 2712705"/>
                <a:gd name="connsiteY51" fmla="*/ 588918 h 1548974"/>
                <a:gd name="connsiteX52" fmla="*/ 415991 w 2712705"/>
                <a:gd name="connsiteY52" fmla="*/ 603529 h 1548974"/>
                <a:gd name="connsiteX53" fmla="*/ 432254 w 2712705"/>
                <a:gd name="connsiteY53" fmla="*/ 603529 h 1548974"/>
                <a:gd name="connsiteX54" fmla="*/ 432254 w 2712705"/>
                <a:gd name="connsiteY54" fmla="*/ 615473 h 1548974"/>
                <a:gd name="connsiteX55" fmla="*/ 460969 w 2712705"/>
                <a:gd name="connsiteY55" fmla="*/ 615473 h 1548974"/>
                <a:gd name="connsiteX56" fmla="*/ 460969 w 2712705"/>
                <a:gd name="connsiteY56" fmla="*/ 622461 h 1548974"/>
                <a:gd name="connsiteX57" fmla="*/ 485873 w 2712705"/>
                <a:gd name="connsiteY57" fmla="*/ 622461 h 1548974"/>
                <a:gd name="connsiteX58" fmla="*/ 485873 w 2712705"/>
                <a:gd name="connsiteY58" fmla="*/ 672777 h 1548974"/>
                <a:gd name="connsiteX59" fmla="*/ 495021 w 2712705"/>
                <a:gd name="connsiteY59" fmla="*/ 672777 h 1548974"/>
                <a:gd name="connsiteX60" fmla="*/ 495021 w 2712705"/>
                <a:gd name="connsiteY60" fmla="*/ 692725 h 1548974"/>
                <a:gd name="connsiteX61" fmla="*/ 522593 w 2712705"/>
                <a:gd name="connsiteY61" fmla="*/ 692725 h 1548974"/>
                <a:gd name="connsiteX62" fmla="*/ 522593 w 2712705"/>
                <a:gd name="connsiteY62" fmla="*/ 702508 h 1548974"/>
                <a:gd name="connsiteX63" fmla="*/ 533393 w 2712705"/>
                <a:gd name="connsiteY63" fmla="*/ 702508 h 1548974"/>
                <a:gd name="connsiteX64" fmla="*/ 533393 w 2712705"/>
                <a:gd name="connsiteY64" fmla="*/ 714452 h 1548974"/>
                <a:gd name="connsiteX65" fmla="*/ 546353 w 2712705"/>
                <a:gd name="connsiteY65" fmla="*/ 714452 h 1548974"/>
                <a:gd name="connsiteX66" fmla="*/ 546353 w 2712705"/>
                <a:gd name="connsiteY66" fmla="*/ 728555 h 1548974"/>
                <a:gd name="connsiteX67" fmla="*/ 557153 w 2712705"/>
                <a:gd name="connsiteY67" fmla="*/ 728555 h 1548974"/>
                <a:gd name="connsiteX68" fmla="*/ 557153 w 2712705"/>
                <a:gd name="connsiteY68" fmla="*/ 736179 h 1548974"/>
                <a:gd name="connsiteX69" fmla="*/ 606325 w 2712705"/>
                <a:gd name="connsiteY69" fmla="*/ 736179 h 1548974"/>
                <a:gd name="connsiteX70" fmla="*/ 606325 w 2712705"/>
                <a:gd name="connsiteY70" fmla="*/ 752442 h 1548974"/>
                <a:gd name="connsiteX71" fmla="*/ 632880 w 2712705"/>
                <a:gd name="connsiteY71" fmla="*/ 752442 h 1548974"/>
                <a:gd name="connsiteX72" fmla="*/ 632880 w 2712705"/>
                <a:gd name="connsiteY72" fmla="*/ 767562 h 1548974"/>
                <a:gd name="connsiteX73" fmla="*/ 653463 w 2712705"/>
                <a:gd name="connsiteY73" fmla="*/ 767562 h 1548974"/>
                <a:gd name="connsiteX74" fmla="*/ 653463 w 2712705"/>
                <a:gd name="connsiteY74" fmla="*/ 782682 h 1548974"/>
                <a:gd name="connsiteX75" fmla="*/ 697299 w 2712705"/>
                <a:gd name="connsiteY75" fmla="*/ 782682 h 1548974"/>
                <a:gd name="connsiteX76" fmla="*/ 697299 w 2712705"/>
                <a:gd name="connsiteY76" fmla="*/ 797294 h 1548974"/>
                <a:gd name="connsiteX77" fmla="*/ 716739 w 2712705"/>
                <a:gd name="connsiteY77" fmla="*/ 797294 h 1548974"/>
                <a:gd name="connsiteX78" fmla="*/ 716739 w 2712705"/>
                <a:gd name="connsiteY78" fmla="*/ 804918 h 1548974"/>
                <a:gd name="connsiteX79" fmla="*/ 736687 w 2712705"/>
                <a:gd name="connsiteY79" fmla="*/ 804918 h 1548974"/>
                <a:gd name="connsiteX80" fmla="*/ 736687 w 2712705"/>
                <a:gd name="connsiteY80" fmla="*/ 863873 h 1548974"/>
                <a:gd name="connsiteX81" fmla="*/ 743167 w 2712705"/>
                <a:gd name="connsiteY81" fmla="*/ 863873 h 1548974"/>
                <a:gd name="connsiteX82" fmla="*/ 743167 w 2712705"/>
                <a:gd name="connsiteY82" fmla="*/ 880137 h 1548974"/>
                <a:gd name="connsiteX83" fmla="*/ 757779 w 2712705"/>
                <a:gd name="connsiteY83" fmla="*/ 880137 h 1548974"/>
                <a:gd name="connsiteX84" fmla="*/ 757779 w 2712705"/>
                <a:gd name="connsiteY84" fmla="*/ 913172 h 1548974"/>
                <a:gd name="connsiteX85" fmla="*/ 767562 w 2712705"/>
                <a:gd name="connsiteY85" fmla="*/ 913172 h 1548974"/>
                <a:gd name="connsiteX86" fmla="*/ 767562 w 2712705"/>
                <a:gd name="connsiteY86" fmla="*/ 922955 h 1548974"/>
                <a:gd name="connsiteX87" fmla="*/ 821689 w 2712705"/>
                <a:gd name="connsiteY87" fmla="*/ 922955 h 1548974"/>
                <a:gd name="connsiteX88" fmla="*/ 821689 w 2712705"/>
                <a:gd name="connsiteY88" fmla="*/ 971111 h 1548974"/>
                <a:gd name="connsiteX89" fmla="*/ 826009 w 2712705"/>
                <a:gd name="connsiteY89" fmla="*/ 971111 h 1548974"/>
                <a:gd name="connsiteX90" fmla="*/ 826009 w 2712705"/>
                <a:gd name="connsiteY90" fmla="*/ 996014 h 1548974"/>
                <a:gd name="connsiteX91" fmla="*/ 851421 w 2712705"/>
                <a:gd name="connsiteY91" fmla="*/ 996014 h 1548974"/>
                <a:gd name="connsiteX92" fmla="*/ 851421 w 2712705"/>
                <a:gd name="connsiteY92" fmla="*/ 1007322 h 1548974"/>
                <a:gd name="connsiteX93" fmla="*/ 867049 w 2712705"/>
                <a:gd name="connsiteY93" fmla="*/ 1007322 h 1548974"/>
                <a:gd name="connsiteX94" fmla="*/ 867049 w 2712705"/>
                <a:gd name="connsiteY94" fmla="*/ 1037054 h 1548974"/>
                <a:gd name="connsiteX95" fmla="*/ 883313 w 2712705"/>
                <a:gd name="connsiteY95" fmla="*/ 1037054 h 1548974"/>
                <a:gd name="connsiteX96" fmla="*/ 883313 w 2712705"/>
                <a:gd name="connsiteY96" fmla="*/ 1059798 h 1548974"/>
                <a:gd name="connsiteX97" fmla="*/ 904913 w 2712705"/>
                <a:gd name="connsiteY97" fmla="*/ 1059798 h 1548974"/>
                <a:gd name="connsiteX98" fmla="*/ 904913 w 2712705"/>
                <a:gd name="connsiteY98" fmla="*/ 1070089 h 1548974"/>
                <a:gd name="connsiteX99" fmla="*/ 977845 w 2712705"/>
                <a:gd name="connsiteY99" fmla="*/ 1070089 h 1548974"/>
                <a:gd name="connsiteX100" fmla="*/ 977845 w 2712705"/>
                <a:gd name="connsiteY100" fmla="*/ 1098169 h 1548974"/>
                <a:gd name="connsiteX101" fmla="*/ 988645 w 2712705"/>
                <a:gd name="connsiteY101" fmla="*/ 1098169 h 1548974"/>
                <a:gd name="connsiteX102" fmla="*/ 988645 w 2712705"/>
                <a:gd name="connsiteY102" fmla="*/ 1112781 h 1548974"/>
                <a:gd name="connsiteX103" fmla="*/ 1014565 w 2712705"/>
                <a:gd name="connsiteY103" fmla="*/ 1112781 h 1548974"/>
                <a:gd name="connsiteX104" fmla="*/ 1014565 w 2712705"/>
                <a:gd name="connsiteY104" fmla="*/ 1143657 h 1548974"/>
                <a:gd name="connsiteX105" fmla="*/ 1105412 w 2712705"/>
                <a:gd name="connsiteY105" fmla="*/ 1143657 h 1548974"/>
                <a:gd name="connsiteX106" fmla="*/ 1105412 w 2712705"/>
                <a:gd name="connsiteY106" fmla="*/ 1160428 h 1548974"/>
                <a:gd name="connsiteX107" fmla="*/ 1117864 w 2712705"/>
                <a:gd name="connsiteY107" fmla="*/ 1160428 h 1548974"/>
                <a:gd name="connsiteX108" fmla="*/ 1117864 w 2712705"/>
                <a:gd name="connsiteY108" fmla="*/ 1175040 h 1548974"/>
                <a:gd name="connsiteX109" fmla="*/ 1155219 w 2712705"/>
                <a:gd name="connsiteY109" fmla="*/ 1175040 h 1548974"/>
                <a:gd name="connsiteX110" fmla="*/ 1155219 w 2712705"/>
                <a:gd name="connsiteY110" fmla="*/ 1187492 h 1548974"/>
                <a:gd name="connsiteX111" fmla="*/ 1188254 w 2712705"/>
                <a:gd name="connsiteY111" fmla="*/ 1187492 h 1548974"/>
                <a:gd name="connsiteX112" fmla="*/ 1188254 w 2712705"/>
                <a:gd name="connsiteY112" fmla="*/ 1198800 h 1548974"/>
                <a:gd name="connsiteX113" fmla="*/ 1216969 w 2712705"/>
                <a:gd name="connsiteY113" fmla="*/ 1198800 h 1548974"/>
                <a:gd name="connsiteX114" fmla="*/ 1216969 w 2712705"/>
                <a:gd name="connsiteY114" fmla="*/ 1204772 h 1548974"/>
                <a:gd name="connsiteX115" fmla="*/ 1228913 w 2712705"/>
                <a:gd name="connsiteY115" fmla="*/ 1204772 h 1548974"/>
                <a:gd name="connsiteX116" fmla="*/ 1228913 w 2712705"/>
                <a:gd name="connsiteY116" fmla="*/ 1222560 h 1548974"/>
                <a:gd name="connsiteX117" fmla="*/ 1270588 w 2712705"/>
                <a:gd name="connsiteY117" fmla="*/ 1222560 h 1548974"/>
                <a:gd name="connsiteX118" fmla="*/ 1270588 w 2712705"/>
                <a:gd name="connsiteY118" fmla="*/ 1236028 h 1548974"/>
                <a:gd name="connsiteX119" fmla="*/ 1290028 w 2712705"/>
                <a:gd name="connsiteY119" fmla="*/ 1236028 h 1548974"/>
                <a:gd name="connsiteX120" fmla="*/ 1290028 w 2712705"/>
                <a:gd name="connsiteY120" fmla="*/ 1254452 h 1548974"/>
                <a:gd name="connsiteX121" fmla="*/ 1323063 w 2712705"/>
                <a:gd name="connsiteY121" fmla="*/ 1254452 h 1548974"/>
                <a:gd name="connsiteX122" fmla="*/ 1323063 w 2712705"/>
                <a:gd name="connsiteY122" fmla="*/ 1267412 h 1548974"/>
                <a:gd name="connsiteX123" fmla="*/ 1443642 w 2712705"/>
                <a:gd name="connsiteY123" fmla="*/ 1267412 h 1548974"/>
                <a:gd name="connsiteX124" fmla="*/ 1443642 w 2712705"/>
                <a:gd name="connsiteY124" fmla="*/ 1293967 h 1548974"/>
                <a:gd name="connsiteX125" fmla="*/ 1479854 w 2712705"/>
                <a:gd name="connsiteY125" fmla="*/ 1293967 h 1548974"/>
                <a:gd name="connsiteX126" fmla="*/ 1479854 w 2712705"/>
                <a:gd name="connsiteY126" fmla="*/ 1308071 h 1548974"/>
                <a:gd name="connsiteX127" fmla="*/ 1494974 w 2712705"/>
                <a:gd name="connsiteY127" fmla="*/ 1308071 h 1548974"/>
                <a:gd name="connsiteX128" fmla="*/ 1494974 w 2712705"/>
                <a:gd name="connsiteY128" fmla="*/ 1325859 h 1548974"/>
                <a:gd name="connsiteX129" fmla="*/ 1534998 w 2712705"/>
                <a:gd name="connsiteY129" fmla="*/ 1325859 h 1548974"/>
                <a:gd name="connsiteX130" fmla="*/ 1534998 w 2712705"/>
                <a:gd name="connsiteY130" fmla="*/ 1355082 h 1548974"/>
                <a:gd name="connsiteX131" fmla="*/ 1634485 w 2712705"/>
                <a:gd name="connsiteY131" fmla="*/ 1355082 h 1548974"/>
                <a:gd name="connsiteX132" fmla="*/ 1634485 w 2712705"/>
                <a:gd name="connsiteY132" fmla="*/ 1375031 h 1548974"/>
                <a:gd name="connsiteX133" fmla="*/ 1697760 w 2712705"/>
                <a:gd name="connsiteY133" fmla="*/ 1375031 h 1548974"/>
                <a:gd name="connsiteX134" fmla="*/ 1697760 w 2712705"/>
                <a:gd name="connsiteY134" fmla="*/ 1390659 h 1548974"/>
                <a:gd name="connsiteX135" fmla="*/ 1851374 w 2712705"/>
                <a:gd name="connsiteY135" fmla="*/ 1390659 h 1548974"/>
                <a:gd name="connsiteX136" fmla="*/ 1851374 w 2712705"/>
                <a:gd name="connsiteY136" fmla="*/ 1408447 h 1548974"/>
                <a:gd name="connsiteX137" fmla="*/ 1882757 w 2712705"/>
                <a:gd name="connsiteY137" fmla="*/ 1408447 h 1548974"/>
                <a:gd name="connsiteX138" fmla="*/ 1882757 w 2712705"/>
                <a:gd name="connsiteY138" fmla="*/ 1432715 h 1548974"/>
                <a:gd name="connsiteX139" fmla="*/ 1985548 w 2712705"/>
                <a:gd name="connsiteY139" fmla="*/ 1432715 h 1548974"/>
                <a:gd name="connsiteX140" fmla="*/ 1985548 w 2712705"/>
                <a:gd name="connsiteY140" fmla="*/ 1443515 h 1548974"/>
                <a:gd name="connsiteX141" fmla="*/ 2316409 w 2712705"/>
                <a:gd name="connsiteY141" fmla="*/ 1443515 h 1548974"/>
                <a:gd name="connsiteX142" fmla="*/ 2316409 w 2712705"/>
                <a:gd name="connsiteY142" fmla="*/ 1490527 h 1548974"/>
                <a:gd name="connsiteX143" fmla="*/ 2354781 w 2712705"/>
                <a:gd name="connsiteY143" fmla="*/ 1490527 h 1548974"/>
                <a:gd name="connsiteX144" fmla="*/ 2354781 w 2712705"/>
                <a:gd name="connsiteY144" fmla="*/ 1517591 h 1548974"/>
                <a:gd name="connsiteX145" fmla="*/ 2699237 w 2712705"/>
                <a:gd name="connsiteY145" fmla="*/ 1517591 h 1548974"/>
                <a:gd name="connsiteX146" fmla="*/ 2699237 w 2712705"/>
                <a:gd name="connsiteY146" fmla="*/ 1548974 h 1548974"/>
                <a:gd name="connsiteX147" fmla="*/ 2712706 w 2712705"/>
                <a:gd name="connsiteY147" fmla="*/ 1548974 h 1548974"/>
                <a:gd name="connsiteX148" fmla="*/ 2712706 w 2712705"/>
                <a:gd name="connsiteY148" fmla="*/ 1220781 h 1548974"/>
                <a:gd name="connsiteX149" fmla="*/ 2700254 w 2712705"/>
                <a:gd name="connsiteY149" fmla="*/ 1220781 h 1548974"/>
                <a:gd name="connsiteX150" fmla="*/ 2700254 w 2712705"/>
                <a:gd name="connsiteY150" fmla="*/ 1194861 h 1548974"/>
                <a:gd name="connsiteX151" fmla="*/ 2352621 w 2712705"/>
                <a:gd name="connsiteY151" fmla="*/ 1194861 h 1548974"/>
                <a:gd name="connsiteX152" fmla="*/ 2352621 w 2712705"/>
                <a:gd name="connsiteY152" fmla="*/ 1174278 h 1548974"/>
                <a:gd name="connsiteX153" fmla="*/ 2308786 w 2712705"/>
                <a:gd name="connsiteY153" fmla="*/ 1174278 h 1548974"/>
                <a:gd name="connsiteX154" fmla="*/ 2308786 w 2712705"/>
                <a:gd name="connsiteY154" fmla="*/ 1130442 h 1548974"/>
                <a:gd name="connsiteX155" fmla="*/ 1981101 w 2712705"/>
                <a:gd name="connsiteY155" fmla="*/ 1130442 h 1548974"/>
                <a:gd name="connsiteX156" fmla="*/ 1981101 w 2712705"/>
                <a:gd name="connsiteY156" fmla="*/ 1114179 h 1548974"/>
                <a:gd name="connsiteX157" fmla="*/ 1876786 w 2712705"/>
                <a:gd name="connsiteY157" fmla="*/ 1114179 h 1548974"/>
                <a:gd name="connsiteX158" fmla="*/ 1876786 w 2712705"/>
                <a:gd name="connsiteY158" fmla="*/ 1097407 h 1548974"/>
                <a:gd name="connsiteX159" fmla="*/ 1845402 w 2712705"/>
                <a:gd name="connsiteY159" fmla="*/ 1097407 h 1548974"/>
                <a:gd name="connsiteX160" fmla="*/ 1845402 w 2712705"/>
                <a:gd name="connsiteY160" fmla="*/ 1080127 h 1548974"/>
                <a:gd name="connsiteX161" fmla="*/ 1693440 w 2712705"/>
                <a:gd name="connsiteY161" fmla="*/ 1080127 h 1548974"/>
                <a:gd name="connsiteX162" fmla="*/ 1693440 w 2712705"/>
                <a:gd name="connsiteY162" fmla="*/ 1061704 h 1548974"/>
                <a:gd name="connsiteX163" fmla="*/ 1629656 w 2712705"/>
                <a:gd name="connsiteY163" fmla="*/ 1061704 h 1548974"/>
                <a:gd name="connsiteX164" fmla="*/ 1629656 w 2712705"/>
                <a:gd name="connsiteY164" fmla="*/ 1047092 h 1548974"/>
                <a:gd name="connsiteX165" fmla="*/ 1533981 w 2712705"/>
                <a:gd name="connsiteY165" fmla="*/ 1047092 h 1548974"/>
                <a:gd name="connsiteX166" fmla="*/ 1533981 w 2712705"/>
                <a:gd name="connsiteY166" fmla="*/ 1029304 h 1548974"/>
                <a:gd name="connsiteX167" fmla="*/ 1528517 w 2712705"/>
                <a:gd name="connsiteY167" fmla="*/ 1029304 h 1548974"/>
                <a:gd name="connsiteX168" fmla="*/ 1528517 w 2712705"/>
                <a:gd name="connsiteY168" fmla="*/ 1016852 h 1548974"/>
                <a:gd name="connsiteX169" fmla="*/ 1492814 w 2712705"/>
                <a:gd name="connsiteY169" fmla="*/ 1016852 h 1548974"/>
                <a:gd name="connsiteX170" fmla="*/ 1492814 w 2712705"/>
                <a:gd name="connsiteY170" fmla="*/ 1004908 h 1548974"/>
                <a:gd name="connsiteX171" fmla="*/ 1480870 w 2712705"/>
                <a:gd name="connsiteY171" fmla="*/ 1004908 h 1548974"/>
                <a:gd name="connsiteX172" fmla="*/ 1480870 w 2712705"/>
                <a:gd name="connsiteY172" fmla="*/ 989788 h 1548974"/>
                <a:gd name="connsiteX173" fmla="*/ 1444659 w 2712705"/>
                <a:gd name="connsiteY173" fmla="*/ 989788 h 1548974"/>
                <a:gd name="connsiteX174" fmla="*/ 1444659 w 2712705"/>
                <a:gd name="connsiteY174" fmla="*/ 971365 h 1548974"/>
                <a:gd name="connsiteX175" fmla="*/ 1440339 w 2712705"/>
                <a:gd name="connsiteY175" fmla="*/ 971365 h 1548974"/>
                <a:gd name="connsiteX176" fmla="*/ 1440339 w 2712705"/>
                <a:gd name="connsiteY176" fmla="*/ 960565 h 1548974"/>
                <a:gd name="connsiteX177" fmla="*/ 1319760 w 2712705"/>
                <a:gd name="connsiteY177" fmla="*/ 960565 h 1548974"/>
                <a:gd name="connsiteX178" fmla="*/ 1319760 w 2712705"/>
                <a:gd name="connsiteY178" fmla="*/ 947605 h 1548974"/>
                <a:gd name="connsiteX179" fmla="*/ 1286725 w 2712705"/>
                <a:gd name="connsiteY179" fmla="*/ 947605 h 1548974"/>
                <a:gd name="connsiteX180" fmla="*/ 1286725 w 2712705"/>
                <a:gd name="connsiteY180" fmla="*/ 935153 h 1548974"/>
                <a:gd name="connsiteX181" fmla="*/ 1273256 w 2712705"/>
                <a:gd name="connsiteY181" fmla="*/ 935153 h 1548974"/>
                <a:gd name="connsiteX182" fmla="*/ 1273256 w 2712705"/>
                <a:gd name="connsiteY182" fmla="*/ 920033 h 1548974"/>
                <a:gd name="connsiteX183" fmla="*/ 1227261 w 2712705"/>
                <a:gd name="connsiteY183" fmla="*/ 920033 h 1548974"/>
                <a:gd name="connsiteX184" fmla="*/ 1227261 w 2712705"/>
                <a:gd name="connsiteY184" fmla="*/ 907073 h 1548974"/>
                <a:gd name="connsiteX185" fmla="*/ 1213793 w 2712705"/>
                <a:gd name="connsiteY185" fmla="*/ 907073 h 1548974"/>
                <a:gd name="connsiteX186" fmla="*/ 1213793 w 2712705"/>
                <a:gd name="connsiteY186" fmla="*/ 891953 h 1548974"/>
                <a:gd name="connsiteX187" fmla="*/ 1182409 w 2712705"/>
                <a:gd name="connsiteY187" fmla="*/ 891953 h 1548974"/>
                <a:gd name="connsiteX188" fmla="*/ 1182409 w 2712705"/>
                <a:gd name="connsiteY188" fmla="*/ 878485 h 1548974"/>
                <a:gd name="connsiteX189" fmla="*/ 1147849 w 2712705"/>
                <a:gd name="connsiteY189" fmla="*/ 878485 h 1548974"/>
                <a:gd name="connsiteX190" fmla="*/ 1147849 w 2712705"/>
                <a:gd name="connsiteY190" fmla="*/ 868193 h 1548974"/>
                <a:gd name="connsiteX191" fmla="*/ 1113289 w 2712705"/>
                <a:gd name="connsiteY191" fmla="*/ 868193 h 1548974"/>
                <a:gd name="connsiteX192" fmla="*/ 1113289 w 2712705"/>
                <a:gd name="connsiteY192" fmla="*/ 856885 h 1548974"/>
                <a:gd name="connsiteX193" fmla="*/ 1105666 w 2712705"/>
                <a:gd name="connsiteY193" fmla="*/ 856885 h 1548974"/>
                <a:gd name="connsiteX194" fmla="*/ 1105666 w 2712705"/>
                <a:gd name="connsiteY194" fmla="*/ 845577 h 1548974"/>
                <a:gd name="connsiteX195" fmla="*/ 1009482 w 2712705"/>
                <a:gd name="connsiteY195" fmla="*/ 845577 h 1548974"/>
                <a:gd name="connsiteX196" fmla="*/ 1009482 w 2712705"/>
                <a:gd name="connsiteY196" fmla="*/ 819656 h 1548974"/>
                <a:gd name="connsiteX197" fmla="*/ 1004654 w 2712705"/>
                <a:gd name="connsiteY197" fmla="*/ 819656 h 1548974"/>
                <a:gd name="connsiteX198" fmla="*/ 1004654 w 2712705"/>
                <a:gd name="connsiteY198" fmla="*/ 807713 h 1548974"/>
                <a:gd name="connsiteX199" fmla="*/ 989534 w 2712705"/>
                <a:gd name="connsiteY199" fmla="*/ 807713 h 1548974"/>
                <a:gd name="connsiteX200" fmla="*/ 989534 w 2712705"/>
                <a:gd name="connsiteY200" fmla="*/ 797421 h 1548974"/>
                <a:gd name="connsiteX201" fmla="*/ 977591 w 2712705"/>
                <a:gd name="connsiteY201" fmla="*/ 797421 h 1548974"/>
                <a:gd name="connsiteX202" fmla="*/ 977591 w 2712705"/>
                <a:gd name="connsiteY202" fmla="*/ 774678 h 1548974"/>
                <a:gd name="connsiteX203" fmla="*/ 908343 w 2712705"/>
                <a:gd name="connsiteY203" fmla="*/ 774678 h 1548974"/>
                <a:gd name="connsiteX204" fmla="*/ 908343 w 2712705"/>
                <a:gd name="connsiteY204" fmla="*/ 761718 h 1548974"/>
                <a:gd name="connsiteX205" fmla="*/ 887760 w 2712705"/>
                <a:gd name="connsiteY205" fmla="*/ 761718 h 1548974"/>
                <a:gd name="connsiteX206" fmla="*/ 887760 w 2712705"/>
                <a:gd name="connsiteY206" fmla="*/ 738974 h 1548974"/>
                <a:gd name="connsiteX207" fmla="*/ 870988 w 2712705"/>
                <a:gd name="connsiteY207" fmla="*/ 738974 h 1548974"/>
                <a:gd name="connsiteX208" fmla="*/ 870988 w 2712705"/>
                <a:gd name="connsiteY208" fmla="*/ 717882 h 1548974"/>
                <a:gd name="connsiteX209" fmla="*/ 849388 w 2712705"/>
                <a:gd name="connsiteY209" fmla="*/ 717882 h 1548974"/>
                <a:gd name="connsiteX210" fmla="*/ 849388 w 2712705"/>
                <a:gd name="connsiteY210" fmla="*/ 705431 h 1548974"/>
                <a:gd name="connsiteX211" fmla="*/ 825628 w 2712705"/>
                <a:gd name="connsiteY211" fmla="*/ 705431 h 1548974"/>
                <a:gd name="connsiteX212" fmla="*/ 825628 w 2712705"/>
                <a:gd name="connsiteY212" fmla="*/ 679511 h 1548974"/>
                <a:gd name="connsiteX213" fmla="*/ 818640 w 2712705"/>
                <a:gd name="connsiteY213" fmla="*/ 679511 h 1548974"/>
                <a:gd name="connsiteX214" fmla="*/ 818640 w 2712705"/>
                <a:gd name="connsiteY214" fmla="*/ 638979 h 1548974"/>
                <a:gd name="connsiteX215" fmla="*/ 768325 w 2712705"/>
                <a:gd name="connsiteY215" fmla="*/ 638979 h 1548974"/>
                <a:gd name="connsiteX216" fmla="*/ 768325 w 2712705"/>
                <a:gd name="connsiteY216" fmla="*/ 628179 h 1548974"/>
                <a:gd name="connsiteX217" fmla="*/ 758033 w 2712705"/>
                <a:gd name="connsiteY217" fmla="*/ 628179 h 1548974"/>
                <a:gd name="connsiteX218" fmla="*/ 758033 w 2712705"/>
                <a:gd name="connsiteY218" fmla="*/ 596795 h 1548974"/>
                <a:gd name="connsiteX219" fmla="*/ 748885 w 2712705"/>
                <a:gd name="connsiteY219" fmla="*/ 596795 h 1548974"/>
                <a:gd name="connsiteX220" fmla="*/ 748885 w 2712705"/>
                <a:gd name="connsiteY220" fmla="*/ 584852 h 1548974"/>
                <a:gd name="connsiteX221" fmla="*/ 733765 w 2712705"/>
                <a:gd name="connsiteY221" fmla="*/ 584852 h 1548974"/>
                <a:gd name="connsiteX222" fmla="*/ 733765 w 2712705"/>
                <a:gd name="connsiteY222" fmla="*/ 532376 h 1548974"/>
                <a:gd name="connsiteX223" fmla="*/ 713816 w 2712705"/>
                <a:gd name="connsiteY223" fmla="*/ 532376 h 1548974"/>
                <a:gd name="connsiteX224" fmla="*/ 713816 w 2712705"/>
                <a:gd name="connsiteY224" fmla="*/ 519925 h 1548974"/>
                <a:gd name="connsiteX225" fmla="*/ 698696 w 2712705"/>
                <a:gd name="connsiteY225" fmla="*/ 519925 h 1548974"/>
                <a:gd name="connsiteX226" fmla="*/ 698696 w 2712705"/>
                <a:gd name="connsiteY226" fmla="*/ 510777 h 1548974"/>
                <a:gd name="connsiteX227" fmla="*/ 648381 w 2712705"/>
                <a:gd name="connsiteY227" fmla="*/ 510777 h 1548974"/>
                <a:gd name="connsiteX228" fmla="*/ 648381 w 2712705"/>
                <a:gd name="connsiteY228" fmla="*/ 496165 h 1548974"/>
                <a:gd name="connsiteX229" fmla="*/ 627798 w 2712705"/>
                <a:gd name="connsiteY229" fmla="*/ 496165 h 1548974"/>
                <a:gd name="connsiteX230" fmla="*/ 627798 w 2712705"/>
                <a:gd name="connsiteY230" fmla="*/ 478885 h 1548974"/>
                <a:gd name="connsiteX231" fmla="*/ 605689 w 2712705"/>
                <a:gd name="connsiteY231" fmla="*/ 478885 h 1548974"/>
                <a:gd name="connsiteX232" fmla="*/ 605689 w 2712705"/>
                <a:gd name="connsiteY232" fmla="*/ 472405 h 1548974"/>
                <a:gd name="connsiteX233" fmla="*/ 556009 w 2712705"/>
                <a:gd name="connsiteY233" fmla="*/ 472405 h 1548974"/>
                <a:gd name="connsiteX234" fmla="*/ 556009 w 2712705"/>
                <a:gd name="connsiteY234" fmla="*/ 460461 h 1548974"/>
                <a:gd name="connsiteX235" fmla="*/ 546226 w 2712705"/>
                <a:gd name="connsiteY235" fmla="*/ 460461 h 1548974"/>
                <a:gd name="connsiteX236" fmla="*/ 546226 w 2712705"/>
                <a:gd name="connsiteY236" fmla="*/ 444833 h 1548974"/>
                <a:gd name="connsiteX237" fmla="*/ 524626 w 2712705"/>
                <a:gd name="connsiteY237" fmla="*/ 444833 h 1548974"/>
                <a:gd name="connsiteX238" fmla="*/ 524626 w 2712705"/>
                <a:gd name="connsiteY238" fmla="*/ 432381 h 1548974"/>
                <a:gd name="connsiteX239" fmla="*/ 496546 w 2712705"/>
                <a:gd name="connsiteY239" fmla="*/ 432381 h 1548974"/>
                <a:gd name="connsiteX240" fmla="*/ 496546 w 2712705"/>
                <a:gd name="connsiteY240" fmla="*/ 415101 h 1548974"/>
                <a:gd name="connsiteX241" fmla="*/ 487398 w 2712705"/>
                <a:gd name="connsiteY241" fmla="*/ 415101 h 1548974"/>
                <a:gd name="connsiteX242" fmla="*/ 487398 w 2712705"/>
                <a:gd name="connsiteY242" fmla="*/ 379398 h 1548974"/>
                <a:gd name="connsiteX243" fmla="*/ 460334 w 2712705"/>
                <a:gd name="connsiteY243" fmla="*/ 379398 h 1548974"/>
                <a:gd name="connsiteX244" fmla="*/ 460334 w 2712705"/>
                <a:gd name="connsiteY244" fmla="*/ 362626 h 1548974"/>
                <a:gd name="connsiteX245" fmla="*/ 432762 w 2712705"/>
                <a:gd name="connsiteY245" fmla="*/ 362626 h 1548974"/>
                <a:gd name="connsiteX246" fmla="*/ 426791 w 2712705"/>
                <a:gd name="connsiteY246" fmla="*/ 356654 h 1548974"/>
                <a:gd name="connsiteX247" fmla="*/ 412687 w 2712705"/>
                <a:gd name="connsiteY247" fmla="*/ 356654 h 1548974"/>
                <a:gd name="connsiteX248" fmla="*/ 412687 w 2712705"/>
                <a:gd name="connsiteY248" fmla="*/ 339374 h 1548974"/>
                <a:gd name="connsiteX249" fmla="*/ 400235 w 2712705"/>
                <a:gd name="connsiteY249" fmla="*/ 339374 h 1548974"/>
                <a:gd name="connsiteX250" fmla="*/ 400235 w 2712705"/>
                <a:gd name="connsiteY250" fmla="*/ 315106 h 1548974"/>
                <a:gd name="connsiteX251" fmla="*/ 391595 w 2712705"/>
                <a:gd name="connsiteY251" fmla="*/ 315106 h 1548974"/>
                <a:gd name="connsiteX252" fmla="*/ 391595 w 2712705"/>
                <a:gd name="connsiteY252" fmla="*/ 302654 h 1548974"/>
                <a:gd name="connsiteX253" fmla="*/ 355892 w 2712705"/>
                <a:gd name="connsiteY253" fmla="*/ 302654 h 1548974"/>
                <a:gd name="connsiteX254" fmla="*/ 355892 w 2712705"/>
                <a:gd name="connsiteY254" fmla="*/ 285882 h 1548974"/>
                <a:gd name="connsiteX255" fmla="*/ 348268 w 2712705"/>
                <a:gd name="connsiteY255" fmla="*/ 285882 h 1548974"/>
                <a:gd name="connsiteX256" fmla="*/ 348268 w 2712705"/>
                <a:gd name="connsiteY256" fmla="*/ 264282 h 1548974"/>
                <a:gd name="connsiteX257" fmla="*/ 338485 w 2712705"/>
                <a:gd name="connsiteY257" fmla="*/ 264282 h 1548974"/>
                <a:gd name="connsiteX258" fmla="*/ 338485 w 2712705"/>
                <a:gd name="connsiteY258" fmla="*/ 255642 h 1548974"/>
                <a:gd name="connsiteX259" fmla="*/ 322856 w 2712705"/>
                <a:gd name="connsiteY259" fmla="*/ 255642 h 1548974"/>
                <a:gd name="connsiteX260" fmla="*/ 322856 w 2712705"/>
                <a:gd name="connsiteY260" fmla="*/ 232899 h 1548974"/>
                <a:gd name="connsiteX261" fmla="*/ 312565 w 2712705"/>
                <a:gd name="connsiteY261" fmla="*/ 232899 h 1548974"/>
                <a:gd name="connsiteX262" fmla="*/ 312565 w 2712705"/>
                <a:gd name="connsiteY262" fmla="*/ 203675 h 1548974"/>
                <a:gd name="connsiteX263" fmla="*/ 305576 w 2712705"/>
                <a:gd name="connsiteY263" fmla="*/ 203675 h 1548974"/>
                <a:gd name="connsiteX264" fmla="*/ 305576 w 2712705"/>
                <a:gd name="connsiteY264" fmla="*/ 184235 h 1548974"/>
                <a:gd name="connsiteX265" fmla="*/ 281308 w 2712705"/>
                <a:gd name="connsiteY265" fmla="*/ 184235 h 1548974"/>
                <a:gd name="connsiteX266" fmla="*/ 281308 w 2712705"/>
                <a:gd name="connsiteY266" fmla="*/ 159332 h 1548974"/>
                <a:gd name="connsiteX267" fmla="*/ 258565 w 2712705"/>
                <a:gd name="connsiteY267" fmla="*/ 159332 h 1548974"/>
                <a:gd name="connsiteX268" fmla="*/ 258565 w 2712705"/>
                <a:gd name="connsiteY268" fmla="*/ 137732 h 1548974"/>
                <a:gd name="connsiteX269" fmla="*/ 225021 w 2712705"/>
                <a:gd name="connsiteY269" fmla="*/ 137732 h 1548974"/>
                <a:gd name="connsiteX270" fmla="*/ 225021 w 2712705"/>
                <a:gd name="connsiteY270" fmla="*/ 118292 h 1548974"/>
                <a:gd name="connsiteX271" fmla="*/ 201261 w 2712705"/>
                <a:gd name="connsiteY271" fmla="*/ 118292 h 1548974"/>
                <a:gd name="connsiteX272" fmla="*/ 201261 w 2712705"/>
                <a:gd name="connsiteY272" fmla="*/ 79920 h 1548974"/>
                <a:gd name="connsiteX273" fmla="*/ 148786 w 2712705"/>
                <a:gd name="connsiteY273" fmla="*/ 79920 h 1548974"/>
                <a:gd name="connsiteX274" fmla="*/ 148786 w 2712705"/>
                <a:gd name="connsiteY274" fmla="*/ 59972 h 1548974"/>
                <a:gd name="connsiteX275" fmla="*/ 108254 w 2712705"/>
                <a:gd name="connsiteY275" fmla="*/ 59972 h 1548974"/>
                <a:gd name="connsiteX276" fmla="*/ 108254 w 2712705"/>
                <a:gd name="connsiteY276" fmla="*/ 34052 h 1548974"/>
                <a:gd name="connsiteX277" fmla="*/ 85002 w 2712705"/>
                <a:gd name="connsiteY277" fmla="*/ 34052 h 1548974"/>
                <a:gd name="connsiteX278" fmla="*/ 85002 w 2712705"/>
                <a:gd name="connsiteY278" fmla="*/ 18424 h 1548974"/>
                <a:gd name="connsiteX279" fmla="*/ 71534 w 2712705"/>
                <a:gd name="connsiteY279" fmla="*/ 18424 h 1548974"/>
                <a:gd name="connsiteX280" fmla="*/ 71534 w 2712705"/>
                <a:gd name="connsiteY280" fmla="*/ 0 h 1548974"/>
                <a:gd name="connsiteX281" fmla="*/ 0 w 2712705"/>
                <a:gd name="connsiteY281" fmla="*/ 0 h 1548974"/>
                <a:gd name="connsiteX282" fmla="*/ 635 w 2712705"/>
                <a:gd name="connsiteY282" fmla="*/ 11308 h 1548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</a:cxnLst>
              <a:rect l="l" t="t" r="r" b="b"/>
              <a:pathLst>
                <a:path w="2712705" h="1548974">
                  <a:moveTo>
                    <a:pt x="254" y="11308"/>
                  </a:moveTo>
                  <a:lnTo>
                    <a:pt x="11562" y="11308"/>
                  </a:lnTo>
                  <a:lnTo>
                    <a:pt x="11562" y="53492"/>
                  </a:lnTo>
                  <a:lnTo>
                    <a:pt x="19694" y="53492"/>
                  </a:lnTo>
                  <a:lnTo>
                    <a:pt x="19694" y="63784"/>
                  </a:lnTo>
                  <a:lnTo>
                    <a:pt x="70518" y="63784"/>
                  </a:lnTo>
                  <a:lnTo>
                    <a:pt x="70518" y="78395"/>
                  </a:lnTo>
                  <a:lnTo>
                    <a:pt x="83986" y="78395"/>
                  </a:lnTo>
                  <a:lnTo>
                    <a:pt x="83986" y="120071"/>
                  </a:lnTo>
                  <a:lnTo>
                    <a:pt x="96438" y="120071"/>
                  </a:lnTo>
                  <a:lnTo>
                    <a:pt x="96438" y="128711"/>
                  </a:lnTo>
                  <a:lnTo>
                    <a:pt x="107238" y="128711"/>
                  </a:lnTo>
                  <a:lnTo>
                    <a:pt x="107238" y="168226"/>
                  </a:lnTo>
                  <a:lnTo>
                    <a:pt x="116386" y="168226"/>
                  </a:lnTo>
                  <a:lnTo>
                    <a:pt x="116386" y="183854"/>
                  </a:lnTo>
                  <a:lnTo>
                    <a:pt x="134809" y="183854"/>
                  </a:lnTo>
                  <a:lnTo>
                    <a:pt x="134809" y="207106"/>
                  </a:lnTo>
                  <a:lnTo>
                    <a:pt x="141798" y="207106"/>
                  </a:lnTo>
                  <a:lnTo>
                    <a:pt x="141798" y="231374"/>
                  </a:lnTo>
                  <a:lnTo>
                    <a:pt x="177501" y="231374"/>
                  </a:lnTo>
                  <a:lnTo>
                    <a:pt x="177501" y="258438"/>
                  </a:lnTo>
                  <a:lnTo>
                    <a:pt x="212061" y="258438"/>
                  </a:lnTo>
                  <a:lnTo>
                    <a:pt x="212061" y="275464"/>
                  </a:lnTo>
                  <a:lnTo>
                    <a:pt x="225021" y="275464"/>
                  </a:lnTo>
                  <a:lnTo>
                    <a:pt x="225021" y="284866"/>
                  </a:lnTo>
                  <a:lnTo>
                    <a:pt x="234805" y="284866"/>
                  </a:lnTo>
                  <a:lnTo>
                    <a:pt x="234805" y="305449"/>
                  </a:lnTo>
                  <a:lnTo>
                    <a:pt x="261360" y="305449"/>
                  </a:lnTo>
                  <a:lnTo>
                    <a:pt x="261360" y="339501"/>
                  </a:lnTo>
                  <a:lnTo>
                    <a:pt x="267332" y="339501"/>
                  </a:lnTo>
                  <a:lnTo>
                    <a:pt x="267332" y="352461"/>
                  </a:lnTo>
                  <a:lnTo>
                    <a:pt x="274955" y="352461"/>
                  </a:lnTo>
                  <a:lnTo>
                    <a:pt x="274955" y="365929"/>
                  </a:lnTo>
                  <a:lnTo>
                    <a:pt x="290584" y="365929"/>
                  </a:lnTo>
                  <a:lnTo>
                    <a:pt x="290584" y="376729"/>
                  </a:lnTo>
                  <a:lnTo>
                    <a:pt x="294395" y="376729"/>
                  </a:lnTo>
                  <a:lnTo>
                    <a:pt x="294395" y="393501"/>
                  </a:lnTo>
                  <a:lnTo>
                    <a:pt x="311675" y="393501"/>
                  </a:lnTo>
                  <a:lnTo>
                    <a:pt x="311675" y="446485"/>
                  </a:lnTo>
                  <a:lnTo>
                    <a:pt x="317139" y="446485"/>
                  </a:lnTo>
                  <a:lnTo>
                    <a:pt x="317139" y="459953"/>
                  </a:lnTo>
                  <a:lnTo>
                    <a:pt x="325271" y="459953"/>
                  </a:lnTo>
                  <a:lnTo>
                    <a:pt x="325271" y="484221"/>
                  </a:lnTo>
                  <a:lnTo>
                    <a:pt x="343694" y="484221"/>
                  </a:lnTo>
                  <a:lnTo>
                    <a:pt x="343694" y="514461"/>
                  </a:lnTo>
                  <a:lnTo>
                    <a:pt x="352842" y="514461"/>
                  </a:lnTo>
                  <a:lnTo>
                    <a:pt x="352842" y="538729"/>
                  </a:lnTo>
                  <a:lnTo>
                    <a:pt x="385242" y="538729"/>
                  </a:lnTo>
                  <a:lnTo>
                    <a:pt x="385242" y="550038"/>
                  </a:lnTo>
                  <a:lnTo>
                    <a:pt x="400871" y="550038"/>
                  </a:lnTo>
                  <a:lnTo>
                    <a:pt x="400871" y="588918"/>
                  </a:lnTo>
                  <a:lnTo>
                    <a:pt x="415991" y="588918"/>
                  </a:lnTo>
                  <a:lnTo>
                    <a:pt x="415991" y="603529"/>
                  </a:lnTo>
                  <a:lnTo>
                    <a:pt x="432254" y="603529"/>
                  </a:lnTo>
                  <a:lnTo>
                    <a:pt x="432254" y="615473"/>
                  </a:lnTo>
                  <a:lnTo>
                    <a:pt x="460969" y="615473"/>
                  </a:lnTo>
                  <a:lnTo>
                    <a:pt x="460969" y="622461"/>
                  </a:lnTo>
                  <a:lnTo>
                    <a:pt x="485873" y="622461"/>
                  </a:lnTo>
                  <a:lnTo>
                    <a:pt x="485873" y="672777"/>
                  </a:lnTo>
                  <a:lnTo>
                    <a:pt x="495021" y="672777"/>
                  </a:lnTo>
                  <a:lnTo>
                    <a:pt x="495021" y="692725"/>
                  </a:lnTo>
                  <a:lnTo>
                    <a:pt x="522593" y="692725"/>
                  </a:lnTo>
                  <a:lnTo>
                    <a:pt x="522593" y="702508"/>
                  </a:lnTo>
                  <a:lnTo>
                    <a:pt x="533393" y="702508"/>
                  </a:lnTo>
                  <a:lnTo>
                    <a:pt x="533393" y="714452"/>
                  </a:lnTo>
                  <a:lnTo>
                    <a:pt x="546353" y="714452"/>
                  </a:lnTo>
                  <a:lnTo>
                    <a:pt x="546353" y="728555"/>
                  </a:lnTo>
                  <a:lnTo>
                    <a:pt x="557153" y="728555"/>
                  </a:lnTo>
                  <a:lnTo>
                    <a:pt x="557153" y="736179"/>
                  </a:lnTo>
                  <a:lnTo>
                    <a:pt x="606325" y="736179"/>
                  </a:lnTo>
                  <a:lnTo>
                    <a:pt x="606325" y="752442"/>
                  </a:lnTo>
                  <a:lnTo>
                    <a:pt x="632880" y="752442"/>
                  </a:lnTo>
                  <a:lnTo>
                    <a:pt x="632880" y="767562"/>
                  </a:lnTo>
                  <a:lnTo>
                    <a:pt x="653463" y="767562"/>
                  </a:lnTo>
                  <a:lnTo>
                    <a:pt x="653463" y="782682"/>
                  </a:lnTo>
                  <a:lnTo>
                    <a:pt x="697299" y="782682"/>
                  </a:lnTo>
                  <a:lnTo>
                    <a:pt x="697299" y="797294"/>
                  </a:lnTo>
                  <a:lnTo>
                    <a:pt x="716739" y="797294"/>
                  </a:lnTo>
                  <a:lnTo>
                    <a:pt x="716739" y="804918"/>
                  </a:lnTo>
                  <a:lnTo>
                    <a:pt x="736687" y="804918"/>
                  </a:lnTo>
                  <a:lnTo>
                    <a:pt x="736687" y="863873"/>
                  </a:lnTo>
                  <a:lnTo>
                    <a:pt x="743167" y="863873"/>
                  </a:lnTo>
                  <a:lnTo>
                    <a:pt x="743167" y="880137"/>
                  </a:lnTo>
                  <a:lnTo>
                    <a:pt x="757779" y="880137"/>
                  </a:lnTo>
                  <a:lnTo>
                    <a:pt x="757779" y="913172"/>
                  </a:lnTo>
                  <a:lnTo>
                    <a:pt x="767562" y="913172"/>
                  </a:lnTo>
                  <a:lnTo>
                    <a:pt x="767562" y="922955"/>
                  </a:lnTo>
                  <a:lnTo>
                    <a:pt x="821689" y="922955"/>
                  </a:lnTo>
                  <a:lnTo>
                    <a:pt x="821689" y="971111"/>
                  </a:lnTo>
                  <a:lnTo>
                    <a:pt x="826009" y="971111"/>
                  </a:lnTo>
                  <a:lnTo>
                    <a:pt x="826009" y="996014"/>
                  </a:lnTo>
                  <a:lnTo>
                    <a:pt x="851421" y="996014"/>
                  </a:lnTo>
                  <a:lnTo>
                    <a:pt x="851421" y="1007322"/>
                  </a:lnTo>
                  <a:lnTo>
                    <a:pt x="867049" y="1007322"/>
                  </a:lnTo>
                  <a:lnTo>
                    <a:pt x="867049" y="1037054"/>
                  </a:lnTo>
                  <a:lnTo>
                    <a:pt x="883313" y="1037054"/>
                  </a:lnTo>
                  <a:lnTo>
                    <a:pt x="883313" y="1059798"/>
                  </a:lnTo>
                  <a:lnTo>
                    <a:pt x="904913" y="1059798"/>
                  </a:lnTo>
                  <a:lnTo>
                    <a:pt x="904913" y="1070089"/>
                  </a:lnTo>
                  <a:lnTo>
                    <a:pt x="977845" y="1070089"/>
                  </a:lnTo>
                  <a:lnTo>
                    <a:pt x="977845" y="1098169"/>
                  </a:lnTo>
                  <a:lnTo>
                    <a:pt x="988645" y="1098169"/>
                  </a:lnTo>
                  <a:lnTo>
                    <a:pt x="988645" y="1112781"/>
                  </a:lnTo>
                  <a:lnTo>
                    <a:pt x="1014565" y="1112781"/>
                  </a:lnTo>
                  <a:lnTo>
                    <a:pt x="1014565" y="1143657"/>
                  </a:lnTo>
                  <a:lnTo>
                    <a:pt x="1105412" y="1143657"/>
                  </a:lnTo>
                  <a:lnTo>
                    <a:pt x="1105412" y="1160428"/>
                  </a:lnTo>
                  <a:lnTo>
                    <a:pt x="1117864" y="1160428"/>
                  </a:lnTo>
                  <a:lnTo>
                    <a:pt x="1117864" y="1175040"/>
                  </a:lnTo>
                  <a:lnTo>
                    <a:pt x="1155219" y="1175040"/>
                  </a:lnTo>
                  <a:lnTo>
                    <a:pt x="1155219" y="1187492"/>
                  </a:lnTo>
                  <a:lnTo>
                    <a:pt x="1188254" y="1187492"/>
                  </a:lnTo>
                  <a:lnTo>
                    <a:pt x="1188254" y="1198800"/>
                  </a:lnTo>
                  <a:lnTo>
                    <a:pt x="1216969" y="1198800"/>
                  </a:lnTo>
                  <a:lnTo>
                    <a:pt x="1216969" y="1204772"/>
                  </a:lnTo>
                  <a:lnTo>
                    <a:pt x="1228913" y="1204772"/>
                  </a:lnTo>
                  <a:cubicBezTo>
                    <a:pt x="1228913" y="1204772"/>
                    <a:pt x="1221289" y="1222560"/>
                    <a:pt x="1228913" y="1222560"/>
                  </a:cubicBezTo>
                  <a:lnTo>
                    <a:pt x="1270588" y="1222560"/>
                  </a:lnTo>
                  <a:lnTo>
                    <a:pt x="1270588" y="1236028"/>
                  </a:lnTo>
                  <a:lnTo>
                    <a:pt x="1290028" y="1236028"/>
                  </a:lnTo>
                  <a:lnTo>
                    <a:pt x="1290028" y="1254452"/>
                  </a:lnTo>
                  <a:lnTo>
                    <a:pt x="1323063" y="1254452"/>
                  </a:lnTo>
                  <a:lnTo>
                    <a:pt x="1323063" y="1267412"/>
                  </a:lnTo>
                  <a:lnTo>
                    <a:pt x="1443642" y="1267412"/>
                  </a:lnTo>
                  <a:lnTo>
                    <a:pt x="1443642" y="1293967"/>
                  </a:lnTo>
                  <a:lnTo>
                    <a:pt x="1479854" y="1293967"/>
                  </a:lnTo>
                  <a:lnTo>
                    <a:pt x="1479854" y="1308071"/>
                  </a:lnTo>
                  <a:lnTo>
                    <a:pt x="1494974" y="1308071"/>
                  </a:lnTo>
                  <a:lnTo>
                    <a:pt x="1494974" y="1325859"/>
                  </a:lnTo>
                  <a:lnTo>
                    <a:pt x="1534998" y="1325859"/>
                  </a:lnTo>
                  <a:lnTo>
                    <a:pt x="1534998" y="1355082"/>
                  </a:lnTo>
                  <a:lnTo>
                    <a:pt x="1634485" y="1355082"/>
                  </a:lnTo>
                  <a:lnTo>
                    <a:pt x="1634485" y="1375031"/>
                  </a:lnTo>
                  <a:lnTo>
                    <a:pt x="1697760" y="1375031"/>
                  </a:lnTo>
                  <a:lnTo>
                    <a:pt x="1697760" y="1390659"/>
                  </a:lnTo>
                  <a:lnTo>
                    <a:pt x="1851374" y="1390659"/>
                  </a:lnTo>
                  <a:lnTo>
                    <a:pt x="1851374" y="1408447"/>
                  </a:lnTo>
                  <a:lnTo>
                    <a:pt x="1882757" y="1408447"/>
                  </a:lnTo>
                  <a:lnTo>
                    <a:pt x="1882757" y="1432715"/>
                  </a:lnTo>
                  <a:lnTo>
                    <a:pt x="1985548" y="1432715"/>
                  </a:lnTo>
                  <a:lnTo>
                    <a:pt x="1985548" y="1443515"/>
                  </a:lnTo>
                  <a:lnTo>
                    <a:pt x="2316409" y="1443515"/>
                  </a:lnTo>
                  <a:lnTo>
                    <a:pt x="2316409" y="1490527"/>
                  </a:lnTo>
                  <a:lnTo>
                    <a:pt x="2354781" y="1490527"/>
                  </a:lnTo>
                  <a:lnTo>
                    <a:pt x="2354781" y="1517591"/>
                  </a:lnTo>
                  <a:lnTo>
                    <a:pt x="2699237" y="1517591"/>
                  </a:lnTo>
                  <a:lnTo>
                    <a:pt x="2699237" y="1548974"/>
                  </a:lnTo>
                  <a:lnTo>
                    <a:pt x="2712706" y="1548974"/>
                  </a:lnTo>
                  <a:lnTo>
                    <a:pt x="2712706" y="1220781"/>
                  </a:lnTo>
                  <a:lnTo>
                    <a:pt x="2700254" y="1220781"/>
                  </a:lnTo>
                  <a:lnTo>
                    <a:pt x="2700254" y="1194861"/>
                  </a:lnTo>
                  <a:lnTo>
                    <a:pt x="2352621" y="1194861"/>
                  </a:lnTo>
                  <a:lnTo>
                    <a:pt x="2352621" y="1174278"/>
                  </a:lnTo>
                  <a:lnTo>
                    <a:pt x="2308786" y="1174278"/>
                  </a:lnTo>
                  <a:lnTo>
                    <a:pt x="2308786" y="1130442"/>
                  </a:lnTo>
                  <a:lnTo>
                    <a:pt x="1981101" y="1130442"/>
                  </a:lnTo>
                  <a:lnTo>
                    <a:pt x="1981101" y="1114179"/>
                  </a:lnTo>
                  <a:lnTo>
                    <a:pt x="1876786" y="1114179"/>
                  </a:lnTo>
                  <a:lnTo>
                    <a:pt x="1876786" y="1097407"/>
                  </a:lnTo>
                  <a:lnTo>
                    <a:pt x="1845402" y="1097407"/>
                  </a:lnTo>
                  <a:lnTo>
                    <a:pt x="1845402" y="1080127"/>
                  </a:lnTo>
                  <a:lnTo>
                    <a:pt x="1693440" y="1080127"/>
                  </a:lnTo>
                  <a:lnTo>
                    <a:pt x="1693440" y="1061704"/>
                  </a:lnTo>
                  <a:lnTo>
                    <a:pt x="1629656" y="1061704"/>
                  </a:lnTo>
                  <a:lnTo>
                    <a:pt x="1629656" y="1047092"/>
                  </a:lnTo>
                  <a:lnTo>
                    <a:pt x="1533981" y="1047092"/>
                  </a:lnTo>
                  <a:lnTo>
                    <a:pt x="1533981" y="1029304"/>
                  </a:lnTo>
                  <a:lnTo>
                    <a:pt x="1528517" y="1029304"/>
                  </a:lnTo>
                  <a:lnTo>
                    <a:pt x="1528517" y="1016852"/>
                  </a:lnTo>
                  <a:lnTo>
                    <a:pt x="1492814" y="1016852"/>
                  </a:lnTo>
                  <a:lnTo>
                    <a:pt x="1492814" y="1004908"/>
                  </a:lnTo>
                  <a:lnTo>
                    <a:pt x="1480870" y="1004908"/>
                  </a:lnTo>
                  <a:lnTo>
                    <a:pt x="1480870" y="989788"/>
                  </a:lnTo>
                  <a:lnTo>
                    <a:pt x="1444659" y="989788"/>
                  </a:lnTo>
                  <a:lnTo>
                    <a:pt x="1444659" y="971365"/>
                  </a:lnTo>
                  <a:lnTo>
                    <a:pt x="1440339" y="971365"/>
                  </a:lnTo>
                  <a:lnTo>
                    <a:pt x="1440339" y="960565"/>
                  </a:lnTo>
                  <a:lnTo>
                    <a:pt x="1319760" y="960565"/>
                  </a:lnTo>
                  <a:lnTo>
                    <a:pt x="1319760" y="947605"/>
                  </a:lnTo>
                  <a:lnTo>
                    <a:pt x="1286725" y="947605"/>
                  </a:lnTo>
                  <a:lnTo>
                    <a:pt x="1286725" y="935153"/>
                  </a:lnTo>
                  <a:lnTo>
                    <a:pt x="1273256" y="935153"/>
                  </a:lnTo>
                  <a:lnTo>
                    <a:pt x="1273256" y="920033"/>
                  </a:lnTo>
                  <a:lnTo>
                    <a:pt x="1227261" y="920033"/>
                  </a:lnTo>
                  <a:lnTo>
                    <a:pt x="1227261" y="907073"/>
                  </a:lnTo>
                  <a:lnTo>
                    <a:pt x="1213793" y="907073"/>
                  </a:lnTo>
                  <a:lnTo>
                    <a:pt x="1213793" y="891953"/>
                  </a:lnTo>
                  <a:lnTo>
                    <a:pt x="1182409" y="891953"/>
                  </a:lnTo>
                  <a:lnTo>
                    <a:pt x="1182409" y="878485"/>
                  </a:lnTo>
                  <a:lnTo>
                    <a:pt x="1147849" y="878485"/>
                  </a:lnTo>
                  <a:lnTo>
                    <a:pt x="1147849" y="868193"/>
                  </a:lnTo>
                  <a:lnTo>
                    <a:pt x="1113289" y="868193"/>
                  </a:lnTo>
                  <a:lnTo>
                    <a:pt x="1113289" y="856885"/>
                  </a:lnTo>
                  <a:lnTo>
                    <a:pt x="1105666" y="856885"/>
                  </a:lnTo>
                  <a:lnTo>
                    <a:pt x="1105666" y="845577"/>
                  </a:lnTo>
                  <a:lnTo>
                    <a:pt x="1009482" y="845577"/>
                  </a:lnTo>
                  <a:lnTo>
                    <a:pt x="1009482" y="819656"/>
                  </a:lnTo>
                  <a:lnTo>
                    <a:pt x="1004654" y="819656"/>
                  </a:lnTo>
                  <a:lnTo>
                    <a:pt x="1004654" y="807713"/>
                  </a:lnTo>
                  <a:lnTo>
                    <a:pt x="989534" y="807713"/>
                  </a:lnTo>
                  <a:lnTo>
                    <a:pt x="989534" y="797421"/>
                  </a:lnTo>
                  <a:lnTo>
                    <a:pt x="977591" y="797421"/>
                  </a:lnTo>
                  <a:lnTo>
                    <a:pt x="977591" y="774678"/>
                  </a:lnTo>
                  <a:lnTo>
                    <a:pt x="908343" y="774678"/>
                  </a:lnTo>
                  <a:lnTo>
                    <a:pt x="908343" y="761718"/>
                  </a:lnTo>
                  <a:lnTo>
                    <a:pt x="887760" y="761718"/>
                  </a:lnTo>
                  <a:lnTo>
                    <a:pt x="887760" y="738974"/>
                  </a:lnTo>
                  <a:lnTo>
                    <a:pt x="870988" y="738974"/>
                  </a:lnTo>
                  <a:lnTo>
                    <a:pt x="870988" y="717882"/>
                  </a:lnTo>
                  <a:lnTo>
                    <a:pt x="849388" y="717882"/>
                  </a:lnTo>
                  <a:lnTo>
                    <a:pt x="849388" y="705431"/>
                  </a:lnTo>
                  <a:lnTo>
                    <a:pt x="825628" y="705431"/>
                  </a:lnTo>
                  <a:lnTo>
                    <a:pt x="825628" y="679511"/>
                  </a:lnTo>
                  <a:lnTo>
                    <a:pt x="818640" y="679511"/>
                  </a:lnTo>
                  <a:lnTo>
                    <a:pt x="818640" y="638979"/>
                  </a:lnTo>
                  <a:lnTo>
                    <a:pt x="768325" y="638979"/>
                  </a:lnTo>
                  <a:lnTo>
                    <a:pt x="768325" y="628179"/>
                  </a:lnTo>
                  <a:lnTo>
                    <a:pt x="758033" y="628179"/>
                  </a:lnTo>
                  <a:lnTo>
                    <a:pt x="758033" y="596795"/>
                  </a:lnTo>
                  <a:lnTo>
                    <a:pt x="748885" y="596795"/>
                  </a:lnTo>
                  <a:lnTo>
                    <a:pt x="748885" y="584852"/>
                  </a:lnTo>
                  <a:lnTo>
                    <a:pt x="733765" y="584852"/>
                  </a:lnTo>
                  <a:lnTo>
                    <a:pt x="733765" y="532376"/>
                  </a:lnTo>
                  <a:lnTo>
                    <a:pt x="713816" y="532376"/>
                  </a:lnTo>
                  <a:lnTo>
                    <a:pt x="713816" y="519925"/>
                  </a:lnTo>
                  <a:lnTo>
                    <a:pt x="698696" y="519925"/>
                  </a:lnTo>
                  <a:lnTo>
                    <a:pt x="698696" y="510777"/>
                  </a:lnTo>
                  <a:lnTo>
                    <a:pt x="648381" y="510777"/>
                  </a:lnTo>
                  <a:lnTo>
                    <a:pt x="648381" y="496165"/>
                  </a:lnTo>
                  <a:lnTo>
                    <a:pt x="627798" y="496165"/>
                  </a:lnTo>
                  <a:lnTo>
                    <a:pt x="627798" y="478885"/>
                  </a:lnTo>
                  <a:lnTo>
                    <a:pt x="605689" y="478885"/>
                  </a:lnTo>
                  <a:lnTo>
                    <a:pt x="605689" y="472405"/>
                  </a:lnTo>
                  <a:lnTo>
                    <a:pt x="556009" y="472405"/>
                  </a:lnTo>
                  <a:lnTo>
                    <a:pt x="556009" y="460461"/>
                  </a:lnTo>
                  <a:lnTo>
                    <a:pt x="546226" y="460461"/>
                  </a:lnTo>
                  <a:lnTo>
                    <a:pt x="546226" y="444833"/>
                  </a:lnTo>
                  <a:lnTo>
                    <a:pt x="524626" y="444833"/>
                  </a:lnTo>
                  <a:lnTo>
                    <a:pt x="524626" y="432381"/>
                  </a:lnTo>
                  <a:lnTo>
                    <a:pt x="496546" y="432381"/>
                  </a:lnTo>
                  <a:lnTo>
                    <a:pt x="496546" y="415101"/>
                  </a:lnTo>
                  <a:lnTo>
                    <a:pt x="487398" y="415101"/>
                  </a:lnTo>
                  <a:lnTo>
                    <a:pt x="487398" y="379398"/>
                  </a:lnTo>
                  <a:lnTo>
                    <a:pt x="460334" y="379398"/>
                  </a:lnTo>
                  <a:lnTo>
                    <a:pt x="460334" y="362626"/>
                  </a:lnTo>
                  <a:lnTo>
                    <a:pt x="432762" y="362626"/>
                  </a:lnTo>
                  <a:lnTo>
                    <a:pt x="426791" y="356654"/>
                  </a:lnTo>
                  <a:lnTo>
                    <a:pt x="412687" y="356654"/>
                  </a:lnTo>
                  <a:lnTo>
                    <a:pt x="412687" y="339374"/>
                  </a:lnTo>
                  <a:lnTo>
                    <a:pt x="400235" y="339374"/>
                  </a:lnTo>
                  <a:lnTo>
                    <a:pt x="400235" y="315106"/>
                  </a:lnTo>
                  <a:lnTo>
                    <a:pt x="391595" y="315106"/>
                  </a:lnTo>
                  <a:lnTo>
                    <a:pt x="391595" y="302654"/>
                  </a:lnTo>
                  <a:lnTo>
                    <a:pt x="355892" y="302654"/>
                  </a:lnTo>
                  <a:lnTo>
                    <a:pt x="355892" y="285882"/>
                  </a:lnTo>
                  <a:lnTo>
                    <a:pt x="348268" y="285882"/>
                  </a:lnTo>
                  <a:lnTo>
                    <a:pt x="348268" y="264282"/>
                  </a:lnTo>
                  <a:lnTo>
                    <a:pt x="338485" y="264282"/>
                  </a:lnTo>
                  <a:lnTo>
                    <a:pt x="338485" y="255642"/>
                  </a:lnTo>
                  <a:lnTo>
                    <a:pt x="322856" y="255642"/>
                  </a:lnTo>
                  <a:lnTo>
                    <a:pt x="322856" y="232899"/>
                  </a:lnTo>
                  <a:lnTo>
                    <a:pt x="312565" y="232899"/>
                  </a:lnTo>
                  <a:lnTo>
                    <a:pt x="312565" y="203675"/>
                  </a:lnTo>
                  <a:lnTo>
                    <a:pt x="305576" y="203675"/>
                  </a:lnTo>
                  <a:lnTo>
                    <a:pt x="305576" y="184235"/>
                  </a:lnTo>
                  <a:lnTo>
                    <a:pt x="281308" y="184235"/>
                  </a:lnTo>
                  <a:lnTo>
                    <a:pt x="281308" y="159332"/>
                  </a:lnTo>
                  <a:lnTo>
                    <a:pt x="258565" y="159332"/>
                  </a:lnTo>
                  <a:lnTo>
                    <a:pt x="258565" y="137732"/>
                  </a:lnTo>
                  <a:lnTo>
                    <a:pt x="225021" y="137732"/>
                  </a:lnTo>
                  <a:lnTo>
                    <a:pt x="225021" y="118292"/>
                  </a:lnTo>
                  <a:lnTo>
                    <a:pt x="201261" y="118292"/>
                  </a:lnTo>
                  <a:lnTo>
                    <a:pt x="201261" y="79920"/>
                  </a:lnTo>
                  <a:lnTo>
                    <a:pt x="148786" y="79920"/>
                  </a:lnTo>
                  <a:lnTo>
                    <a:pt x="148786" y="59972"/>
                  </a:lnTo>
                  <a:lnTo>
                    <a:pt x="108254" y="59972"/>
                  </a:lnTo>
                  <a:lnTo>
                    <a:pt x="108254" y="34052"/>
                  </a:lnTo>
                  <a:lnTo>
                    <a:pt x="85002" y="34052"/>
                  </a:lnTo>
                  <a:lnTo>
                    <a:pt x="85002" y="18424"/>
                  </a:lnTo>
                  <a:lnTo>
                    <a:pt x="71534" y="18424"/>
                  </a:lnTo>
                  <a:lnTo>
                    <a:pt x="71534" y="0"/>
                  </a:lnTo>
                  <a:lnTo>
                    <a:pt x="0" y="0"/>
                  </a:lnTo>
                  <a:lnTo>
                    <a:pt x="635" y="11308"/>
                  </a:lnTo>
                  <a:close/>
                </a:path>
              </a:pathLst>
            </a:custGeom>
            <a:solidFill>
              <a:srgbClr val="FF585D">
                <a:alpha val="30000"/>
              </a:srgbClr>
            </a:solidFill>
            <a:ln w="126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57" name="Grafik 13">
              <a:extLst>
                <a:ext uri="{FF2B5EF4-FFF2-40B4-BE49-F238E27FC236}">
                  <a16:creationId xmlns:a16="http://schemas.microsoft.com/office/drawing/2014/main" id="{588AF08D-6A90-CD7B-ED13-37F486C41658}"/>
                </a:ext>
              </a:extLst>
            </p:cNvPr>
            <p:cNvGrpSpPr/>
            <p:nvPr/>
          </p:nvGrpSpPr>
          <p:grpSpPr>
            <a:xfrm>
              <a:off x="3610212" y="3382312"/>
              <a:ext cx="43199" cy="43200"/>
              <a:chOff x="3610212" y="3382312"/>
              <a:chExt cx="43199" cy="43200"/>
            </a:xfrm>
          </p:grpSpPr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1D0B7F84-B35D-260C-F331-F73758E9E1E9}"/>
                  </a:ext>
                </a:extLst>
              </p:cNvPr>
              <p:cNvSpPr/>
              <p:nvPr/>
            </p:nvSpPr>
            <p:spPr>
              <a:xfrm>
                <a:off x="3631812" y="3382312"/>
                <a:ext cx="12705" cy="43200"/>
              </a:xfrm>
              <a:custGeom>
                <a:avLst/>
                <a:gdLst>
                  <a:gd name="connsiteX0" fmla="*/ 0 w 12705"/>
                  <a:gd name="connsiteY0" fmla="*/ 0 h 43200"/>
                  <a:gd name="connsiteX1" fmla="*/ 0 w 12705"/>
                  <a:gd name="connsiteY1" fmla="*/ 43200 h 4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200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AEDB18E2-3F7F-1DFE-D402-733AEA8AEAE0}"/>
                  </a:ext>
                </a:extLst>
              </p:cNvPr>
              <p:cNvSpPr/>
              <p:nvPr/>
            </p:nvSpPr>
            <p:spPr>
              <a:xfrm>
                <a:off x="3610212" y="3403912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0" name="Grafik 13">
              <a:extLst>
                <a:ext uri="{FF2B5EF4-FFF2-40B4-BE49-F238E27FC236}">
                  <a16:creationId xmlns:a16="http://schemas.microsoft.com/office/drawing/2014/main" id="{A291611F-72FB-95BC-30BC-65ABA3DDC137}"/>
                </a:ext>
              </a:extLst>
            </p:cNvPr>
            <p:cNvGrpSpPr/>
            <p:nvPr/>
          </p:nvGrpSpPr>
          <p:grpSpPr>
            <a:xfrm>
              <a:off x="3439953" y="3382312"/>
              <a:ext cx="43199" cy="43200"/>
              <a:chOff x="3439953" y="3382312"/>
              <a:chExt cx="43199" cy="43200"/>
            </a:xfrm>
          </p:grpSpPr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7A4913B1-DBA2-5FD8-A1BB-A8633DA37BD8}"/>
                  </a:ext>
                </a:extLst>
              </p:cNvPr>
              <p:cNvSpPr/>
              <p:nvPr/>
            </p:nvSpPr>
            <p:spPr>
              <a:xfrm>
                <a:off x="3461553" y="3382312"/>
                <a:ext cx="12705" cy="43200"/>
              </a:xfrm>
              <a:custGeom>
                <a:avLst/>
                <a:gdLst>
                  <a:gd name="connsiteX0" fmla="*/ 0 w 12705"/>
                  <a:gd name="connsiteY0" fmla="*/ 0 h 43200"/>
                  <a:gd name="connsiteX1" fmla="*/ 0 w 12705"/>
                  <a:gd name="connsiteY1" fmla="*/ 43200 h 4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200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" name="Freihandform: Form 61">
                <a:extLst>
                  <a:ext uri="{FF2B5EF4-FFF2-40B4-BE49-F238E27FC236}">
                    <a16:creationId xmlns:a16="http://schemas.microsoft.com/office/drawing/2014/main" id="{F73D1CD6-3483-4A0E-AED6-52DE81F3369E}"/>
                  </a:ext>
                </a:extLst>
              </p:cNvPr>
              <p:cNvSpPr/>
              <p:nvPr/>
            </p:nvSpPr>
            <p:spPr>
              <a:xfrm>
                <a:off x="3439953" y="3403912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3" name="Grafik 13">
              <a:extLst>
                <a:ext uri="{FF2B5EF4-FFF2-40B4-BE49-F238E27FC236}">
                  <a16:creationId xmlns:a16="http://schemas.microsoft.com/office/drawing/2014/main" id="{A915CD22-573F-32C1-397F-765E77F8F2AB}"/>
                </a:ext>
              </a:extLst>
            </p:cNvPr>
            <p:cNvGrpSpPr/>
            <p:nvPr/>
          </p:nvGrpSpPr>
          <p:grpSpPr>
            <a:xfrm>
              <a:off x="3401581" y="3367700"/>
              <a:ext cx="43199" cy="43199"/>
              <a:chOff x="3401581" y="3367700"/>
              <a:chExt cx="43199" cy="43199"/>
            </a:xfrm>
          </p:grpSpPr>
          <p:sp>
            <p:nvSpPr>
              <p:cNvPr id="64" name="Freihandform: Form 63">
                <a:extLst>
                  <a:ext uri="{FF2B5EF4-FFF2-40B4-BE49-F238E27FC236}">
                    <a16:creationId xmlns:a16="http://schemas.microsoft.com/office/drawing/2014/main" id="{B1611216-4105-9976-D8B0-D61C66190177}"/>
                  </a:ext>
                </a:extLst>
              </p:cNvPr>
              <p:cNvSpPr/>
              <p:nvPr/>
            </p:nvSpPr>
            <p:spPr>
              <a:xfrm>
                <a:off x="3423181" y="3367700"/>
                <a:ext cx="12705" cy="43199"/>
              </a:xfrm>
              <a:custGeom>
                <a:avLst/>
                <a:gdLst>
                  <a:gd name="connsiteX0" fmla="*/ 0 w 12705"/>
                  <a:gd name="connsiteY0" fmla="*/ 0 h 43199"/>
                  <a:gd name="connsiteX1" fmla="*/ 0 w 12705"/>
                  <a:gd name="connsiteY1" fmla="*/ 43200 h 43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199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5" name="Freihandform: Form 64">
                <a:extLst>
                  <a:ext uri="{FF2B5EF4-FFF2-40B4-BE49-F238E27FC236}">
                    <a16:creationId xmlns:a16="http://schemas.microsoft.com/office/drawing/2014/main" id="{20ED112C-9932-CAE4-0D18-69E6F003340E}"/>
                  </a:ext>
                </a:extLst>
              </p:cNvPr>
              <p:cNvSpPr/>
              <p:nvPr/>
            </p:nvSpPr>
            <p:spPr>
              <a:xfrm>
                <a:off x="3401581" y="3389300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6" name="Grafik 13">
              <a:extLst>
                <a:ext uri="{FF2B5EF4-FFF2-40B4-BE49-F238E27FC236}">
                  <a16:creationId xmlns:a16="http://schemas.microsoft.com/office/drawing/2014/main" id="{7D02FA26-1863-C5AF-871B-421ADB8E044D}"/>
                </a:ext>
              </a:extLst>
            </p:cNvPr>
            <p:cNvGrpSpPr/>
            <p:nvPr/>
          </p:nvGrpSpPr>
          <p:grpSpPr>
            <a:xfrm>
              <a:off x="3363972" y="3359315"/>
              <a:ext cx="43199" cy="43200"/>
              <a:chOff x="3363972" y="3359315"/>
              <a:chExt cx="43199" cy="43200"/>
            </a:xfrm>
          </p:grpSpPr>
          <p:sp>
            <p:nvSpPr>
              <p:cNvPr id="67" name="Freihandform: Form 66">
                <a:extLst>
                  <a:ext uri="{FF2B5EF4-FFF2-40B4-BE49-F238E27FC236}">
                    <a16:creationId xmlns:a16="http://schemas.microsoft.com/office/drawing/2014/main" id="{890F0046-8EB0-AB1A-F088-0E48F8FE0A4A}"/>
                  </a:ext>
                </a:extLst>
              </p:cNvPr>
              <p:cNvSpPr/>
              <p:nvPr/>
            </p:nvSpPr>
            <p:spPr>
              <a:xfrm>
                <a:off x="3385572" y="3359315"/>
                <a:ext cx="12705" cy="43200"/>
              </a:xfrm>
              <a:custGeom>
                <a:avLst/>
                <a:gdLst>
                  <a:gd name="connsiteX0" fmla="*/ 0 w 12705"/>
                  <a:gd name="connsiteY0" fmla="*/ 0 h 43200"/>
                  <a:gd name="connsiteX1" fmla="*/ 0 w 12705"/>
                  <a:gd name="connsiteY1" fmla="*/ 43200 h 4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200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8" name="Freihandform: Form 67">
                <a:extLst>
                  <a:ext uri="{FF2B5EF4-FFF2-40B4-BE49-F238E27FC236}">
                    <a16:creationId xmlns:a16="http://schemas.microsoft.com/office/drawing/2014/main" id="{A8758504-B4AE-3EB9-FFA6-B5FA1814D38E}"/>
                  </a:ext>
                </a:extLst>
              </p:cNvPr>
              <p:cNvSpPr/>
              <p:nvPr/>
            </p:nvSpPr>
            <p:spPr>
              <a:xfrm>
                <a:off x="3363972" y="3380915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9" name="Grafik 13">
              <a:extLst>
                <a:ext uri="{FF2B5EF4-FFF2-40B4-BE49-F238E27FC236}">
                  <a16:creationId xmlns:a16="http://schemas.microsoft.com/office/drawing/2014/main" id="{FB02D5AD-965B-4E92-FAC8-93CD09AC0EFB}"/>
                </a:ext>
              </a:extLst>
            </p:cNvPr>
            <p:cNvGrpSpPr/>
            <p:nvPr/>
          </p:nvGrpSpPr>
          <p:grpSpPr>
            <a:xfrm>
              <a:off x="3347835" y="3359315"/>
              <a:ext cx="43199" cy="43200"/>
              <a:chOff x="3347835" y="3359315"/>
              <a:chExt cx="43199" cy="43200"/>
            </a:xfrm>
          </p:grpSpPr>
          <p:sp>
            <p:nvSpPr>
              <p:cNvPr id="70" name="Freihandform: Form 69">
                <a:extLst>
                  <a:ext uri="{FF2B5EF4-FFF2-40B4-BE49-F238E27FC236}">
                    <a16:creationId xmlns:a16="http://schemas.microsoft.com/office/drawing/2014/main" id="{BDBBBD19-EC20-9506-D0C4-A3F362628196}"/>
                  </a:ext>
                </a:extLst>
              </p:cNvPr>
              <p:cNvSpPr/>
              <p:nvPr/>
            </p:nvSpPr>
            <p:spPr>
              <a:xfrm>
                <a:off x="3369435" y="3359315"/>
                <a:ext cx="12705" cy="43200"/>
              </a:xfrm>
              <a:custGeom>
                <a:avLst/>
                <a:gdLst>
                  <a:gd name="connsiteX0" fmla="*/ 0 w 12705"/>
                  <a:gd name="connsiteY0" fmla="*/ 0 h 43200"/>
                  <a:gd name="connsiteX1" fmla="*/ 0 w 12705"/>
                  <a:gd name="connsiteY1" fmla="*/ 43200 h 4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200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1" name="Freihandform: Form 70">
                <a:extLst>
                  <a:ext uri="{FF2B5EF4-FFF2-40B4-BE49-F238E27FC236}">
                    <a16:creationId xmlns:a16="http://schemas.microsoft.com/office/drawing/2014/main" id="{9094E747-F793-BD0D-6054-ED23B7A657AA}"/>
                  </a:ext>
                </a:extLst>
              </p:cNvPr>
              <p:cNvSpPr/>
              <p:nvPr/>
            </p:nvSpPr>
            <p:spPr>
              <a:xfrm>
                <a:off x="3347835" y="3380915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72" name="Grafik 13">
              <a:extLst>
                <a:ext uri="{FF2B5EF4-FFF2-40B4-BE49-F238E27FC236}">
                  <a16:creationId xmlns:a16="http://schemas.microsoft.com/office/drawing/2014/main" id="{7ECA1AEC-276D-D623-B9AA-0D34CE6EAAF0}"/>
                </a:ext>
              </a:extLst>
            </p:cNvPr>
            <p:cNvGrpSpPr/>
            <p:nvPr/>
          </p:nvGrpSpPr>
          <p:grpSpPr>
            <a:xfrm>
              <a:off x="3144541" y="3327804"/>
              <a:ext cx="43199" cy="43199"/>
              <a:chOff x="3144541" y="3327804"/>
              <a:chExt cx="43199" cy="43199"/>
            </a:xfrm>
          </p:grpSpPr>
          <p:sp>
            <p:nvSpPr>
              <p:cNvPr id="73" name="Freihandform: Form 72">
                <a:extLst>
                  <a:ext uri="{FF2B5EF4-FFF2-40B4-BE49-F238E27FC236}">
                    <a16:creationId xmlns:a16="http://schemas.microsoft.com/office/drawing/2014/main" id="{8EE492CF-4364-6FB4-8EBF-98AD385BAE72}"/>
                  </a:ext>
                </a:extLst>
              </p:cNvPr>
              <p:cNvSpPr/>
              <p:nvPr/>
            </p:nvSpPr>
            <p:spPr>
              <a:xfrm>
                <a:off x="3166141" y="3327804"/>
                <a:ext cx="12705" cy="43199"/>
              </a:xfrm>
              <a:custGeom>
                <a:avLst/>
                <a:gdLst>
                  <a:gd name="connsiteX0" fmla="*/ 0 w 12705"/>
                  <a:gd name="connsiteY0" fmla="*/ 0 h 43199"/>
                  <a:gd name="connsiteX1" fmla="*/ 0 w 12705"/>
                  <a:gd name="connsiteY1" fmla="*/ 43200 h 43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199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4" name="Freihandform: Form 73">
                <a:extLst>
                  <a:ext uri="{FF2B5EF4-FFF2-40B4-BE49-F238E27FC236}">
                    <a16:creationId xmlns:a16="http://schemas.microsoft.com/office/drawing/2014/main" id="{88F99F29-E702-0B1C-2D53-5E3B2218CEC1}"/>
                  </a:ext>
                </a:extLst>
              </p:cNvPr>
              <p:cNvSpPr/>
              <p:nvPr/>
            </p:nvSpPr>
            <p:spPr>
              <a:xfrm>
                <a:off x="3144541" y="3349404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75" name="Grafik 13">
              <a:extLst>
                <a:ext uri="{FF2B5EF4-FFF2-40B4-BE49-F238E27FC236}">
                  <a16:creationId xmlns:a16="http://schemas.microsoft.com/office/drawing/2014/main" id="{2C088A38-18E9-2809-465A-FA55C955355F}"/>
                </a:ext>
              </a:extLst>
            </p:cNvPr>
            <p:cNvGrpSpPr/>
            <p:nvPr/>
          </p:nvGrpSpPr>
          <p:grpSpPr>
            <a:xfrm>
              <a:off x="3107694" y="3310143"/>
              <a:ext cx="43199" cy="43199"/>
              <a:chOff x="3107694" y="3310143"/>
              <a:chExt cx="43199" cy="43199"/>
            </a:xfrm>
          </p:grpSpPr>
          <p:sp>
            <p:nvSpPr>
              <p:cNvPr id="76" name="Freihandform: Form 75">
                <a:extLst>
                  <a:ext uri="{FF2B5EF4-FFF2-40B4-BE49-F238E27FC236}">
                    <a16:creationId xmlns:a16="http://schemas.microsoft.com/office/drawing/2014/main" id="{00E42EBA-BA43-676E-B3E6-8B49CA7F0BEE}"/>
                  </a:ext>
                </a:extLst>
              </p:cNvPr>
              <p:cNvSpPr/>
              <p:nvPr/>
            </p:nvSpPr>
            <p:spPr>
              <a:xfrm>
                <a:off x="3129294" y="3310143"/>
                <a:ext cx="12705" cy="43199"/>
              </a:xfrm>
              <a:custGeom>
                <a:avLst/>
                <a:gdLst>
                  <a:gd name="connsiteX0" fmla="*/ 0 w 12705"/>
                  <a:gd name="connsiteY0" fmla="*/ 0 h 43199"/>
                  <a:gd name="connsiteX1" fmla="*/ 0 w 12705"/>
                  <a:gd name="connsiteY1" fmla="*/ 43200 h 43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199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7" name="Freihandform: Form 76">
                <a:extLst>
                  <a:ext uri="{FF2B5EF4-FFF2-40B4-BE49-F238E27FC236}">
                    <a16:creationId xmlns:a16="http://schemas.microsoft.com/office/drawing/2014/main" id="{B3299CE3-B7D0-287B-5563-7A7022081B8B}"/>
                  </a:ext>
                </a:extLst>
              </p:cNvPr>
              <p:cNvSpPr/>
              <p:nvPr/>
            </p:nvSpPr>
            <p:spPr>
              <a:xfrm>
                <a:off x="3107694" y="3331743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78" name="Grafik 13">
              <a:extLst>
                <a:ext uri="{FF2B5EF4-FFF2-40B4-BE49-F238E27FC236}">
                  <a16:creationId xmlns:a16="http://schemas.microsoft.com/office/drawing/2014/main" id="{A0E7EF9D-97F1-FA21-7F5C-26D8CAE242F2}"/>
                </a:ext>
              </a:extLst>
            </p:cNvPr>
            <p:cNvGrpSpPr/>
            <p:nvPr/>
          </p:nvGrpSpPr>
          <p:grpSpPr>
            <a:xfrm>
              <a:off x="3090795" y="3310143"/>
              <a:ext cx="43199" cy="43199"/>
              <a:chOff x="3090795" y="3310143"/>
              <a:chExt cx="43199" cy="43199"/>
            </a:xfrm>
          </p:grpSpPr>
          <p:sp>
            <p:nvSpPr>
              <p:cNvPr id="79" name="Freihandform: Form 78">
                <a:extLst>
                  <a:ext uri="{FF2B5EF4-FFF2-40B4-BE49-F238E27FC236}">
                    <a16:creationId xmlns:a16="http://schemas.microsoft.com/office/drawing/2014/main" id="{D11758DE-5311-FE6E-7875-1E6B12917D0F}"/>
                  </a:ext>
                </a:extLst>
              </p:cNvPr>
              <p:cNvSpPr/>
              <p:nvPr/>
            </p:nvSpPr>
            <p:spPr>
              <a:xfrm>
                <a:off x="3112395" y="3310143"/>
                <a:ext cx="12705" cy="43199"/>
              </a:xfrm>
              <a:custGeom>
                <a:avLst/>
                <a:gdLst>
                  <a:gd name="connsiteX0" fmla="*/ 0 w 12705"/>
                  <a:gd name="connsiteY0" fmla="*/ 0 h 43199"/>
                  <a:gd name="connsiteX1" fmla="*/ 0 w 12705"/>
                  <a:gd name="connsiteY1" fmla="*/ 43200 h 43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199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0" name="Freihandform: Form 79">
                <a:extLst>
                  <a:ext uri="{FF2B5EF4-FFF2-40B4-BE49-F238E27FC236}">
                    <a16:creationId xmlns:a16="http://schemas.microsoft.com/office/drawing/2014/main" id="{096B73F5-969D-711A-DECB-BB88B5110561}"/>
                  </a:ext>
                </a:extLst>
              </p:cNvPr>
              <p:cNvSpPr/>
              <p:nvPr/>
            </p:nvSpPr>
            <p:spPr>
              <a:xfrm>
                <a:off x="3090795" y="3331743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1" name="Grafik 13">
              <a:extLst>
                <a:ext uri="{FF2B5EF4-FFF2-40B4-BE49-F238E27FC236}">
                  <a16:creationId xmlns:a16="http://schemas.microsoft.com/office/drawing/2014/main" id="{25548569-F9A4-D5AB-ED56-54732E85E0E4}"/>
                </a:ext>
              </a:extLst>
            </p:cNvPr>
            <p:cNvGrpSpPr/>
            <p:nvPr/>
          </p:nvGrpSpPr>
          <p:grpSpPr>
            <a:xfrm>
              <a:off x="2991181" y="3289305"/>
              <a:ext cx="43199" cy="43199"/>
              <a:chOff x="2991181" y="3289305"/>
              <a:chExt cx="43199" cy="43199"/>
            </a:xfrm>
          </p:grpSpPr>
          <p:sp>
            <p:nvSpPr>
              <p:cNvPr id="82" name="Freihandform: Form 81">
                <a:extLst>
                  <a:ext uri="{FF2B5EF4-FFF2-40B4-BE49-F238E27FC236}">
                    <a16:creationId xmlns:a16="http://schemas.microsoft.com/office/drawing/2014/main" id="{EC9228FD-5E37-594F-9E45-FE7C70DCA656}"/>
                  </a:ext>
                </a:extLst>
              </p:cNvPr>
              <p:cNvSpPr/>
              <p:nvPr/>
            </p:nvSpPr>
            <p:spPr>
              <a:xfrm>
                <a:off x="3012781" y="3289305"/>
                <a:ext cx="12705" cy="43199"/>
              </a:xfrm>
              <a:custGeom>
                <a:avLst/>
                <a:gdLst>
                  <a:gd name="connsiteX0" fmla="*/ 0 w 12705"/>
                  <a:gd name="connsiteY0" fmla="*/ 0 h 43199"/>
                  <a:gd name="connsiteX1" fmla="*/ 0 w 12705"/>
                  <a:gd name="connsiteY1" fmla="*/ 43200 h 43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199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" name="Freihandform: Form 82">
                <a:extLst>
                  <a:ext uri="{FF2B5EF4-FFF2-40B4-BE49-F238E27FC236}">
                    <a16:creationId xmlns:a16="http://schemas.microsoft.com/office/drawing/2014/main" id="{814AF318-00D8-AF0A-CB68-E3BC01345FFF}"/>
                  </a:ext>
                </a:extLst>
              </p:cNvPr>
              <p:cNvSpPr/>
              <p:nvPr/>
            </p:nvSpPr>
            <p:spPr>
              <a:xfrm>
                <a:off x="2991181" y="3310905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4" name="Grafik 13">
              <a:extLst>
                <a:ext uri="{FF2B5EF4-FFF2-40B4-BE49-F238E27FC236}">
                  <a16:creationId xmlns:a16="http://schemas.microsoft.com/office/drawing/2014/main" id="{568F52DE-1048-E15D-4976-ED207CACCD8B}"/>
                </a:ext>
              </a:extLst>
            </p:cNvPr>
            <p:cNvGrpSpPr/>
            <p:nvPr/>
          </p:nvGrpSpPr>
          <p:grpSpPr>
            <a:xfrm>
              <a:off x="2923713" y="3260209"/>
              <a:ext cx="43199" cy="43200"/>
              <a:chOff x="2923713" y="3260209"/>
              <a:chExt cx="43199" cy="43200"/>
            </a:xfrm>
          </p:grpSpPr>
          <p:sp>
            <p:nvSpPr>
              <p:cNvPr id="85" name="Freihandform: Form 84">
                <a:extLst>
                  <a:ext uri="{FF2B5EF4-FFF2-40B4-BE49-F238E27FC236}">
                    <a16:creationId xmlns:a16="http://schemas.microsoft.com/office/drawing/2014/main" id="{F53ED0AD-85CF-A4F7-28EC-119011056750}"/>
                  </a:ext>
                </a:extLst>
              </p:cNvPr>
              <p:cNvSpPr/>
              <p:nvPr/>
            </p:nvSpPr>
            <p:spPr>
              <a:xfrm>
                <a:off x="2945313" y="3260209"/>
                <a:ext cx="12705" cy="43200"/>
              </a:xfrm>
              <a:custGeom>
                <a:avLst/>
                <a:gdLst>
                  <a:gd name="connsiteX0" fmla="*/ 0 w 12705"/>
                  <a:gd name="connsiteY0" fmla="*/ 0 h 43200"/>
                  <a:gd name="connsiteX1" fmla="*/ 0 w 12705"/>
                  <a:gd name="connsiteY1" fmla="*/ 43200 h 4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200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6" name="Freihandform: Form 85">
                <a:extLst>
                  <a:ext uri="{FF2B5EF4-FFF2-40B4-BE49-F238E27FC236}">
                    <a16:creationId xmlns:a16="http://schemas.microsoft.com/office/drawing/2014/main" id="{861876D6-CFA3-ACEB-A898-AD49A7830418}"/>
                  </a:ext>
                </a:extLst>
              </p:cNvPr>
              <p:cNvSpPr/>
              <p:nvPr/>
            </p:nvSpPr>
            <p:spPr>
              <a:xfrm>
                <a:off x="2923713" y="3281809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7" name="Grafik 13">
              <a:extLst>
                <a:ext uri="{FF2B5EF4-FFF2-40B4-BE49-F238E27FC236}">
                  <a16:creationId xmlns:a16="http://schemas.microsoft.com/office/drawing/2014/main" id="{7D0BF2B9-57B2-3881-EC84-758B3BF492B6}"/>
                </a:ext>
              </a:extLst>
            </p:cNvPr>
            <p:cNvGrpSpPr/>
            <p:nvPr/>
          </p:nvGrpSpPr>
          <p:grpSpPr>
            <a:xfrm>
              <a:off x="2959671" y="3276345"/>
              <a:ext cx="43327" cy="43200"/>
              <a:chOff x="2959671" y="3276345"/>
              <a:chExt cx="43327" cy="43200"/>
            </a:xfrm>
          </p:grpSpPr>
          <p:sp>
            <p:nvSpPr>
              <p:cNvPr id="121" name="Freihandform: Form 120">
                <a:extLst>
                  <a:ext uri="{FF2B5EF4-FFF2-40B4-BE49-F238E27FC236}">
                    <a16:creationId xmlns:a16="http://schemas.microsoft.com/office/drawing/2014/main" id="{196490BC-24B0-7DE7-BBB3-1492FF3293A9}"/>
                  </a:ext>
                </a:extLst>
              </p:cNvPr>
              <p:cNvSpPr/>
              <p:nvPr/>
            </p:nvSpPr>
            <p:spPr>
              <a:xfrm>
                <a:off x="2981271" y="3276345"/>
                <a:ext cx="12705" cy="43200"/>
              </a:xfrm>
              <a:custGeom>
                <a:avLst/>
                <a:gdLst>
                  <a:gd name="connsiteX0" fmla="*/ 0 w 12705"/>
                  <a:gd name="connsiteY0" fmla="*/ 0 h 43200"/>
                  <a:gd name="connsiteX1" fmla="*/ 0 w 12705"/>
                  <a:gd name="connsiteY1" fmla="*/ 43200 h 4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200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3" name="Freihandform: Form 122">
                <a:extLst>
                  <a:ext uri="{FF2B5EF4-FFF2-40B4-BE49-F238E27FC236}">
                    <a16:creationId xmlns:a16="http://schemas.microsoft.com/office/drawing/2014/main" id="{551811CC-A942-7F0D-5FFE-C8A2822E6410}"/>
                  </a:ext>
                </a:extLst>
              </p:cNvPr>
              <p:cNvSpPr/>
              <p:nvPr/>
            </p:nvSpPr>
            <p:spPr>
              <a:xfrm>
                <a:off x="2959671" y="3297945"/>
                <a:ext cx="43327" cy="12705"/>
              </a:xfrm>
              <a:custGeom>
                <a:avLst/>
                <a:gdLst>
                  <a:gd name="connsiteX0" fmla="*/ 43327 w 43327"/>
                  <a:gd name="connsiteY0" fmla="*/ 0 h 12705"/>
                  <a:gd name="connsiteX1" fmla="*/ 0 w 43327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327" h="12705">
                    <a:moveTo>
                      <a:pt x="43327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24" name="Grafik 13">
              <a:extLst>
                <a:ext uri="{FF2B5EF4-FFF2-40B4-BE49-F238E27FC236}">
                  <a16:creationId xmlns:a16="http://schemas.microsoft.com/office/drawing/2014/main" id="{63E24B23-2599-C8E7-75CD-BF79928AF2F1}"/>
                </a:ext>
              </a:extLst>
            </p:cNvPr>
            <p:cNvGrpSpPr/>
            <p:nvPr/>
          </p:nvGrpSpPr>
          <p:grpSpPr>
            <a:xfrm>
              <a:off x="2866918" y="3219550"/>
              <a:ext cx="43199" cy="43200"/>
              <a:chOff x="2866918" y="3219550"/>
              <a:chExt cx="43199" cy="43200"/>
            </a:xfrm>
          </p:grpSpPr>
          <p:sp>
            <p:nvSpPr>
              <p:cNvPr id="132" name="Freihandform: Form 131">
                <a:extLst>
                  <a:ext uri="{FF2B5EF4-FFF2-40B4-BE49-F238E27FC236}">
                    <a16:creationId xmlns:a16="http://schemas.microsoft.com/office/drawing/2014/main" id="{0C3248AC-CB7D-D69E-C851-0F84C75AEC37}"/>
                  </a:ext>
                </a:extLst>
              </p:cNvPr>
              <p:cNvSpPr/>
              <p:nvPr/>
            </p:nvSpPr>
            <p:spPr>
              <a:xfrm>
                <a:off x="2888518" y="3219550"/>
                <a:ext cx="12705" cy="43200"/>
              </a:xfrm>
              <a:custGeom>
                <a:avLst/>
                <a:gdLst>
                  <a:gd name="connsiteX0" fmla="*/ 0 w 12705"/>
                  <a:gd name="connsiteY0" fmla="*/ 0 h 43200"/>
                  <a:gd name="connsiteX1" fmla="*/ 0 w 12705"/>
                  <a:gd name="connsiteY1" fmla="*/ 43200 h 4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200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3" name="Freihandform: Form 132">
                <a:extLst>
                  <a:ext uri="{FF2B5EF4-FFF2-40B4-BE49-F238E27FC236}">
                    <a16:creationId xmlns:a16="http://schemas.microsoft.com/office/drawing/2014/main" id="{D4B7FBC7-BCA7-4997-2636-549400085061}"/>
                  </a:ext>
                </a:extLst>
              </p:cNvPr>
              <p:cNvSpPr/>
              <p:nvPr/>
            </p:nvSpPr>
            <p:spPr>
              <a:xfrm>
                <a:off x="2866918" y="3241150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34" name="Grafik 13">
              <a:extLst>
                <a:ext uri="{FF2B5EF4-FFF2-40B4-BE49-F238E27FC236}">
                  <a16:creationId xmlns:a16="http://schemas.microsoft.com/office/drawing/2014/main" id="{78C819D7-B1E9-0D85-040E-8F419C5025E6}"/>
                </a:ext>
              </a:extLst>
            </p:cNvPr>
            <p:cNvGrpSpPr/>
            <p:nvPr/>
          </p:nvGrpSpPr>
          <p:grpSpPr>
            <a:xfrm>
              <a:off x="2846970" y="3199602"/>
              <a:ext cx="43199" cy="43199"/>
              <a:chOff x="2846970" y="3199602"/>
              <a:chExt cx="43199" cy="43199"/>
            </a:xfrm>
          </p:grpSpPr>
          <p:sp>
            <p:nvSpPr>
              <p:cNvPr id="135" name="Freihandform: Form 134">
                <a:extLst>
                  <a:ext uri="{FF2B5EF4-FFF2-40B4-BE49-F238E27FC236}">
                    <a16:creationId xmlns:a16="http://schemas.microsoft.com/office/drawing/2014/main" id="{2B53C34F-A734-516B-32B7-7FB4E081A9AE}"/>
                  </a:ext>
                </a:extLst>
              </p:cNvPr>
              <p:cNvSpPr/>
              <p:nvPr/>
            </p:nvSpPr>
            <p:spPr>
              <a:xfrm>
                <a:off x="2868570" y="3199602"/>
                <a:ext cx="12705" cy="43199"/>
              </a:xfrm>
              <a:custGeom>
                <a:avLst/>
                <a:gdLst>
                  <a:gd name="connsiteX0" fmla="*/ 0 w 12705"/>
                  <a:gd name="connsiteY0" fmla="*/ 0 h 43199"/>
                  <a:gd name="connsiteX1" fmla="*/ 0 w 12705"/>
                  <a:gd name="connsiteY1" fmla="*/ 43200 h 43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199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6" name="Freihandform: Form 135">
                <a:extLst>
                  <a:ext uri="{FF2B5EF4-FFF2-40B4-BE49-F238E27FC236}">
                    <a16:creationId xmlns:a16="http://schemas.microsoft.com/office/drawing/2014/main" id="{86E6A36D-9610-C619-4BFB-307F5103D504}"/>
                  </a:ext>
                </a:extLst>
              </p:cNvPr>
              <p:cNvSpPr/>
              <p:nvPr/>
            </p:nvSpPr>
            <p:spPr>
              <a:xfrm>
                <a:off x="2846970" y="3221202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37" name="Grafik 13">
              <a:extLst>
                <a:ext uri="{FF2B5EF4-FFF2-40B4-BE49-F238E27FC236}">
                  <a16:creationId xmlns:a16="http://schemas.microsoft.com/office/drawing/2014/main" id="{D60D1B12-1337-379D-4C66-288F56245EEE}"/>
                </a:ext>
              </a:extLst>
            </p:cNvPr>
            <p:cNvGrpSpPr/>
            <p:nvPr/>
          </p:nvGrpSpPr>
          <p:grpSpPr>
            <a:xfrm>
              <a:off x="2830071" y="3199602"/>
              <a:ext cx="43199" cy="43199"/>
              <a:chOff x="2830071" y="3199602"/>
              <a:chExt cx="43199" cy="43199"/>
            </a:xfrm>
          </p:grpSpPr>
          <p:sp>
            <p:nvSpPr>
              <p:cNvPr id="138" name="Freihandform: Form 137">
                <a:extLst>
                  <a:ext uri="{FF2B5EF4-FFF2-40B4-BE49-F238E27FC236}">
                    <a16:creationId xmlns:a16="http://schemas.microsoft.com/office/drawing/2014/main" id="{B80252AE-3CFE-69B3-00CC-FFE1351E245A}"/>
                  </a:ext>
                </a:extLst>
              </p:cNvPr>
              <p:cNvSpPr/>
              <p:nvPr/>
            </p:nvSpPr>
            <p:spPr>
              <a:xfrm>
                <a:off x="2851671" y="3199602"/>
                <a:ext cx="12705" cy="43199"/>
              </a:xfrm>
              <a:custGeom>
                <a:avLst/>
                <a:gdLst>
                  <a:gd name="connsiteX0" fmla="*/ 0 w 12705"/>
                  <a:gd name="connsiteY0" fmla="*/ 0 h 43199"/>
                  <a:gd name="connsiteX1" fmla="*/ 0 w 12705"/>
                  <a:gd name="connsiteY1" fmla="*/ 43200 h 43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199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9" name="Freihandform: Form 138">
                <a:extLst>
                  <a:ext uri="{FF2B5EF4-FFF2-40B4-BE49-F238E27FC236}">
                    <a16:creationId xmlns:a16="http://schemas.microsoft.com/office/drawing/2014/main" id="{FF13F828-EF55-C3C1-8A09-62E3E93C4976}"/>
                  </a:ext>
                </a:extLst>
              </p:cNvPr>
              <p:cNvSpPr/>
              <p:nvPr/>
            </p:nvSpPr>
            <p:spPr>
              <a:xfrm>
                <a:off x="2830071" y="3221202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40" name="Grafik 13">
              <a:extLst>
                <a:ext uri="{FF2B5EF4-FFF2-40B4-BE49-F238E27FC236}">
                  <a16:creationId xmlns:a16="http://schemas.microsoft.com/office/drawing/2014/main" id="{B322C36F-B4DB-976B-F008-8505814BD7CF}"/>
                </a:ext>
              </a:extLst>
            </p:cNvPr>
            <p:cNvGrpSpPr/>
            <p:nvPr/>
          </p:nvGrpSpPr>
          <p:grpSpPr>
            <a:xfrm>
              <a:off x="2753327" y="3203413"/>
              <a:ext cx="43199" cy="43200"/>
              <a:chOff x="2753327" y="3203413"/>
              <a:chExt cx="43199" cy="43200"/>
            </a:xfrm>
          </p:grpSpPr>
          <p:sp>
            <p:nvSpPr>
              <p:cNvPr id="141" name="Freihandform: Form 140">
                <a:extLst>
                  <a:ext uri="{FF2B5EF4-FFF2-40B4-BE49-F238E27FC236}">
                    <a16:creationId xmlns:a16="http://schemas.microsoft.com/office/drawing/2014/main" id="{59F5A624-E7F9-0B51-384E-F69E7A0E3DD3}"/>
                  </a:ext>
                </a:extLst>
              </p:cNvPr>
              <p:cNvSpPr/>
              <p:nvPr/>
            </p:nvSpPr>
            <p:spPr>
              <a:xfrm>
                <a:off x="2774927" y="3203413"/>
                <a:ext cx="12705" cy="43200"/>
              </a:xfrm>
              <a:custGeom>
                <a:avLst/>
                <a:gdLst>
                  <a:gd name="connsiteX0" fmla="*/ 0 w 12705"/>
                  <a:gd name="connsiteY0" fmla="*/ 0 h 43200"/>
                  <a:gd name="connsiteX1" fmla="*/ 0 w 12705"/>
                  <a:gd name="connsiteY1" fmla="*/ 43200 h 4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200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2" name="Freihandform: Form 141">
                <a:extLst>
                  <a:ext uri="{FF2B5EF4-FFF2-40B4-BE49-F238E27FC236}">
                    <a16:creationId xmlns:a16="http://schemas.microsoft.com/office/drawing/2014/main" id="{2969D4BD-F965-293B-2A27-3048202818CA}"/>
                  </a:ext>
                </a:extLst>
              </p:cNvPr>
              <p:cNvSpPr/>
              <p:nvPr/>
            </p:nvSpPr>
            <p:spPr>
              <a:xfrm>
                <a:off x="2753327" y="3225013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43" name="Grafik 13">
              <a:extLst>
                <a:ext uri="{FF2B5EF4-FFF2-40B4-BE49-F238E27FC236}">
                  <a16:creationId xmlns:a16="http://schemas.microsoft.com/office/drawing/2014/main" id="{E7E292B0-4CFB-2BC3-9B0C-3C1A44EF2ECD}"/>
                </a:ext>
              </a:extLst>
            </p:cNvPr>
            <p:cNvGrpSpPr/>
            <p:nvPr/>
          </p:nvGrpSpPr>
          <p:grpSpPr>
            <a:xfrm>
              <a:off x="2718005" y="3187277"/>
              <a:ext cx="43199" cy="43199"/>
              <a:chOff x="2718005" y="3187277"/>
              <a:chExt cx="43199" cy="43199"/>
            </a:xfrm>
          </p:grpSpPr>
          <p:sp>
            <p:nvSpPr>
              <p:cNvPr id="144" name="Freihandform: Form 143">
                <a:extLst>
                  <a:ext uri="{FF2B5EF4-FFF2-40B4-BE49-F238E27FC236}">
                    <a16:creationId xmlns:a16="http://schemas.microsoft.com/office/drawing/2014/main" id="{02B809C1-5297-B901-63FB-3D35163921FE}"/>
                  </a:ext>
                </a:extLst>
              </p:cNvPr>
              <p:cNvSpPr/>
              <p:nvPr/>
            </p:nvSpPr>
            <p:spPr>
              <a:xfrm>
                <a:off x="2739605" y="3187277"/>
                <a:ext cx="12705" cy="43199"/>
              </a:xfrm>
              <a:custGeom>
                <a:avLst/>
                <a:gdLst>
                  <a:gd name="connsiteX0" fmla="*/ 0 w 12705"/>
                  <a:gd name="connsiteY0" fmla="*/ 0 h 43199"/>
                  <a:gd name="connsiteX1" fmla="*/ 0 w 12705"/>
                  <a:gd name="connsiteY1" fmla="*/ 43200 h 43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199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5" name="Freihandform: Form 144">
                <a:extLst>
                  <a:ext uri="{FF2B5EF4-FFF2-40B4-BE49-F238E27FC236}">
                    <a16:creationId xmlns:a16="http://schemas.microsoft.com/office/drawing/2014/main" id="{4937FD1C-DF34-10B9-94D0-D2D2F1FC6BBC}"/>
                  </a:ext>
                </a:extLst>
              </p:cNvPr>
              <p:cNvSpPr/>
              <p:nvPr/>
            </p:nvSpPr>
            <p:spPr>
              <a:xfrm>
                <a:off x="2718005" y="3208877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46" name="Grafik 13">
              <a:extLst>
                <a:ext uri="{FF2B5EF4-FFF2-40B4-BE49-F238E27FC236}">
                  <a16:creationId xmlns:a16="http://schemas.microsoft.com/office/drawing/2014/main" id="{C2C3570B-F0BF-D8B4-2948-E632F286BC03}"/>
                </a:ext>
              </a:extLst>
            </p:cNvPr>
            <p:cNvGrpSpPr/>
            <p:nvPr/>
          </p:nvGrpSpPr>
          <p:grpSpPr>
            <a:xfrm>
              <a:off x="2667435" y="3158943"/>
              <a:ext cx="43199" cy="43200"/>
              <a:chOff x="2667435" y="3158943"/>
              <a:chExt cx="43199" cy="43200"/>
            </a:xfrm>
          </p:grpSpPr>
          <p:sp>
            <p:nvSpPr>
              <p:cNvPr id="147" name="Freihandform: Form 146">
                <a:extLst>
                  <a:ext uri="{FF2B5EF4-FFF2-40B4-BE49-F238E27FC236}">
                    <a16:creationId xmlns:a16="http://schemas.microsoft.com/office/drawing/2014/main" id="{C4111344-1CA4-9259-1C7F-6DDF9910403A}"/>
                  </a:ext>
                </a:extLst>
              </p:cNvPr>
              <p:cNvSpPr/>
              <p:nvPr/>
            </p:nvSpPr>
            <p:spPr>
              <a:xfrm>
                <a:off x="2689035" y="3158943"/>
                <a:ext cx="12705" cy="43200"/>
              </a:xfrm>
              <a:custGeom>
                <a:avLst/>
                <a:gdLst>
                  <a:gd name="connsiteX0" fmla="*/ 0 w 12705"/>
                  <a:gd name="connsiteY0" fmla="*/ 0 h 43200"/>
                  <a:gd name="connsiteX1" fmla="*/ 0 w 12705"/>
                  <a:gd name="connsiteY1" fmla="*/ 43200 h 4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200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8" name="Freihandform: Form 147">
                <a:extLst>
                  <a:ext uri="{FF2B5EF4-FFF2-40B4-BE49-F238E27FC236}">
                    <a16:creationId xmlns:a16="http://schemas.microsoft.com/office/drawing/2014/main" id="{3754C9A6-7CDC-EC54-68DB-67C7A2520049}"/>
                  </a:ext>
                </a:extLst>
              </p:cNvPr>
              <p:cNvSpPr/>
              <p:nvPr/>
            </p:nvSpPr>
            <p:spPr>
              <a:xfrm>
                <a:off x="2667435" y="3180543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49" name="Grafik 13">
              <a:extLst>
                <a:ext uri="{FF2B5EF4-FFF2-40B4-BE49-F238E27FC236}">
                  <a16:creationId xmlns:a16="http://schemas.microsoft.com/office/drawing/2014/main" id="{A87D1BAA-613F-7EB9-AFB4-6ABDBAD69154}"/>
                </a:ext>
              </a:extLst>
            </p:cNvPr>
            <p:cNvGrpSpPr/>
            <p:nvPr/>
          </p:nvGrpSpPr>
          <p:grpSpPr>
            <a:xfrm>
              <a:off x="2542283" y="3106722"/>
              <a:ext cx="43327" cy="43200"/>
              <a:chOff x="2542283" y="3106722"/>
              <a:chExt cx="43327" cy="43200"/>
            </a:xfrm>
          </p:grpSpPr>
          <p:sp>
            <p:nvSpPr>
              <p:cNvPr id="150" name="Freihandform: Form 149">
                <a:extLst>
                  <a:ext uri="{FF2B5EF4-FFF2-40B4-BE49-F238E27FC236}">
                    <a16:creationId xmlns:a16="http://schemas.microsoft.com/office/drawing/2014/main" id="{56A25742-4CAD-2727-4990-E1611C62C6EE}"/>
                  </a:ext>
                </a:extLst>
              </p:cNvPr>
              <p:cNvSpPr/>
              <p:nvPr/>
            </p:nvSpPr>
            <p:spPr>
              <a:xfrm>
                <a:off x="2563883" y="3106722"/>
                <a:ext cx="12705" cy="43200"/>
              </a:xfrm>
              <a:custGeom>
                <a:avLst/>
                <a:gdLst>
                  <a:gd name="connsiteX0" fmla="*/ 0 w 12705"/>
                  <a:gd name="connsiteY0" fmla="*/ 0 h 43200"/>
                  <a:gd name="connsiteX1" fmla="*/ 0 w 12705"/>
                  <a:gd name="connsiteY1" fmla="*/ 43200 h 4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200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1" name="Freihandform: Form 150">
                <a:extLst>
                  <a:ext uri="{FF2B5EF4-FFF2-40B4-BE49-F238E27FC236}">
                    <a16:creationId xmlns:a16="http://schemas.microsoft.com/office/drawing/2014/main" id="{341FC206-C6C5-8EF1-2675-852A1DAA4B1C}"/>
                  </a:ext>
                </a:extLst>
              </p:cNvPr>
              <p:cNvSpPr/>
              <p:nvPr/>
            </p:nvSpPr>
            <p:spPr>
              <a:xfrm>
                <a:off x="2542283" y="3128322"/>
                <a:ext cx="43327" cy="12705"/>
              </a:xfrm>
              <a:custGeom>
                <a:avLst/>
                <a:gdLst>
                  <a:gd name="connsiteX0" fmla="*/ 43327 w 43327"/>
                  <a:gd name="connsiteY0" fmla="*/ 0 h 12705"/>
                  <a:gd name="connsiteX1" fmla="*/ 0 w 43327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327" h="12705">
                    <a:moveTo>
                      <a:pt x="43327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2" name="Grafik 13">
              <a:extLst>
                <a:ext uri="{FF2B5EF4-FFF2-40B4-BE49-F238E27FC236}">
                  <a16:creationId xmlns:a16="http://schemas.microsoft.com/office/drawing/2014/main" id="{CB8B41C8-E29A-67FB-3DC9-65C701BE96D9}"/>
                </a:ext>
              </a:extLst>
            </p:cNvPr>
            <p:cNvGrpSpPr/>
            <p:nvPr/>
          </p:nvGrpSpPr>
          <p:grpSpPr>
            <a:xfrm>
              <a:off x="2491713" y="3082962"/>
              <a:ext cx="43199" cy="43200"/>
              <a:chOff x="2491713" y="3082962"/>
              <a:chExt cx="43199" cy="43200"/>
            </a:xfrm>
          </p:grpSpPr>
          <p:sp>
            <p:nvSpPr>
              <p:cNvPr id="153" name="Freihandform: Form 152">
                <a:extLst>
                  <a:ext uri="{FF2B5EF4-FFF2-40B4-BE49-F238E27FC236}">
                    <a16:creationId xmlns:a16="http://schemas.microsoft.com/office/drawing/2014/main" id="{04EF3325-A96B-E3AD-6C00-0AFC963CD10A}"/>
                  </a:ext>
                </a:extLst>
              </p:cNvPr>
              <p:cNvSpPr/>
              <p:nvPr/>
            </p:nvSpPr>
            <p:spPr>
              <a:xfrm>
                <a:off x="2513313" y="3082962"/>
                <a:ext cx="12705" cy="43200"/>
              </a:xfrm>
              <a:custGeom>
                <a:avLst/>
                <a:gdLst>
                  <a:gd name="connsiteX0" fmla="*/ 0 w 12705"/>
                  <a:gd name="connsiteY0" fmla="*/ 0 h 43200"/>
                  <a:gd name="connsiteX1" fmla="*/ 0 w 12705"/>
                  <a:gd name="connsiteY1" fmla="*/ 43200 h 4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200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4" name="Freihandform: Form 153">
                <a:extLst>
                  <a:ext uri="{FF2B5EF4-FFF2-40B4-BE49-F238E27FC236}">
                    <a16:creationId xmlns:a16="http://schemas.microsoft.com/office/drawing/2014/main" id="{E1F2D798-DD2F-78CA-A1A4-4F018AD65648}"/>
                  </a:ext>
                </a:extLst>
              </p:cNvPr>
              <p:cNvSpPr/>
              <p:nvPr/>
            </p:nvSpPr>
            <p:spPr>
              <a:xfrm>
                <a:off x="2491713" y="3104562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5" name="Grafik 13">
              <a:extLst>
                <a:ext uri="{FF2B5EF4-FFF2-40B4-BE49-F238E27FC236}">
                  <a16:creationId xmlns:a16="http://schemas.microsoft.com/office/drawing/2014/main" id="{DBC1E19D-E58F-0608-42A3-5B024741F7AE}"/>
                </a:ext>
              </a:extLst>
            </p:cNvPr>
            <p:cNvGrpSpPr/>
            <p:nvPr/>
          </p:nvGrpSpPr>
          <p:grpSpPr>
            <a:xfrm>
              <a:off x="2474814" y="3082962"/>
              <a:ext cx="43199" cy="43200"/>
              <a:chOff x="2474814" y="3082962"/>
              <a:chExt cx="43199" cy="43200"/>
            </a:xfrm>
          </p:grpSpPr>
          <p:sp>
            <p:nvSpPr>
              <p:cNvPr id="156" name="Freihandform: Form 155">
                <a:extLst>
                  <a:ext uri="{FF2B5EF4-FFF2-40B4-BE49-F238E27FC236}">
                    <a16:creationId xmlns:a16="http://schemas.microsoft.com/office/drawing/2014/main" id="{3D604E6E-047F-A25A-F7A5-EB502DD5C351}"/>
                  </a:ext>
                </a:extLst>
              </p:cNvPr>
              <p:cNvSpPr/>
              <p:nvPr/>
            </p:nvSpPr>
            <p:spPr>
              <a:xfrm>
                <a:off x="2496414" y="3082962"/>
                <a:ext cx="12705" cy="43200"/>
              </a:xfrm>
              <a:custGeom>
                <a:avLst/>
                <a:gdLst>
                  <a:gd name="connsiteX0" fmla="*/ 0 w 12705"/>
                  <a:gd name="connsiteY0" fmla="*/ 0 h 43200"/>
                  <a:gd name="connsiteX1" fmla="*/ 0 w 12705"/>
                  <a:gd name="connsiteY1" fmla="*/ 43200 h 4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200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" name="Freihandform: Form 156">
                <a:extLst>
                  <a:ext uri="{FF2B5EF4-FFF2-40B4-BE49-F238E27FC236}">
                    <a16:creationId xmlns:a16="http://schemas.microsoft.com/office/drawing/2014/main" id="{E3A3B6ED-1BBB-D2A4-C97C-CA7246D30CB5}"/>
                  </a:ext>
                </a:extLst>
              </p:cNvPr>
              <p:cNvSpPr/>
              <p:nvPr/>
            </p:nvSpPr>
            <p:spPr>
              <a:xfrm>
                <a:off x="2474814" y="3104562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8" name="Grafik 13">
              <a:extLst>
                <a:ext uri="{FF2B5EF4-FFF2-40B4-BE49-F238E27FC236}">
                  <a16:creationId xmlns:a16="http://schemas.microsoft.com/office/drawing/2014/main" id="{C1B87306-0A09-11FF-FB6B-72EA7A3576F7}"/>
                </a:ext>
              </a:extLst>
            </p:cNvPr>
            <p:cNvGrpSpPr/>
            <p:nvPr/>
          </p:nvGrpSpPr>
          <p:grpSpPr>
            <a:xfrm>
              <a:off x="2423610" y="3050943"/>
              <a:ext cx="43327" cy="43200"/>
              <a:chOff x="2423610" y="3050943"/>
              <a:chExt cx="43327" cy="43200"/>
            </a:xfrm>
          </p:grpSpPr>
          <p:sp>
            <p:nvSpPr>
              <p:cNvPr id="159" name="Freihandform: Form 158">
                <a:extLst>
                  <a:ext uri="{FF2B5EF4-FFF2-40B4-BE49-F238E27FC236}">
                    <a16:creationId xmlns:a16="http://schemas.microsoft.com/office/drawing/2014/main" id="{ADB7CF6A-C180-3256-16C6-1F67F64C3D55}"/>
                  </a:ext>
                </a:extLst>
              </p:cNvPr>
              <p:cNvSpPr/>
              <p:nvPr/>
            </p:nvSpPr>
            <p:spPr>
              <a:xfrm>
                <a:off x="2445337" y="3050943"/>
                <a:ext cx="12705" cy="43200"/>
              </a:xfrm>
              <a:custGeom>
                <a:avLst/>
                <a:gdLst>
                  <a:gd name="connsiteX0" fmla="*/ 0 w 12705"/>
                  <a:gd name="connsiteY0" fmla="*/ 0 h 43200"/>
                  <a:gd name="connsiteX1" fmla="*/ 0 w 12705"/>
                  <a:gd name="connsiteY1" fmla="*/ 43200 h 4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200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" name="Freihandform: Form 159">
                <a:extLst>
                  <a:ext uri="{FF2B5EF4-FFF2-40B4-BE49-F238E27FC236}">
                    <a16:creationId xmlns:a16="http://schemas.microsoft.com/office/drawing/2014/main" id="{6B900DEC-63C7-9407-B397-633C418E892E}"/>
                  </a:ext>
                </a:extLst>
              </p:cNvPr>
              <p:cNvSpPr/>
              <p:nvPr/>
            </p:nvSpPr>
            <p:spPr>
              <a:xfrm>
                <a:off x="2423610" y="3072543"/>
                <a:ext cx="43327" cy="12705"/>
              </a:xfrm>
              <a:custGeom>
                <a:avLst/>
                <a:gdLst>
                  <a:gd name="connsiteX0" fmla="*/ 43327 w 43327"/>
                  <a:gd name="connsiteY0" fmla="*/ 0 h 12705"/>
                  <a:gd name="connsiteX1" fmla="*/ 0 w 43327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327" h="12705">
                    <a:moveTo>
                      <a:pt x="43327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61" name="Grafik 13">
              <a:extLst>
                <a:ext uri="{FF2B5EF4-FFF2-40B4-BE49-F238E27FC236}">
                  <a16:creationId xmlns:a16="http://schemas.microsoft.com/office/drawing/2014/main" id="{D0C34088-47C0-C952-9F94-CA295D6F1863}"/>
                </a:ext>
              </a:extLst>
            </p:cNvPr>
            <p:cNvGrpSpPr/>
            <p:nvPr/>
          </p:nvGrpSpPr>
          <p:grpSpPr>
            <a:xfrm>
              <a:off x="2358428" y="3008886"/>
              <a:ext cx="43199" cy="43200"/>
              <a:chOff x="2358428" y="3008886"/>
              <a:chExt cx="43199" cy="43200"/>
            </a:xfrm>
          </p:grpSpPr>
          <p:sp>
            <p:nvSpPr>
              <p:cNvPr id="162" name="Freihandform: Form 161">
                <a:extLst>
                  <a:ext uri="{FF2B5EF4-FFF2-40B4-BE49-F238E27FC236}">
                    <a16:creationId xmlns:a16="http://schemas.microsoft.com/office/drawing/2014/main" id="{8CD8D876-2E6B-9B1F-EE7E-35BBCB72FB7D}"/>
                  </a:ext>
                </a:extLst>
              </p:cNvPr>
              <p:cNvSpPr/>
              <p:nvPr/>
            </p:nvSpPr>
            <p:spPr>
              <a:xfrm>
                <a:off x="2380028" y="3008886"/>
                <a:ext cx="12705" cy="43200"/>
              </a:xfrm>
              <a:custGeom>
                <a:avLst/>
                <a:gdLst>
                  <a:gd name="connsiteX0" fmla="*/ 0 w 12705"/>
                  <a:gd name="connsiteY0" fmla="*/ 0 h 43200"/>
                  <a:gd name="connsiteX1" fmla="*/ 0 w 12705"/>
                  <a:gd name="connsiteY1" fmla="*/ 43200 h 4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200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" name="Freihandform: Form 162">
                <a:extLst>
                  <a:ext uri="{FF2B5EF4-FFF2-40B4-BE49-F238E27FC236}">
                    <a16:creationId xmlns:a16="http://schemas.microsoft.com/office/drawing/2014/main" id="{A826B53B-06B8-C216-F68F-A12582C43ACE}"/>
                  </a:ext>
                </a:extLst>
              </p:cNvPr>
              <p:cNvSpPr/>
              <p:nvPr/>
            </p:nvSpPr>
            <p:spPr>
              <a:xfrm>
                <a:off x="2358428" y="3030486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64" name="Grafik 13">
              <a:extLst>
                <a:ext uri="{FF2B5EF4-FFF2-40B4-BE49-F238E27FC236}">
                  <a16:creationId xmlns:a16="http://schemas.microsoft.com/office/drawing/2014/main" id="{7993E9AA-703A-5DAF-3154-51DB1EAD506C}"/>
                </a:ext>
              </a:extLst>
            </p:cNvPr>
            <p:cNvGrpSpPr/>
            <p:nvPr/>
          </p:nvGrpSpPr>
          <p:grpSpPr>
            <a:xfrm>
              <a:off x="2230099" y="2863658"/>
              <a:ext cx="43199" cy="43199"/>
              <a:chOff x="2230099" y="2863658"/>
              <a:chExt cx="43199" cy="43199"/>
            </a:xfrm>
          </p:grpSpPr>
          <p:sp>
            <p:nvSpPr>
              <p:cNvPr id="165" name="Freihandform: Form 164">
                <a:extLst>
                  <a:ext uri="{FF2B5EF4-FFF2-40B4-BE49-F238E27FC236}">
                    <a16:creationId xmlns:a16="http://schemas.microsoft.com/office/drawing/2014/main" id="{47CB5AB7-C7BC-2761-44AD-EB4A678107A1}"/>
                  </a:ext>
                </a:extLst>
              </p:cNvPr>
              <p:cNvSpPr/>
              <p:nvPr/>
            </p:nvSpPr>
            <p:spPr>
              <a:xfrm>
                <a:off x="2251699" y="2863658"/>
                <a:ext cx="12705" cy="43199"/>
              </a:xfrm>
              <a:custGeom>
                <a:avLst/>
                <a:gdLst>
                  <a:gd name="connsiteX0" fmla="*/ 0 w 12705"/>
                  <a:gd name="connsiteY0" fmla="*/ 0 h 43199"/>
                  <a:gd name="connsiteX1" fmla="*/ 0 w 12705"/>
                  <a:gd name="connsiteY1" fmla="*/ 43200 h 43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199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" name="Freihandform: Form 165">
                <a:extLst>
                  <a:ext uri="{FF2B5EF4-FFF2-40B4-BE49-F238E27FC236}">
                    <a16:creationId xmlns:a16="http://schemas.microsoft.com/office/drawing/2014/main" id="{8302963F-9F1F-C084-5BDE-4E15FF0CB7C8}"/>
                  </a:ext>
                </a:extLst>
              </p:cNvPr>
              <p:cNvSpPr/>
              <p:nvPr/>
            </p:nvSpPr>
            <p:spPr>
              <a:xfrm>
                <a:off x="2230099" y="2885258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67" name="Grafik 13">
              <a:extLst>
                <a:ext uri="{FF2B5EF4-FFF2-40B4-BE49-F238E27FC236}">
                  <a16:creationId xmlns:a16="http://schemas.microsoft.com/office/drawing/2014/main" id="{DC5D4F87-4FC0-BE75-C9C6-FCA47E1A4B48}"/>
                </a:ext>
              </a:extLst>
            </p:cNvPr>
            <p:cNvGrpSpPr/>
            <p:nvPr/>
          </p:nvGrpSpPr>
          <p:grpSpPr>
            <a:xfrm>
              <a:off x="2198334" y="2861752"/>
              <a:ext cx="43199" cy="43200"/>
              <a:chOff x="2198334" y="2861752"/>
              <a:chExt cx="43199" cy="43200"/>
            </a:xfrm>
          </p:grpSpPr>
          <p:sp>
            <p:nvSpPr>
              <p:cNvPr id="168" name="Freihandform: Form 167">
                <a:extLst>
                  <a:ext uri="{FF2B5EF4-FFF2-40B4-BE49-F238E27FC236}">
                    <a16:creationId xmlns:a16="http://schemas.microsoft.com/office/drawing/2014/main" id="{3C7C31CD-8B5E-AAAC-0163-7FFC2DDD82FA}"/>
                  </a:ext>
                </a:extLst>
              </p:cNvPr>
              <p:cNvSpPr/>
              <p:nvPr/>
            </p:nvSpPr>
            <p:spPr>
              <a:xfrm>
                <a:off x="2219934" y="2861752"/>
                <a:ext cx="12705" cy="43200"/>
              </a:xfrm>
              <a:custGeom>
                <a:avLst/>
                <a:gdLst>
                  <a:gd name="connsiteX0" fmla="*/ 0 w 12705"/>
                  <a:gd name="connsiteY0" fmla="*/ 0 h 43200"/>
                  <a:gd name="connsiteX1" fmla="*/ 0 w 12705"/>
                  <a:gd name="connsiteY1" fmla="*/ 43200 h 4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200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" name="Freihandform: Form 168">
                <a:extLst>
                  <a:ext uri="{FF2B5EF4-FFF2-40B4-BE49-F238E27FC236}">
                    <a16:creationId xmlns:a16="http://schemas.microsoft.com/office/drawing/2014/main" id="{A52266D9-D6CE-DCF7-565F-C144D79F4899}"/>
                  </a:ext>
                </a:extLst>
              </p:cNvPr>
              <p:cNvSpPr/>
              <p:nvPr/>
            </p:nvSpPr>
            <p:spPr>
              <a:xfrm>
                <a:off x="2198334" y="2883352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70" name="Grafik 13">
              <a:extLst>
                <a:ext uri="{FF2B5EF4-FFF2-40B4-BE49-F238E27FC236}">
                  <a16:creationId xmlns:a16="http://schemas.microsoft.com/office/drawing/2014/main" id="{65ABB9D3-20B4-3264-66E7-A813260B9869}"/>
                </a:ext>
              </a:extLst>
            </p:cNvPr>
            <p:cNvGrpSpPr/>
            <p:nvPr/>
          </p:nvGrpSpPr>
          <p:grpSpPr>
            <a:xfrm>
              <a:off x="2162885" y="2806863"/>
              <a:ext cx="43199" cy="43199"/>
              <a:chOff x="2162885" y="2806863"/>
              <a:chExt cx="43199" cy="43199"/>
            </a:xfrm>
          </p:grpSpPr>
          <p:sp>
            <p:nvSpPr>
              <p:cNvPr id="171" name="Freihandform: Form 170">
                <a:extLst>
                  <a:ext uri="{FF2B5EF4-FFF2-40B4-BE49-F238E27FC236}">
                    <a16:creationId xmlns:a16="http://schemas.microsoft.com/office/drawing/2014/main" id="{E601FC7F-B89C-4B9A-AB49-DB362B32CCD0}"/>
                  </a:ext>
                </a:extLst>
              </p:cNvPr>
              <p:cNvSpPr/>
              <p:nvPr/>
            </p:nvSpPr>
            <p:spPr>
              <a:xfrm>
                <a:off x="2184485" y="2806863"/>
                <a:ext cx="12705" cy="43199"/>
              </a:xfrm>
              <a:custGeom>
                <a:avLst/>
                <a:gdLst>
                  <a:gd name="connsiteX0" fmla="*/ 0 w 12705"/>
                  <a:gd name="connsiteY0" fmla="*/ 0 h 43199"/>
                  <a:gd name="connsiteX1" fmla="*/ 0 w 12705"/>
                  <a:gd name="connsiteY1" fmla="*/ 43200 h 43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199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" name="Freihandform: Form 171">
                <a:extLst>
                  <a:ext uri="{FF2B5EF4-FFF2-40B4-BE49-F238E27FC236}">
                    <a16:creationId xmlns:a16="http://schemas.microsoft.com/office/drawing/2014/main" id="{0DD38E16-845A-E74E-0B92-1C64D5F2496B}"/>
                  </a:ext>
                </a:extLst>
              </p:cNvPr>
              <p:cNvSpPr/>
              <p:nvPr/>
            </p:nvSpPr>
            <p:spPr>
              <a:xfrm>
                <a:off x="2162885" y="2828463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73" name="Grafik 13">
              <a:extLst>
                <a:ext uri="{FF2B5EF4-FFF2-40B4-BE49-F238E27FC236}">
                  <a16:creationId xmlns:a16="http://schemas.microsoft.com/office/drawing/2014/main" id="{D79AE8C3-EBCB-11E5-3A68-4649B551951C}"/>
                </a:ext>
              </a:extLst>
            </p:cNvPr>
            <p:cNvGrpSpPr/>
            <p:nvPr/>
          </p:nvGrpSpPr>
          <p:grpSpPr>
            <a:xfrm>
              <a:off x="2154499" y="2760995"/>
              <a:ext cx="43199" cy="43199"/>
              <a:chOff x="2154499" y="2760995"/>
              <a:chExt cx="43199" cy="43199"/>
            </a:xfrm>
          </p:grpSpPr>
          <p:sp>
            <p:nvSpPr>
              <p:cNvPr id="174" name="Freihandform: Form 173">
                <a:extLst>
                  <a:ext uri="{FF2B5EF4-FFF2-40B4-BE49-F238E27FC236}">
                    <a16:creationId xmlns:a16="http://schemas.microsoft.com/office/drawing/2014/main" id="{D25DA6C2-7860-8F13-25F3-6344B7DE4FAA}"/>
                  </a:ext>
                </a:extLst>
              </p:cNvPr>
              <p:cNvSpPr/>
              <p:nvPr/>
            </p:nvSpPr>
            <p:spPr>
              <a:xfrm>
                <a:off x="2176099" y="2760995"/>
                <a:ext cx="12705" cy="43199"/>
              </a:xfrm>
              <a:custGeom>
                <a:avLst/>
                <a:gdLst>
                  <a:gd name="connsiteX0" fmla="*/ 0 w 12705"/>
                  <a:gd name="connsiteY0" fmla="*/ 0 h 43199"/>
                  <a:gd name="connsiteX1" fmla="*/ 0 w 12705"/>
                  <a:gd name="connsiteY1" fmla="*/ 43200 h 43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199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" name="Freihandform: Form 174">
                <a:extLst>
                  <a:ext uri="{FF2B5EF4-FFF2-40B4-BE49-F238E27FC236}">
                    <a16:creationId xmlns:a16="http://schemas.microsoft.com/office/drawing/2014/main" id="{576955ED-D3AD-D953-E229-85288ADD634F}"/>
                  </a:ext>
                </a:extLst>
              </p:cNvPr>
              <p:cNvSpPr/>
              <p:nvPr/>
            </p:nvSpPr>
            <p:spPr>
              <a:xfrm>
                <a:off x="2154499" y="2782595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76" name="Grafik 13">
              <a:extLst>
                <a:ext uri="{FF2B5EF4-FFF2-40B4-BE49-F238E27FC236}">
                  <a16:creationId xmlns:a16="http://schemas.microsoft.com/office/drawing/2014/main" id="{8D96CA50-6276-BE95-9935-0B16F442BD7C}"/>
                </a:ext>
              </a:extLst>
            </p:cNvPr>
            <p:cNvGrpSpPr/>
            <p:nvPr/>
          </p:nvGrpSpPr>
          <p:grpSpPr>
            <a:xfrm>
              <a:off x="2095163" y="2731771"/>
              <a:ext cx="43199" cy="43327"/>
              <a:chOff x="2095163" y="2731771"/>
              <a:chExt cx="43199" cy="43327"/>
            </a:xfrm>
          </p:grpSpPr>
          <p:sp>
            <p:nvSpPr>
              <p:cNvPr id="177" name="Freihandform: Form 176">
                <a:extLst>
                  <a:ext uri="{FF2B5EF4-FFF2-40B4-BE49-F238E27FC236}">
                    <a16:creationId xmlns:a16="http://schemas.microsoft.com/office/drawing/2014/main" id="{B42F9C61-EC53-7D39-1623-28AD9101DECA}"/>
                  </a:ext>
                </a:extLst>
              </p:cNvPr>
              <p:cNvSpPr/>
              <p:nvPr/>
            </p:nvSpPr>
            <p:spPr>
              <a:xfrm>
                <a:off x="2116763" y="2731771"/>
                <a:ext cx="12705" cy="43327"/>
              </a:xfrm>
              <a:custGeom>
                <a:avLst/>
                <a:gdLst>
                  <a:gd name="connsiteX0" fmla="*/ 0 w 12705"/>
                  <a:gd name="connsiteY0" fmla="*/ 0 h 43327"/>
                  <a:gd name="connsiteX1" fmla="*/ 0 w 12705"/>
                  <a:gd name="connsiteY1" fmla="*/ 43327 h 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327">
                    <a:moveTo>
                      <a:pt x="0" y="0"/>
                    </a:moveTo>
                    <a:lnTo>
                      <a:pt x="0" y="43327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" name="Freihandform: Form 177">
                <a:extLst>
                  <a:ext uri="{FF2B5EF4-FFF2-40B4-BE49-F238E27FC236}">
                    <a16:creationId xmlns:a16="http://schemas.microsoft.com/office/drawing/2014/main" id="{C155297B-EC3E-CC40-CF57-E5CC761B80AB}"/>
                  </a:ext>
                </a:extLst>
              </p:cNvPr>
              <p:cNvSpPr/>
              <p:nvPr/>
            </p:nvSpPr>
            <p:spPr>
              <a:xfrm>
                <a:off x="2095163" y="2753498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79" name="Grafik 13">
              <a:extLst>
                <a:ext uri="{FF2B5EF4-FFF2-40B4-BE49-F238E27FC236}">
                  <a16:creationId xmlns:a16="http://schemas.microsoft.com/office/drawing/2014/main" id="{7F7E2958-8FF8-DB38-E2C4-12C5D4999354}"/>
                </a:ext>
              </a:extLst>
            </p:cNvPr>
            <p:cNvGrpSpPr/>
            <p:nvPr/>
          </p:nvGrpSpPr>
          <p:grpSpPr>
            <a:xfrm>
              <a:off x="2089191" y="2731771"/>
              <a:ext cx="43199" cy="43327"/>
              <a:chOff x="2089191" y="2731771"/>
              <a:chExt cx="43199" cy="43327"/>
            </a:xfrm>
          </p:grpSpPr>
          <p:sp>
            <p:nvSpPr>
              <p:cNvPr id="180" name="Freihandform: Form 179">
                <a:extLst>
                  <a:ext uri="{FF2B5EF4-FFF2-40B4-BE49-F238E27FC236}">
                    <a16:creationId xmlns:a16="http://schemas.microsoft.com/office/drawing/2014/main" id="{BBF15757-1135-D042-7DA6-90C21BDA4A90}"/>
                  </a:ext>
                </a:extLst>
              </p:cNvPr>
              <p:cNvSpPr/>
              <p:nvPr/>
            </p:nvSpPr>
            <p:spPr>
              <a:xfrm>
                <a:off x="2110791" y="2731771"/>
                <a:ext cx="12705" cy="43327"/>
              </a:xfrm>
              <a:custGeom>
                <a:avLst/>
                <a:gdLst>
                  <a:gd name="connsiteX0" fmla="*/ 0 w 12705"/>
                  <a:gd name="connsiteY0" fmla="*/ 0 h 43327"/>
                  <a:gd name="connsiteX1" fmla="*/ 0 w 12705"/>
                  <a:gd name="connsiteY1" fmla="*/ 43327 h 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327">
                    <a:moveTo>
                      <a:pt x="0" y="0"/>
                    </a:moveTo>
                    <a:lnTo>
                      <a:pt x="0" y="43327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" name="Freihandform: Form 180">
                <a:extLst>
                  <a:ext uri="{FF2B5EF4-FFF2-40B4-BE49-F238E27FC236}">
                    <a16:creationId xmlns:a16="http://schemas.microsoft.com/office/drawing/2014/main" id="{1C1E1BEA-27B4-1017-B4CA-D2CE2A414EDD}"/>
                  </a:ext>
                </a:extLst>
              </p:cNvPr>
              <p:cNvSpPr/>
              <p:nvPr/>
            </p:nvSpPr>
            <p:spPr>
              <a:xfrm>
                <a:off x="2089191" y="2753498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82" name="Grafik 13">
              <a:extLst>
                <a:ext uri="{FF2B5EF4-FFF2-40B4-BE49-F238E27FC236}">
                  <a16:creationId xmlns:a16="http://schemas.microsoft.com/office/drawing/2014/main" id="{A3CC0AE4-6C53-6437-13CA-CF6D1B2A6C39}"/>
                </a:ext>
              </a:extLst>
            </p:cNvPr>
            <p:cNvGrpSpPr/>
            <p:nvPr/>
          </p:nvGrpSpPr>
          <p:grpSpPr>
            <a:xfrm>
              <a:off x="2083219" y="2731771"/>
              <a:ext cx="43199" cy="43327"/>
              <a:chOff x="2083219" y="2731771"/>
              <a:chExt cx="43199" cy="43327"/>
            </a:xfrm>
          </p:grpSpPr>
          <p:sp>
            <p:nvSpPr>
              <p:cNvPr id="183" name="Freihandform: Form 182">
                <a:extLst>
                  <a:ext uri="{FF2B5EF4-FFF2-40B4-BE49-F238E27FC236}">
                    <a16:creationId xmlns:a16="http://schemas.microsoft.com/office/drawing/2014/main" id="{499BD5C6-81B0-2DDA-97B1-0823417A7080}"/>
                  </a:ext>
                </a:extLst>
              </p:cNvPr>
              <p:cNvSpPr/>
              <p:nvPr/>
            </p:nvSpPr>
            <p:spPr>
              <a:xfrm>
                <a:off x="2104819" y="2731771"/>
                <a:ext cx="12705" cy="43327"/>
              </a:xfrm>
              <a:custGeom>
                <a:avLst/>
                <a:gdLst>
                  <a:gd name="connsiteX0" fmla="*/ 0 w 12705"/>
                  <a:gd name="connsiteY0" fmla="*/ 0 h 43327"/>
                  <a:gd name="connsiteX1" fmla="*/ 0 w 12705"/>
                  <a:gd name="connsiteY1" fmla="*/ 43327 h 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327">
                    <a:moveTo>
                      <a:pt x="0" y="0"/>
                    </a:moveTo>
                    <a:lnTo>
                      <a:pt x="0" y="43327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" name="Freihandform: Form 183">
                <a:extLst>
                  <a:ext uri="{FF2B5EF4-FFF2-40B4-BE49-F238E27FC236}">
                    <a16:creationId xmlns:a16="http://schemas.microsoft.com/office/drawing/2014/main" id="{7523C6FF-D177-1243-B12A-1071D1A5339D}"/>
                  </a:ext>
                </a:extLst>
              </p:cNvPr>
              <p:cNvSpPr/>
              <p:nvPr/>
            </p:nvSpPr>
            <p:spPr>
              <a:xfrm>
                <a:off x="2083219" y="2753498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85" name="Grafik 13">
              <a:extLst>
                <a:ext uri="{FF2B5EF4-FFF2-40B4-BE49-F238E27FC236}">
                  <a16:creationId xmlns:a16="http://schemas.microsoft.com/office/drawing/2014/main" id="{E88EFA65-7B76-EE88-F3D9-956F27CA98EA}"/>
                </a:ext>
              </a:extLst>
            </p:cNvPr>
            <p:cNvGrpSpPr/>
            <p:nvPr/>
          </p:nvGrpSpPr>
          <p:grpSpPr>
            <a:xfrm>
              <a:off x="2077247" y="2731771"/>
              <a:ext cx="43199" cy="43327"/>
              <a:chOff x="2077247" y="2731771"/>
              <a:chExt cx="43199" cy="43327"/>
            </a:xfrm>
          </p:grpSpPr>
          <p:sp>
            <p:nvSpPr>
              <p:cNvPr id="186" name="Freihandform: Form 185">
                <a:extLst>
                  <a:ext uri="{FF2B5EF4-FFF2-40B4-BE49-F238E27FC236}">
                    <a16:creationId xmlns:a16="http://schemas.microsoft.com/office/drawing/2014/main" id="{75A2A29A-F95B-C8E0-B155-A0BC3478978D}"/>
                  </a:ext>
                </a:extLst>
              </p:cNvPr>
              <p:cNvSpPr/>
              <p:nvPr/>
            </p:nvSpPr>
            <p:spPr>
              <a:xfrm>
                <a:off x="2098847" y="2731771"/>
                <a:ext cx="12705" cy="43327"/>
              </a:xfrm>
              <a:custGeom>
                <a:avLst/>
                <a:gdLst>
                  <a:gd name="connsiteX0" fmla="*/ 0 w 12705"/>
                  <a:gd name="connsiteY0" fmla="*/ 0 h 43327"/>
                  <a:gd name="connsiteX1" fmla="*/ 0 w 12705"/>
                  <a:gd name="connsiteY1" fmla="*/ 43327 h 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327">
                    <a:moveTo>
                      <a:pt x="0" y="0"/>
                    </a:moveTo>
                    <a:lnTo>
                      <a:pt x="0" y="43327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" name="Freihandform: Form 186">
                <a:extLst>
                  <a:ext uri="{FF2B5EF4-FFF2-40B4-BE49-F238E27FC236}">
                    <a16:creationId xmlns:a16="http://schemas.microsoft.com/office/drawing/2014/main" id="{6CFFA05A-F30D-00DC-6C82-02FE065E5523}"/>
                  </a:ext>
                </a:extLst>
              </p:cNvPr>
              <p:cNvSpPr/>
              <p:nvPr/>
            </p:nvSpPr>
            <p:spPr>
              <a:xfrm>
                <a:off x="2077247" y="2753498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88" name="Grafik 13">
              <a:extLst>
                <a:ext uri="{FF2B5EF4-FFF2-40B4-BE49-F238E27FC236}">
                  <a16:creationId xmlns:a16="http://schemas.microsoft.com/office/drawing/2014/main" id="{26C67A38-3B1B-0F3E-9299-FAECE82FE087}"/>
                </a:ext>
              </a:extLst>
            </p:cNvPr>
            <p:cNvGrpSpPr/>
            <p:nvPr/>
          </p:nvGrpSpPr>
          <p:grpSpPr>
            <a:xfrm>
              <a:off x="1974330" y="2679423"/>
              <a:ext cx="43199" cy="43200"/>
              <a:chOff x="1974330" y="2679423"/>
              <a:chExt cx="43199" cy="43200"/>
            </a:xfrm>
          </p:grpSpPr>
          <p:sp>
            <p:nvSpPr>
              <p:cNvPr id="189" name="Freihandform: Form 188">
                <a:extLst>
                  <a:ext uri="{FF2B5EF4-FFF2-40B4-BE49-F238E27FC236}">
                    <a16:creationId xmlns:a16="http://schemas.microsoft.com/office/drawing/2014/main" id="{A8149078-A04F-030A-BE40-F37C9B10559D}"/>
                  </a:ext>
                </a:extLst>
              </p:cNvPr>
              <p:cNvSpPr/>
              <p:nvPr/>
            </p:nvSpPr>
            <p:spPr>
              <a:xfrm>
                <a:off x="1995930" y="2679423"/>
                <a:ext cx="12705" cy="43200"/>
              </a:xfrm>
              <a:custGeom>
                <a:avLst/>
                <a:gdLst>
                  <a:gd name="connsiteX0" fmla="*/ 0 w 12705"/>
                  <a:gd name="connsiteY0" fmla="*/ 0 h 43200"/>
                  <a:gd name="connsiteX1" fmla="*/ 0 w 12705"/>
                  <a:gd name="connsiteY1" fmla="*/ 43200 h 4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200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" name="Freihandform: Form 189">
                <a:extLst>
                  <a:ext uri="{FF2B5EF4-FFF2-40B4-BE49-F238E27FC236}">
                    <a16:creationId xmlns:a16="http://schemas.microsoft.com/office/drawing/2014/main" id="{CA2779FB-2A1C-EB00-AD14-299487DE8C96}"/>
                  </a:ext>
                </a:extLst>
              </p:cNvPr>
              <p:cNvSpPr/>
              <p:nvPr/>
            </p:nvSpPr>
            <p:spPr>
              <a:xfrm>
                <a:off x="1974330" y="2701023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91" name="Grafik 13">
              <a:extLst>
                <a:ext uri="{FF2B5EF4-FFF2-40B4-BE49-F238E27FC236}">
                  <a16:creationId xmlns:a16="http://schemas.microsoft.com/office/drawing/2014/main" id="{5E0900E6-8DCC-CDA0-F5D0-87A78A80B6A4}"/>
                </a:ext>
              </a:extLst>
            </p:cNvPr>
            <p:cNvGrpSpPr/>
            <p:nvPr/>
          </p:nvGrpSpPr>
          <p:grpSpPr>
            <a:xfrm>
              <a:off x="2171017" y="2605983"/>
              <a:ext cx="43327" cy="43199"/>
              <a:chOff x="2171017" y="2605983"/>
              <a:chExt cx="43327" cy="43199"/>
            </a:xfrm>
          </p:grpSpPr>
          <p:sp>
            <p:nvSpPr>
              <p:cNvPr id="192" name="Freihandform: Form 191">
                <a:extLst>
                  <a:ext uri="{FF2B5EF4-FFF2-40B4-BE49-F238E27FC236}">
                    <a16:creationId xmlns:a16="http://schemas.microsoft.com/office/drawing/2014/main" id="{C77DECAF-4C1D-0A20-C8D2-FC04E25BE1AF}"/>
                  </a:ext>
                </a:extLst>
              </p:cNvPr>
              <p:cNvSpPr/>
              <p:nvPr/>
            </p:nvSpPr>
            <p:spPr>
              <a:xfrm>
                <a:off x="2192744" y="2605983"/>
                <a:ext cx="12705" cy="43199"/>
              </a:xfrm>
              <a:custGeom>
                <a:avLst/>
                <a:gdLst>
                  <a:gd name="connsiteX0" fmla="*/ 0 w 12705"/>
                  <a:gd name="connsiteY0" fmla="*/ 0 h 43199"/>
                  <a:gd name="connsiteX1" fmla="*/ 0 w 12705"/>
                  <a:gd name="connsiteY1" fmla="*/ 43200 h 43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199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0460A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3" name="Freihandform: Form 192">
                <a:extLst>
                  <a:ext uri="{FF2B5EF4-FFF2-40B4-BE49-F238E27FC236}">
                    <a16:creationId xmlns:a16="http://schemas.microsoft.com/office/drawing/2014/main" id="{1775BBC9-7A1D-A21F-BB09-FC3DFBDDFD9E}"/>
                  </a:ext>
                </a:extLst>
              </p:cNvPr>
              <p:cNvSpPr/>
              <p:nvPr/>
            </p:nvSpPr>
            <p:spPr>
              <a:xfrm>
                <a:off x="2171017" y="2627583"/>
                <a:ext cx="43327" cy="12705"/>
              </a:xfrm>
              <a:custGeom>
                <a:avLst/>
                <a:gdLst>
                  <a:gd name="connsiteX0" fmla="*/ 43327 w 43327"/>
                  <a:gd name="connsiteY0" fmla="*/ 0 h 12705"/>
                  <a:gd name="connsiteX1" fmla="*/ 0 w 43327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327" h="12705">
                    <a:moveTo>
                      <a:pt x="43327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0460A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94" name="Grafik 13">
              <a:extLst>
                <a:ext uri="{FF2B5EF4-FFF2-40B4-BE49-F238E27FC236}">
                  <a16:creationId xmlns:a16="http://schemas.microsoft.com/office/drawing/2014/main" id="{ADEDB94A-8AC5-2331-74F9-4BA105892D7A}"/>
                </a:ext>
              </a:extLst>
            </p:cNvPr>
            <p:cNvGrpSpPr/>
            <p:nvPr/>
          </p:nvGrpSpPr>
          <p:grpSpPr>
            <a:xfrm>
              <a:off x="2251064" y="2625169"/>
              <a:ext cx="43199" cy="43199"/>
              <a:chOff x="2251064" y="2625169"/>
              <a:chExt cx="43199" cy="43199"/>
            </a:xfrm>
          </p:grpSpPr>
          <p:sp>
            <p:nvSpPr>
              <p:cNvPr id="195" name="Freihandform: Form 194">
                <a:extLst>
                  <a:ext uri="{FF2B5EF4-FFF2-40B4-BE49-F238E27FC236}">
                    <a16:creationId xmlns:a16="http://schemas.microsoft.com/office/drawing/2014/main" id="{0D9F6F1E-8C2D-D79F-2472-3C79A036437C}"/>
                  </a:ext>
                </a:extLst>
              </p:cNvPr>
              <p:cNvSpPr/>
              <p:nvPr/>
            </p:nvSpPr>
            <p:spPr>
              <a:xfrm>
                <a:off x="2272664" y="2625169"/>
                <a:ext cx="12705" cy="43199"/>
              </a:xfrm>
              <a:custGeom>
                <a:avLst/>
                <a:gdLst>
                  <a:gd name="connsiteX0" fmla="*/ 0 w 12705"/>
                  <a:gd name="connsiteY0" fmla="*/ 0 h 43199"/>
                  <a:gd name="connsiteX1" fmla="*/ 0 w 12705"/>
                  <a:gd name="connsiteY1" fmla="*/ 43200 h 43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199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0460A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" name="Freihandform: Form 195">
                <a:extLst>
                  <a:ext uri="{FF2B5EF4-FFF2-40B4-BE49-F238E27FC236}">
                    <a16:creationId xmlns:a16="http://schemas.microsoft.com/office/drawing/2014/main" id="{CAAFCA32-69CA-F59C-B925-75924196B767}"/>
                  </a:ext>
                </a:extLst>
              </p:cNvPr>
              <p:cNvSpPr/>
              <p:nvPr/>
            </p:nvSpPr>
            <p:spPr>
              <a:xfrm>
                <a:off x="2251064" y="2646769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0460A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97" name="Grafik 13">
              <a:extLst>
                <a:ext uri="{FF2B5EF4-FFF2-40B4-BE49-F238E27FC236}">
                  <a16:creationId xmlns:a16="http://schemas.microsoft.com/office/drawing/2014/main" id="{0EED593A-82D8-6D00-BA55-A28522285EB9}"/>
                </a:ext>
              </a:extLst>
            </p:cNvPr>
            <p:cNvGrpSpPr/>
            <p:nvPr/>
          </p:nvGrpSpPr>
          <p:grpSpPr>
            <a:xfrm>
              <a:off x="2300617" y="2625169"/>
              <a:ext cx="43327" cy="43199"/>
              <a:chOff x="2300617" y="2625169"/>
              <a:chExt cx="43327" cy="43199"/>
            </a:xfrm>
          </p:grpSpPr>
          <p:sp>
            <p:nvSpPr>
              <p:cNvPr id="198" name="Freihandform: Form 197">
                <a:extLst>
                  <a:ext uri="{FF2B5EF4-FFF2-40B4-BE49-F238E27FC236}">
                    <a16:creationId xmlns:a16="http://schemas.microsoft.com/office/drawing/2014/main" id="{FD185907-4F81-E5CD-04BF-F2DF429F99B4}"/>
                  </a:ext>
                </a:extLst>
              </p:cNvPr>
              <p:cNvSpPr/>
              <p:nvPr/>
            </p:nvSpPr>
            <p:spPr>
              <a:xfrm>
                <a:off x="2322217" y="2625169"/>
                <a:ext cx="12705" cy="43199"/>
              </a:xfrm>
              <a:custGeom>
                <a:avLst/>
                <a:gdLst>
                  <a:gd name="connsiteX0" fmla="*/ 0 w 12705"/>
                  <a:gd name="connsiteY0" fmla="*/ 0 h 43199"/>
                  <a:gd name="connsiteX1" fmla="*/ 0 w 12705"/>
                  <a:gd name="connsiteY1" fmla="*/ 43200 h 43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199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0460A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" name="Freihandform: Form 198">
                <a:extLst>
                  <a:ext uri="{FF2B5EF4-FFF2-40B4-BE49-F238E27FC236}">
                    <a16:creationId xmlns:a16="http://schemas.microsoft.com/office/drawing/2014/main" id="{DBE749C5-6D1A-53D9-2B63-228BB233BECB}"/>
                  </a:ext>
                </a:extLst>
              </p:cNvPr>
              <p:cNvSpPr/>
              <p:nvPr/>
            </p:nvSpPr>
            <p:spPr>
              <a:xfrm>
                <a:off x="2300617" y="2646769"/>
                <a:ext cx="43327" cy="12705"/>
              </a:xfrm>
              <a:custGeom>
                <a:avLst/>
                <a:gdLst>
                  <a:gd name="connsiteX0" fmla="*/ 43327 w 43327"/>
                  <a:gd name="connsiteY0" fmla="*/ 0 h 12705"/>
                  <a:gd name="connsiteX1" fmla="*/ 0 w 43327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327" h="12705">
                    <a:moveTo>
                      <a:pt x="43327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0460A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00" name="Grafik 13">
              <a:extLst>
                <a:ext uri="{FF2B5EF4-FFF2-40B4-BE49-F238E27FC236}">
                  <a16:creationId xmlns:a16="http://schemas.microsoft.com/office/drawing/2014/main" id="{8848E1C9-0C81-D9DB-4BE9-7836C0837147}"/>
                </a:ext>
              </a:extLst>
            </p:cNvPr>
            <p:cNvGrpSpPr/>
            <p:nvPr/>
          </p:nvGrpSpPr>
          <p:grpSpPr>
            <a:xfrm>
              <a:off x="2357158" y="2646515"/>
              <a:ext cx="43199" cy="43199"/>
              <a:chOff x="2357158" y="2646515"/>
              <a:chExt cx="43199" cy="43199"/>
            </a:xfrm>
          </p:grpSpPr>
          <p:sp>
            <p:nvSpPr>
              <p:cNvPr id="201" name="Freihandform: Form 200">
                <a:extLst>
                  <a:ext uri="{FF2B5EF4-FFF2-40B4-BE49-F238E27FC236}">
                    <a16:creationId xmlns:a16="http://schemas.microsoft.com/office/drawing/2014/main" id="{88BDA850-5E77-10FF-9C4E-4D67872C6D3A}"/>
                  </a:ext>
                </a:extLst>
              </p:cNvPr>
              <p:cNvSpPr/>
              <p:nvPr/>
            </p:nvSpPr>
            <p:spPr>
              <a:xfrm>
                <a:off x="2378758" y="2646515"/>
                <a:ext cx="12705" cy="43199"/>
              </a:xfrm>
              <a:custGeom>
                <a:avLst/>
                <a:gdLst>
                  <a:gd name="connsiteX0" fmla="*/ 0 w 12705"/>
                  <a:gd name="connsiteY0" fmla="*/ 0 h 43199"/>
                  <a:gd name="connsiteX1" fmla="*/ 0 w 12705"/>
                  <a:gd name="connsiteY1" fmla="*/ 43200 h 43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199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0460A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" name="Freihandform: Form 201">
                <a:extLst>
                  <a:ext uri="{FF2B5EF4-FFF2-40B4-BE49-F238E27FC236}">
                    <a16:creationId xmlns:a16="http://schemas.microsoft.com/office/drawing/2014/main" id="{1CF21266-F994-CB1B-55A1-3497852F2101}"/>
                  </a:ext>
                </a:extLst>
              </p:cNvPr>
              <p:cNvSpPr/>
              <p:nvPr/>
            </p:nvSpPr>
            <p:spPr>
              <a:xfrm>
                <a:off x="2357158" y="2668115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0460A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03" name="Grafik 13">
              <a:extLst>
                <a:ext uri="{FF2B5EF4-FFF2-40B4-BE49-F238E27FC236}">
                  <a16:creationId xmlns:a16="http://schemas.microsoft.com/office/drawing/2014/main" id="{2F4FB2AC-AFD7-BCB5-E59C-E0D8D883367C}"/>
                </a:ext>
              </a:extLst>
            </p:cNvPr>
            <p:cNvGrpSpPr/>
            <p:nvPr/>
          </p:nvGrpSpPr>
          <p:grpSpPr>
            <a:xfrm>
              <a:off x="2443685" y="2783230"/>
              <a:ext cx="43327" cy="43327"/>
              <a:chOff x="2443685" y="2783230"/>
              <a:chExt cx="43327" cy="43327"/>
            </a:xfrm>
          </p:grpSpPr>
          <p:sp>
            <p:nvSpPr>
              <p:cNvPr id="204" name="Freihandform: Form 203">
                <a:extLst>
                  <a:ext uri="{FF2B5EF4-FFF2-40B4-BE49-F238E27FC236}">
                    <a16:creationId xmlns:a16="http://schemas.microsoft.com/office/drawing/2014/main" id="{5941ECC0-1330-2543-9E5E-2496BF064B9A}"/>
                  </a:ext>
                </a:extLst>
              </p:cNvPr>
              <p:cNvSpPr/>
              <p:nvPr/>
            </p:nvSpPr>
            <p:spPr>
              <a:xfrm>
                <a:off x="2465412" y="2783230"/>
                <a:ext cx="12705" cy="43327"/>
              </a:xfrm>
              <a:custGeom>
                <a:avLst/>
                <a:gdLst>
                  <a:gd name="connsiteX0" fmla="*/ 0 w 12705"/>
                  <a:gd name="connsiteY0" fmla="*/ 0 h 43327"/>
                  <a:gd name="connsiteX1" fmla="*/ 0 w 12705"/>
                  <a:gd name="connsiteY1" fmla="*/ 43327 h 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327">
                    <a:moveTo>
                      <a:pt x="0" y="0"/>
                    </a:moveTo>
                    <a:lnTo>
                      <a:pt x="0" y="43327"/>
                    </a:lnTo>
                  </a:path>
                </a:pathLst>
              </a:custGeom>
              <a:ln w="12686" cap="flat">
                <a:solidFill>
                  <a:srgbClr val="0460A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5" name="Freihandform: Form 204">
                <a:extLst>
                  <a:ext uri="{FF2B5EF4-FFF2-40B4-BE49-F238E27FC236}">
                    <a16:creationId xmlns:a16="http://schemas.microsoft.com/office/drawing/2014/main" id="{9A3AEBFC-B7CE-909B-DDA6-E8FC34BB5A2A}"/>
                  </a:ext>
                </a:extLst>
              </p:cNvPr>
              <p:cNvSpPr/>
              <p:nvPr/>
            </p:nvSpPr>
            <p:spPr>
              <a:xfrm>
                <a:off x="2443685" y="2804957"/>
                <a:ext cx="43327" cy="12705"/>
              </a:xfrm>
              <a:custGeom>
                <a:avLst/>
                <a:gdLst>
                  <a:gd name="connsiteX0" fmla="*/ 43327 w 43327"/>
                  <a:gd name="connsiteY0" fmla="*/ 0 h 12705"/>
                  <a:gd name="connsiteX1" fmla="*/ 0 w 43327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327" h="12705">
                    <a:moveTo>
                      <a:pt x="43327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0460A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06" name="Grafik 13">
              <a:extLst>
                <a:ext uri="{FF2B5EF4-FFF2-40B4-BE49-F238E27FC236}">
                  <a16:creationId xmlns:a16="http://schemas.microsoft.com/office/drawing/2014/main" id="{F6ABB894-F1B1-87C0-68BC-61196F034517}"/>
                </a:ext>
              </a:extLst>
            </p:cNvPr>
            <p:cNvGrpSpPr/>
            <p:nvPr/>
          </p:nvGrpSpPr>
          <p:grpSpPr>
            <a:xfrm>
              <a:off x="2462617" y="2786406"/>
              <a:ext cx="43199" cy="43199"/>
              <a:chOff x="2462617" y="2786406"/>
              <a:chExt cx="43199" cy="43199"/>
            </a:xfrm>
          </p:grpSpPr>
          <p:sp>
            <p:nvSpPr>
              <p:cNvPr id="207" name="Freihandform: Form 206">
                <a:extLst>
                  <a:ext uri="{FF2B5EF4-FFF2-40B4-BE49-F238E27FC236}">
                    <a16:creationId xmlns:a16="http://schemas.microsoft.com/office/drawing/2014/main" id="{7FC13FB0-1D5C-0514-A9CB-06296955896D}"/>
                  </a:ext>
                </a:extLst>
              </p:cNvPr>
              <p:cNvSpPr/>
              <p:nvPr/>
            </p:nvSpPr>
            <p:spPr>
              <a:xfrm>
                <a:off x="2484217" y="2786406"/>
                <a:ext cx="12705" cy="43199"/>
              </a:xfrm>
              <a:custGeom>
                <a:avLst/>
                <a:gdLst>
                  <a:gd name="connsiteX0" fmla="*/ 0 w 12705"/>
                  <a:gd name="connsiteY0" fmla="*/ 0 h 43199"/>
                  <a:gd name="connsiteX1" fmla="*/ 0 w 12705"/>
                  <a:gd name="connsiteY1" fmla="*/ 43200 h 43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199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0460A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8" name="Freihandform: Form 207">
                <a:extLst>
                  <a:ext uri="{FF2B5EF4-FFF2-40B4-BE49-F238E27FC236}">
                    <a16:creationId xmlns:a16="http://schemas.microsoft.com/office/drawing/2014/main" id="{3D86A780-EE5D-E960-A170-82F782051F49}"/>
                  </a:ext>
                </a:extLst>
              </p:cNvPr>
              <p:cNvSpPr/>
              <p:nvPr/>
            </p:nvSpPr>
            <p:spPr>
              <a:xfrm>
                <a:off x="2462617" y="2808006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0460A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09" name="Grafik 13">
              <a:extLst>
                <a:ext uri="{FF2B5EF4-FFF2-40B4-BE49-F238E27FC236}">
                  <a16:creationId xmlns:a16="http://schemas.microsoft.com/office/drawing/2014/main" id="{57D64B31-DB1B-B082-6B43-D48DC20F40A0}"/>
                </a:ext>
              </a:extLst>
            </p:cNvPr>
            <p:cNvGrpSpPr/>
            <p:nvPr/>
          </p:nvGrpSpPr>
          <p:grpSpPr>
            <a:xfrm>
              <a:off x="2481675" y="2805211"/>
              <a:ext cx="43199" cy="43199"/>
              <a:chOff x="2481675" y="2805211"/>
              <a:chExt cx="43199" cy="43199"/>
            </a:xfrm>
          </p:grpSpPr>
          <p:sp>
            <p:nvSpPr>
              <p:cNvPr id="210" name="Freihandform: Form 209">
                <a:extLst>
                  <a:ext uri="{FF2B5EF4-FFF2-40B4-BE49-F238E27FC236}">
                    <a16:creationId xmlns:a16="http://schemas.microsoft.com/office/drawing/2014/main" id="{60C1F9FE-B7F1-5F0E-3211-FF2F52EC0051}"/>
                  </a:ext>
                </a:extLst>
              </p:cNvPr>
              <p:cNvSpPr/>
              <p:nvPr/>
            </p:nvSpPr>
            <p:spPr>
              <a:xfrm>
                <a:off x="2503275" y="2805211"/>
                <a:ext cx="12705" cy="43199"/>
              </a:xfrm>
              <a:custGeom>
                <a:avLst/>
                <a:gdLst>
                  <a:gd name="connsiteX0" fmla="*/ 0 w 12705"/>
                  <a:gd name="connsiteY0" fmla="*/ 0 h 43199"/>
                  <a:gd name="connsiteX1" fmla="*/ 0 w 12705"/>
                  <a:gd name="connsiteY1" fmla="*/ 43200 h 43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199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0460A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1" name="Freihandform: Form 210">
                <a:extLst>
                  <a:ext uri="{FF2B5EF4-FFF2-40B4-BE49-F238E27FC236}">
                    <a16:creationId xmlns:a16="http://schemas.microsoft.com/office/drawing/2014/main" id="{7E1DD500-F89A-75CD-8A01-D75DE4D9B124}"/>
                  </a:ext>
                </a:extLst>
              </p:cNvPr>
              <p:cNvSpPr/>
              <p:nvPr/>
            </p:nvSpPr>
            <p:spPr>
              <a:xfrm>
                <a:off x="2481675" y="2826811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0460A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12" name="Grafik 13">
              <a:extLst>
                <a:ext uri="{FF2B5EF4-FFF2-40B4-BE49-F238E27FC236}">
                  <a16:creationId xmlns:a16="http://schemas.microsoft.com/office/drawing/2014/main" id="{10476855-EEF5-21DB-7DCC-D6C6CAEE0967}"/>
                </a:ext>
              </a:extLst>
            </p:cNvPr>
            <p:cNvGrpSpPr/>
            <p:nvPr/>
          </p:nvGrpSpPr>
          <p:grpSpPr>
            <a:xfrm>
              <a:off x="2636687" y="2855399"/>
              <a:ext cx="43199" cy="43327"/>
              <a:chOff x="2636687" y="2855399"/>
              <a:chExt cx="43199" cy="43327"/>
            </a:xfrm>
          </p:grpSpPr>
          <p:sp>
            <p:nvSpPr>
              <p:cNvPr id="213" name="Freihandform: Form 212">
                <a:extLst>
                  <a:ext uri="{FF2B5EF4-FFF2-40B4-BE49-F238E27FC236}">
                    <a16:creationId xmlns:a16="http://schemas.microsoft.com/office/drawing/2014/main" id="{B69641BD-98FD-2626-58DC-967ED545A988}"/>
                  </a:ext>
                </a:extLst>
              </p:cNvPr>
              <p:cNvSpPr/>
              <p:nvPr/>
            </p:nvSpPr>
            <p:spPr>
              <a:xfrm>
                <a:off x="2658287" y="2855399"/>
                <a:ext cx="12705" cy="43327"/>
              </a:xfrm>
              <a:custGeom>
                <a:avLst/>
                <a:gdLst>
                  <a:gd name="connsiteX0" fmla="*/ 0 w 12705"/>
                  <a:gd name="connsiteY0" fmla="*/ 0 h 43327"/>
                  <a:gd name="connsiteX1" fmla="*/ 0 w 12705"/>
                  <a:gd name="connsiteY1" fmla="*/ 43327 h 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327">
                    <a:moveTo>
                      <a:pt x="0" y="0"/>
                    </a:moveTo>
                    <a:lnTo>
                      <a:pt x="0" y="43327"/>
                    </a:lnTo>
                  </a:path>
                </a:pathLst>
              </a:custGeom>
              <a:ln w="12686" cap="flat">
                <a:solidFill>
                  <a:srgbClr val="0460A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4" name="Freihandform: Form 213">
                <a:extLst>
                  <a:ext uri="{FF2B5EF4-FFF2-40B4-BE49-F238E27FC236}">
                    <a16:creationId xmlns:a16="http://schemas.microsoft.com/office/drawing/2014/main" id="{6B0704F7-A8F5-F510-1816-C5E3626E5FF9}"/>
                  </a:ext>
                </a:extLst>
              </p:cNvPr>
              <p:cNvSpPr/>
              <p:nvPr/>
            </p:nvSpPr>
            <p:spPr>
              <a:xfrm>
                <a:off x="2636687" y="2877126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0460A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15" name="Grafik 13">
              <a:extLst>
                <a:ext uri="{FF2B5EF4-FFF2-40B4-BE49-F238E27FC236}">
                  <a16:creationId xmlns:a16="http://schemas.microsoft.com/office/drawing/2014/main" id="{BEACA78B-AFC3-1E05-F94E-F8654A8120B5}"/>
                </a:ext>
              </a:extLst>
            </p:cNvPr>
            <p:cNvGrpSpPr/>
            <p:nvPr/>
          </p:nvGrpSpPr>
          <p:grpSpPr>
            <a:xfrm>
              <a:off x="2709238" y="2853875"/>
              <a:ext cx="43199" cy="43199"/>
              <a:chOff x="2709238" y="2853875"/>
              <a:chExt cx="43199" cy="43199"/>
            </a:xfrm>
          </p:grpSpPr>
          <p:sp>
            <p:nvSpPr>
              <p:cNvPr id="216" name="Freihandform: Form 215">
                <a:extLst>
                  <a:ext uri="{FF2B5EF4-FFF2-40B4-BE49-F238E27FC236}">
                    <a16:creationId xmlns:a16="http://schemas.microsoft.com/office/drawing/2014/main" id="{642BCE63-64F7-D163-48F8-C30DB08ABFA8}"/>
                  </a:ext>
                </a:extLst>
              </p:cNvPr>
              <p:cNvSpPr/>
              <p:nvPr/>
            </p:nvSpPr>
            <p:spPr>
              <a:xfrm>
                <a:off x="2730838" y="2853875"/>
                <a:ext cx="12705" cy="43199"/>
              </a:xfrm>
              <a:custGeom>
                <a:avLst/>
                <a:gdLst>
                  <a:gd name="connsiteX0" fmla="*/ 0 w 12705"/>
                  <a:gd name="connsiteY0" fmla="*/ 0 h 43199"/>
                  <a:gd name="connsiteX1" fmla="*/ 0 w 12705"/>
                  <a:gd name="connsiteY1" fmla="*/ 43200 h 43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199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0460A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7" name="Freihandform: Form 216">
                <a:extLst>
                  <a:ext uri="{FF2B5EF4-FFF2-40B4-BE49-F238E27FC236}">
                    <a16:creationId xmlns:a16="http://schemas.microsoft.com/office/drawing/2014/main" id="{012B6D1C-3204-F40D-36A4-E4B892366E95}"/>
                  </a:ext>
                </a:extLst>
              </p:cNvPr>
              <p:cNvSpPr/>
              <p:nvPr/>
            </p:nvSpPr>
            <p:spPr>
              <a:xfrm>
                <a:off x="2709238" y="2875475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0460A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18" name="Grafik 13">
              <a:extLst>
                <a:ext uri="{FF2B5EF4-FFF2-40B4-BE49-F238E27FC236}">
                  <a16:creationId xmlns:a16="http://schemas.microsoft.com/office/drawing/2014/main" id="{76A0AB89-5073-D343-942A-99995B422AC7}"/>
                </a:ext>
              </a:extLst>
            </p:cNvPr>
            <p:cNvGrpSpPr/>
            <p:nvPr/>
          </p:nvGrpSpPr>
          <p:grpSpPr>
            <a:xfrm>
              <a:off x="2974918" y="2949550"/>
              <a:ext cx="43327" cy="43200"/>
              <a:chOff x="2974918" y="2949550"/>
              <a:chExt cx="43327" cy="43200"/>
            </a:xfrm>
          </p:grpSpPr>
          <p:sp>
            <p:nvSpPr>
              <p:cNvPr id="219" name="Freihandform: Form 218">
                <a:extLst>
                  <a:ext uri="{FF2B5EF4-FFF2-40B4-BE49-F238E27FC236}">
                    <a16:creationId xmlns:a16="http://schemas.microsoft.com/office/drawing/2014/main" id="{12CF1F50-913C-B642-A109-4D3FA14F3A7E}"/>
                  </a:ext>
                </a:extLst>
              </p:cNvPr>
              <p:cNvSpPr/>
              <p:nvPr/>
            </p:nvSpPr>
            <p:spPr>
              <a:xfrm>
                <a:off x="2996518" y="2949550"/>
                <a:ext cx="12705" cy="43200"/>
              </a:xfrm>
              <a:custGeom>
                <a:avLst/>
                <a:gdLst>
                  <a:gd name="connsiteX0" fmla="*/ 0 w 12705"/>
                  <a:gd name="connsiteY0" fmla="*/ 0 h 43200"/>
                  <a:gd name="connsiteX1" fmla="*/ 0 w 12705"/>
                  <a:gd name="connsiteY1" fmla="*/ 43200 h 4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200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0460A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0" name="Freihandform: Form 219">
                <a:extLst>
                  <a:ext uri="{FF2B5EF4-FFF2-40B4-BE49-F238E27FC236}">
                    <a16:creationId xmlns:a16="http://schemas.microsoft.com/office/drawing/2014/main" id="{12267896-5C23-BB4D-EA96-3927AD1DAE8C}"/>
                  </a:ext>
                </a:extLst>
              </p:cNvPr>
              <p:cNvSpPr/>
              <p:nvPr/>
            </p:nvSpPr>
            <p:spPr>
              <a:xfrm>
                <a:off x="2974918" y="2971150"/>
                <a:ext cx="43327" cy="12705"/>
              </a:xfrm>
              <a:custGeom>
                <a:avLst/>
                <a:gdLst>
                  <a:gd name="connsiteX0" fmla="*/ 43327 w 43327"/>
                  <a:gd name="connsiteY0" fmla="*/ 0 h 12705"/>
                  <a:gd name="connsiteX1" fmla="*/ 0 w 43327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327" h="12705">
                    <a:moveTo>
                      <a:pt x="43327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0460A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21" name="Grafik 13">
              <a:extLst>
                <a:ext uri="{FF2B5EF4-FFF2-40B4-BE49-F238E27FC236}">
                  <a16:creationId xmlns:a16="http://schemas.microsoft.com/office/drawing/2014/main" id="{CF1574B2-C253-8F88-DC60-105E8FA06C50}"/>
                </a:ext>
              </a:extLst>
            </p:cNvPr>
            <p:cNvGrpSpPr/>
            <p:nvPr/>
          </p:nvGrpSpPr>
          <p:grpSpPr>
            <a:xfrm>
              <a:off x="3053059" y="2953362"/>
              <a:ext cx="43199" cy="43199"/>
              <a:chOff x="3053059" y="2953362"/>
              <a:chExt cx="43199" cy="43199"/>
            </a:xfrm>
          </p:grpSpPr>
          <p:sp>
            <p:nvSpPr>
              <p:cNvPr id="222" name="Freihandform: Form 221">
                <a:extLst>
                  <a:ext uri="{FF2B5EF4-FFF2-40B4-BE49-F238E27FC236}">
                    <a16:creationId xmlns:a16="http://schemas.microsoft.com/office/drawing/2014/main" id="{6E2A14E0-B0B9-BD98-50F0-C5FF311E4D98}"/>
                  </a:ext>
                </a:extLst>
              </p:cNvPr>
              <p:cNvSpPr/>
              <p:nvPr/>
            </p:nvSpPr>
            <p:spPr>
              <a:xfrm>
                <a:off x="3074659" y="2953362"/>
                <a:ext cx="12705" cy="43199"/>
              </a:xfrm>
              <a:custGeom>
                <a:avLst/>
                <a:gdLst>
                  <a:gd name="connsiteX0" fmla="*/ 0 w 12705"/>
                  <a:gd name="connsiteY0" fmla="*/ 0 h 43199"/>
                  <a:gd name="connsiteX1" fmla="*/ 0 w 12705"/>
                  <a:gd name="connsiteY1" fmla="*/ 43200 h 43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199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0460A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3" name="Freihandform: Form 222">
                <a:extLst>
                  <a:ext uri="{FF2B5EF4-FFF2-40B4-BE49-F238E27FC236}">
                    <a16:creationId xmlns:a16="http://schemas.microsoft.com/office/drawing/2014/main" id="{6C0C4E87-B2D3-8137-F623-7F4D710DFE8A}"/>
                  </a:ext>
                </a:extLst>
              </p:cNvPr>
              <p:cNvSpPr/>
              <p:nvPr/>
            </p:nvSpPr>
            <p:spPr>
              <a:xfrm>
                <a:off x="3053059" y="2974962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0460A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24" name="Grafik 13">
              <a:extLst>
                <a:ext uri="{FF2B5EF4-FFF2-40B4-BE49-F238E27FC236}">
                  <a16:creationId xmlns:a16="http://schemas.microsoft.com/office/drawing/2014/main" id="{73FC22B4-5FF8-4E13-B0DF-BB43EAC7832A}"/>
                </a:ext>
              </a:extLst>
            </p:cNvPr>
            <p:cNvGrpSpPr/>
            <p:nvPr/>
          </p:nvGrpSpPr>
          <p:grpSpPr>
            <a:xfrm>
              <a:off x="3081012" y="2980044"/>
              <a:ext cx="43199" cy="43200"/>
              <a:chOff x="3081012" y="2980044"/>
              <a:chExt cx="43199" cy="43200"/>
            </a:xfrm>
          </p:grpSpPr>
          <p:sp>
            <p:nvSpPr>
              <p:cNvPr id="225" name="Freihandform: Form 224">
                <a:extLst>
                  <a:ext uri="{FF2B5EF4-FFF2-40B4-BE49-F238E27FC236}">
                    <a16:creationId xmlns:a16="http://schemas.microsoft.com/office/drawing/2014/main" id="{1C6720FA-A2B8-720E-90AB-669DCEA8A99B}"/>
                  </a:ext>
                </a:extLst>
              </p:cNvPr>
              <p:cNvSpPr/>
              <p:nvPr/>
            </p:nvSpPr>
            <p:spPr>
              <a:xfrm>
                <a:off x="3102612" y="2980044"/>
                <a:ext cx="12705" cy="43200"/>
              </a:xfrm>
              <a:custGeom>
                <a:avLst/>
                <a:gdLst>
                  <a:gd name="connsiteX0" fmla="*/ 0 w 12705"/>
                  <a:gd name="connsiteY0" fmla="*/ 0 h 43200"/>
                  <a:gd name="connsiteX1" fmla="*/ 0 w 12705"/>
                  <a:gd name="connsiteY1" fmla="*/ 43200 h 4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200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0460A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6" name="Freihandform: Form 225">
                <a:extLst>
                  <a:ext uri="{FF2B5EF4-FFF2-40B4-BE49-F238E27FC236}">
                    <a16:creationId xmlns:a16="http://schemas.microsoft.com/office/drawing/2014/main" id="{022EC085-629D-9E03-EFEF-74A9860510AD}"/>
                  </a:ext>
                </a:extLst>
              </p:cNvPr>
              <p:cNvSpPr/>
              <p:nvPr/>
            </p:nvSpPr>
            <p:spPr>
              <a:xfrm>
                <a:off x="3081012" y="3001644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0460A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27" name="Grafik 13">
              <a:extLst>
                <a:ext uri="{FF2B5EF4-FFF2-40B4-BE49-F238E27FC236}">
                  <a16:creationId xmlns:a16="http://schemas.microsoft.com/office/drawing/2014/main" id="{F7A2DC4C-FF0F-05C8-14C5-563A42E43BF9}"/>
                </a:ext>
              </a:extLst>
            </p:cNvPr>
            <p:cNvGrpSpPr/>
            <p:nvPr/>
          </p:nvGrpSpPr>
          <p:grpSpPr>
            <a:xfrm>
              <a:off x="3170080" y="3001390"/>
              <a:ext cx="43327" cy="43200"/>
              <a:chOff x="3170080" y="3001390"/>
              <a:chExt cx="43327" cy="43200"/>
            </a:xfrm>
          </p:grpSpPr>
          <p:sp>
            <p:nvSpPr>
              <p:cNvPr id="228" name="Freihandform: Form 227">
                <a:extLst>
                  <a:ext uri="{FF2B5EF4-FFF2-40B4-BE49-F238E27FC236}">
                    <a16:creationId xmlns:a16="http://schemas.microsoft.com/office/drawing/2014/main" id="{E26B725D-8052-8CF4-856D-2A7E1C9B80FA}"/>
                  </a:ext>
                </a:extLst>
              </p:cNvPr>
              <p:cNvSpPr/>
              <p:nvPr/>
            </p:nvSpPr>
            <p:spPr>
              <a:xfrm>
                <a:off x="3191680" y="3001390"/>
                <a:ext cx="12705" cy="43200"/>
              </a:xfrm>
              <a:custGeom>
                <a:avLst/>
                <a:gdLst>
                  <a:gd name="connsiteX0" fmla="*/ 0 w 12705"/>
                  <a:gd name="connsiteY0" fmla="*/ 0 h 43200"/>
                  <a:gd name="connsiteX1" fmla="*/ 0 w 12705"/>
                  <a:gd name="connsiteY1" fmla="*/ 43200 h 4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200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0460A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9" name="Freihandform: Form 228">
                <a:extLst>
                  <a:ext uri="{FF2B5EF4-FFF2-40B4-BE49-F238E27FC236}">
                    <a16:creationId xmlns:a16="http://schemas.microsoft.com/office/drawing/2014/main" id="{F511CA4B-BCDA-869B-7226-7B97F6BC87FE}"/>
                  </a:ext>
                </a:extLst>
              </p:cNvPr>
              <p:cNvSpPr/>
              <p:nvPr/>
            </p:nvSpPr>
            <p:spPr>
              <a:xfrm>
                <a:off x="3170080" y="3022990"/>
                <a:ext cx="43327" cy="12705"/>
              </a:xfrm>
              <a:custGeom>
                <a:avLst/>
                <a:gdLst>
                  <a:gd name="connsiteX0" fmla="*/ 43327 w 43327"/>
                  <a:gd name="connsiteY0" fmla="*/ 0 h 12705"/>
                  <a:gd name="connsiteX1" fmla="*/ 0 w 43327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327" h="12705">
                    <a:moveTo>
                      <a:pt x="43327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0460A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30" name="Grafik 13">
              <a:extLst>
                <a:ext uri="{FF2B5EF4-FFF2-40B4-BE49-F238E27FC236}">
                  <a16:creationId xmlns:a16="http://schemas.microsoft.com/office/drawing/2014/main" id="{0B451B11-2FAF-EEDF-2A6B-377DC074C81C}"/>
                </a:ext>
              </a:extLst>
            </p:cNvPr>
            <p:cNvGrpSpPr/>
            <p:nvPr/>
          </p:nvGrpSpPr>
          <p:grpSpPr>
            <a:xfrm>
              <a:off x="3338941" y="3001390"/>
              <a:ext cx="43199" cy="43200"/>
              <a:chOff x="3338941" y="3001390"/>
              <a:chExt cx="43199" cy="43200"/>
            </a:xfrm>
          </p:grpSpPr>
          <p:sp>
            <p:nvSpPr>
              <p:cNvPr id="231" name="Freihandform: Form 230">
                <a:extLst>
                  <a:ext uri="{FF2B5EF4-FFF2-40B4-BE49-F238E27FC236}">
                    <a16:creationId xmlns:a16="http://schemas.microsoft.com/office/drawing/2014/main" id="{AE381FE3-A250-DBB3-D54F-E01A4FEACDA8}"/>
                  </a:ext>
                </a:extLst>
              </p:cNvPr>
              <p:cNvSpPr/>
              <p:nvPr/>
            </p:nvSpPr>
            <p:spPr>
              <a:xfrm>
                <a:off x="3360541" y="3001390"/>
                <a:ext cx="12705" cy="43200"/>
              </a:xfrm>
              <a:custGeom>
                <a:avLst/>
                <a:gdLst>
                  <a:gd name="connsiteX0" fmla="*/ 0 w 12705"/>
                  <a:gd name="connsiteY0" fmla="*/ 0 h 43200"/>
                  <a:gd name="connsiteX1" fmla="*/ 0 w 12705"/>
                  <a:gd name="connsiteY1" fmla="*/ 43200 h 4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200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0460A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2" name="Freihandform: Form 231">
                <a:extLst>
                  <a:ext uri="{FF2B5EF4-FFF2-40B4-BE49-F238E27FC236}">
                    <a16:creationId xmlns:a16="http://schemas.microsoft.com/office/drawing/2014/main" id="{47A52C5D-AD70-77A7-96D7-C0A89B1F0A98}"/>
                  </a:ext>
                </a:extLst>
              </p:cNvPr>
              <p:cNvSpPr/>
              <p:nvPr/>
            </p:nvSpPr>
            <p:spPr>
              <a:xfrm>
                <a:off x="3338941" y="3022990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0460A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33" name="Grafik 13">
              <a:extLst>
                <a:ext uri="{FF2B5EF4-FFF2-40B4-BE49-F238E27FC236}">
                  <a16:creationId xmlns:a16="http://schemas.microsoft.com/office/drawing/2014/main" id="{0F851D2D-1F56-FB0A-BC1D-D03BF022CDB5}"/>
                </a:ext>
              </a:extLst>
            </p:cNvPr>
            <p:cNvGrpSpPr/>
            <p:nvPr/>
          </p:nvGrpSpPr>
          <p:grpSpPr>
            <a:xfrm>
              <a:off x="3468795" y="3038999"/>
              <a:ext cx="43327" cy="43199"/>
              <a:chOff x="3468795" y="3038999"/>
              <a:chExt cx="43327" cy="43199"/>
            </a:xfrm>
          </p:grpSpPr>
          <p:sp>
            <p:nvSpPr>
              <p:cNvPr id="234" name="Freihandform: Form 233">
                <a:extLst>
                  <a:ext uri="{FF2B5EF4-FFF2-40B4-BE49-F238E27FC236}">
                    <a16:creationId xmlns:a16="http://schemas.microsoft.com/office/drawing/2014/main" id="{312CD32F-FABC-6906-88D0-97BE9F884102}"/>
                  </a:ext>
                </a:extLst>
              </p:cNvPr>
              <p:cNvSpPr/>
              <p:nvPr/>
            </p:nvSpPr>
            <p:spPr>
              <a:xfrm>
                <a:off x="3490395" y="3038999"/>
                <a:ext cx="12705" cy="43199"/>
              </a:xfrm>
              <a:custGeom>
                <a:avLst/>
                <a:gdLst>
                  <a:gd name="connsiteX0" fmla="*/ 0 w 12705"/>
                  <a:gd name="connsiteY0" fmla="*/ 0 h 43199"/>
                  <a:gd name="connsiteX1" fmla="*/ 0 w 12705"/>
                  <a:gd name="connsiteY1" fmla="*/ 43200 h 43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199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0460A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5" name="Freihandform: Form 234">
                <a:extLst>
                  <a:ext uri="{FF2B5EF4-FFF2-40B4-BE49-F238E27FC236}">
                    <a16:creationId xmlns:a16="http://schemas.microsoft.com/office/drawing/2014/main" id="{2ED1D267-5685-7C3B-E986-69C62E06FAF7}"/>
                  </a:ext>
                </a:extLst>
              </p:cNvPr>
              <p:cNvSpPr/>
              <p:nvPr/>
            </p:nvSpPr>
            <p:spPr>
              <a:xfrm>
                <a:off x="3468795" y="3060599"/>
                <a:ext cx="43327" cy="12705"/>
              </a:xfrm>
              <a:custGeom>
                <a:avLst/>
                <a:gdLst>
                  <a:gd name="connsiteX0" fmla="*/ 43327 w 43327"/>
                  <a:gd name="connsiteY0" fmla="*/ 0 h 12705"/>
                  <a:gd name="connsiteX1" fmla="*/ 0 w 43327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327" h="12705">
                    <a:moveTo>
                      <a:pt x="43327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0460A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36" name="Grafik 13">
              <a:extLst>
                <a:ext uri="{FF2B5EF4-FFF2-40B4-BE49-F238E27FC236}">
                  <a16:creationId xmlns:a16="http://schemas.microsoft.com/office/drawing/2014/main" id="{F723389C-85AB-C37B-273F-CA19E84406A4}"/>
                </a:ext>
              </a:extLst>
            </p:cNvPr>
            <p:cNvGrpSpPr/>
            <p:nvPr/>
          </p:nvGrpSpPr>
          <p:grpSpPr>
            <a:xfrm>
              <a:off x="3636767" y="3066571"/>
              <a:ext cx="43199" cy="43327"/>
              <a:chOff x="3636767" y="3066571"/>
              <a:chExt cx="43199" cy="43327"/>
            </a:xfrm>
          </p:grpSpPr>
          <p:sp>
            <p:nvSpPr>
              <p:cNvPr id="237" name="Freihandform: Form 236">
                <a:extLst>
                  <a:ext uri="{FF2B5EF4-FFF2-40B4-BE49-F238E27FC236}">
                    <a16:creationId xmlns:a16="http://schemas.microsoft.com/office/drawing/2014/main" id="{18CB8E5E-71EA-6204-6CA8-39CE06254BE0}"/>
                  </a:ext>
                </a:extLst>
              </p:cNvPr>
              <p:cNvSpPr/>
              <p:nvPr/>
            </p:nvSpPr>
            <p:spPr>
              <a:xfrm>
                <a:off x="3658367" y="3066571"/>
                <a:ext cx="12705" cy="43327"/>
              </a:xfrm>
              <a:custGeom>
                <a:avLst/>
                <a:gdLst>
                  <a:gd name="connsiteX0" fmla="*/ 0 w 12705"/>
                  <a:gd name="connsiteY0" fmla="*/ 0 h 43327"/>
                  <a:gd name="connsiteX1" fmla="*/ 0 w 12705"/>
                  <a:gd name="connsiteY1" fmla="*/ 43327 h 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327">
                    <a:moveTo>
                      <a:pt x="0" y="0"/>
                    </a:moveTo>
                    <a:lnTo>
                      <a:pt x="0" y="43327"/>
                    </a:lnTo>
                  </a:path>
                </a:pathLst>
              </a:custGeom>
              <a:ln w="12686" cap="flat">
                <a:solidFill>
                  <a:srgbClr val="0460A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8" name="Freihandform: Form 237">
                <a:extLst>
                  <a:ext uri="{FF2B5EF4-FFF2-40B4-BE49-F238E27FC236}">
                    <a16:creationId xmlns:a16="http://schemas.microsoft.com/office/drawing/2014/main" id="{DA2F1CF0-1DC5-7506-49FB-6A37C0B57E31}"/>
                  </a:ext>
                </a:extLst>
              </p:cNvPr>
              <p:cNvSpPr/>
              <p:nvPr/>
            </p:nvSpPr>
            <p:spPr>
              <a:xfrm>
                <a:off x="3636767" y="3088298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0460A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39" name="Grafik 13">
              <a:extLst>
                <a:ext uri="{FF2B5EF4-FFF2-40B4-BE49-F238E27FC236}">
                  <a16:creationId xmlns:a16="http://schemas.microsoft.com/office/drawing/2014/main" id="{B49998C0-1CAE-E37B-4C1B-78C1DB851AD6}"/>
                </a:ext>
              </a:extLst>
            </p:cNvPr>
            <p:cNvGrpSpPr/>
            <p:nvPr/>
          </p:nvGrpSpPr>
          <p:grpSpPr>
            <a:xfrm>
              <a:off x="3731426" y="3094905"/>
              <a:ext cx="43327" cy="43200"/>
              <a:chOff x="3731426" y="3094905"/>
              <a:chExt cx="43327" cy="43200"/>
            </a:xfrm>
          </p:grpSpPr>
          <p:sp>
            <p:nvSpPr>
              <p:cNvPr id="240" name="Freihandform: Form 239">
                <a:extLst>
                  <a:ext uri="{FF2B5EF4-FFF2-40B4-BE49-F238E27FC236}">
                    <a16:creationId xmlns:a16="http://schemas.microsoft.com/office/drawing/2014/main" id="{741210EE-D1E6-9559-99FF-C46E5F6B81B7}"/>
                  </a:ext>
                </a:extLst>
              </p:cNvPr>
              <p:cNvSpPr/>
              <p:nvPr/>
            </p:nvSpPr>
            <p:spPr>
              <a:xfrm>
                <a:off x="3753026" y="3094905"/>
                <a:ext cx="12705" cy="43200"/>
              </a:xfrm>
              <a:custGeom>
                <a:avLst/>
                <a:gdLst>
                  <a:gd name="connsiteX0" fmla="*/ 0 w 12705"/>
                  <a:gd name="connsiteY0" fmla="*/ 0 h 43200"/>
                  <a:gd name="connsiteX1" fmla="*/ 0 w 12705"/>
                  <a:gd name="connsiteY1" fmla="*/ 43200 h 4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200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0460A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1" name="Freihandform: Form 240">
                <a:extLst>
                  <a:ext uri="{FF2B5EF4-FFF2-40B4-BE49-F238E27FC236}">
                    <a16:creationId xmlns:a16="http://schemas.microsoft.com/office/drawing/2014/main" id="{2EF84682-28A4-DA11-8CF2-778D67776C03}"/>
                  </a:ext>
                </a:extLst>
              </p:cNvPr>
              <p:cNvSpPr/>
              <p:nvPr/>
            </p:nvSpPr>
            <p:spPr>
              <a:xfrm>
                <a:off x="3731426" y="3116505"/>
                <a:ext cx="43327" cy="12705"/>
              </a:xfrm>
              <a:custGeom>
                <a:avLst/>
                <a:gdLst>
                  <a:gd name="connsiteX0" fmla="*/ 43327 w 43327"/>
                  <a:gd name="connsiteY0" fmla="*/ 0 h 12705"/>
                  <a:gd name="connsiteX1" fmla="*/ 0 w 43327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327" h="12705">
                    <a:moveTo>
                      <a:pt x="43327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0460A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42" name="Grafik 13">
              <a:extLst>
                <a:ext uri="{FF2B5EF4-FFF2-40B4-BE49-F238E27FC236}">
                  <a16:creationId xmlns:a16="http://schemas.microsoft.com/office/drawing/2014/main" id="{2E182770-87F1-F64E-22C6-06F15D58EED9}"/>
                </a:ext>
              </a:extLst>
            </p:cNvPr>
            <p:cNvGrpSpPr/>
            <p:nvPr/>
          </p:nvGrpSpPr>
          <p:grpSpPr>
            <a:xfrm>
              <a:off x="3858231" y="3185244"/>
              <a:ext cx="43199" cy="43199"/>
              <a:chOff x="3858231" y="3185244"/>
              <a:chExt cx="43199" cy="43199"/>
            </a:xfrm>
          </p:grpSpPr>
          <p:sp>
            <p:nvSpPr>
              <p:cNvPr id="243" name="Freihandform: Form 242">
                <a:extLst>
                  <a:ext uri="{FF2B5EF4-FFF2-40B4-BE49-F238E27FC236}">
                    <a16:creationId xmlns:a16="http://schemas.microsoft.com/office/drawing/2014/main" id="{340C7C30-A7E2-AE12-2799-14EC4BC17002}"/>
                  </a:ext>
                </a:extLst>
              </p:cNvPr>
              <p:cNvSpPr/>
              <p:nvPr/>
            </p:nvSpPr>
            <p:spPr>
              <a:xfrm>
                <a:off x="3879831" y="3185244"/>
                <a:ext cx="12705" cy="43199"/>
              </a:xfrm>
              <a:custGeom>
                <a:avLst/>
                <a:gdLst>
                  <a:gd name="connsiteX0" fmla="*/ 0 w 12705"/>
                  <a:gd name="connsiteY0" fmla="*/ 0 h 43199"/>
                  <a:gd name="connsiteX1" fmla="*/ 0 w 12705"/>
                  <a:gd name="connsiteY1" fmla="*/ 43200 h 43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199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0460A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4" name="Freihandform: Form 243">
                <a:extLst>
                  <a:ext uri="{FF2B5EF4-FFF2-40B4-BE49-F238E27FC236}">
                    <a16:creationId xmlns:a16="http://schemas.microsoft.com/office/drawing/2014/main" id="{86AC95D0-63B6-37B0-8C8C-1F7E56790ABF}"/>
                  </a:ext>
                </a:extLst>
              </p:cNvPr>
              <p:cNvSpPr/>
              <p:nvPr/>
            </p:nvSpPr>
            <p:spPr>
              <a:xfrm>
                <a:off x="3858231" y="3206844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0460A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45" name="Grafik 13">
              <a:extLst>
                <a:ext uri="{FF2B5EF4-FFF2-40B4-BE49-F238E27FC236}">
                  <a16:creationId xmlns:a16="http://schemas.microsoft.com/office/drawing/2014/main" id="{E031BD71-21DD-FB0B-96CD-F8E40CD96864}"/>
                </a:ext>
              </a:extLst>
            </p:cNvPr>
            <p:cNvGrpSpPr/>
            <p:nvPr/>
          </p:nvGrpSpPr>
          <p:grpSpPr>
            <a:xfrm>
              <a:off x="3672344" y="3382312"/>
              <a:ext cx="43199" cy="43200"/>
              <a:chOff x="3672344" y="3382312"/>
              <a:chExt cx="43199" cy="43200"/>
            </a:xfrm>
          </p:grpSpPr>
          <p:sp>
            <p:nvSpPr>
              <p:cNvPr id="246" name="Freihandform: Form 245">
                <a:extLst>
                  <a:ext uri="{FF2B5EF4-FFF2-40B4-BE49-F238E27FC236}">
                    <a16:creationId xmlns:a16="http://schemas.microsoft.com/office/drawing/2014/main" id="{2AFA46F0-4CB2-5127-0F9C-3D83DC51301B}"/>
                  </a:ext>
                </a:extLst>
              </p:cNvPr>
              <p:cNvSpPr/>
              <p:nvPr/>
            </p:nvSpPr>
            <p:spPr>
              <a:xfrm>
                <a:off x="3693944" y="3382312"/>
                <a:ext cx="12705" cy="43200"/>
              </a:xfrm>
              <a:custGeom>
                <a:avLst/>
                <a:gdLst>
                  <a:gd name="connsiteX0" fmla="*/ 0 w 12705"/>
                  <a:gd name="connsiteY0" fmla="*/ 0 h 43200"/>
                  <a:gd name="connsiteX1" fmla="*/ 0 w 12705"/>
                  <a:gd name="connsiteY1" fmla="*/ 43200 h 4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200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7" name="Freihandform: Form 246">
                <a:extLst>
                  <a:ext uri="{FF2B5EF4-FFF2-40B4-BE49-F238E27FC236}">
                    <a16:creationId xmlns:a16="http://schemas.microsoft.com/office/drawing/2014/main" id="{A89CF58A-32BD-5FD6-8516-51BCB0D09D8A}"/>
                  </a:ext>
                </a:extLst>
              </p:cNvPr>
              <p:cNvSpPr/>
              <p:nvPr/>
            </p:nvSpPr>
            <p:spPr>
              <a:xfrm>
                <a:off x="3672344" y="3403912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48" name="Grafik 13">
              <a:extLst>
                <a:ext uri="{FF2B5EF4-FFF2-40B4-BE49-F238E27FC236}">
                  <a16:creationId xmlns:a16="http://schemas.microsoft.com/office/drawing/2014/main" id="{C88F6A0A-7339-BE10-5C00-C19A68BD563D}"/>
                </a:ext>
              </a:extLst>
            </p:cNvPr>
            <p:cNvGrpSpPr/>
            <p:nvPr/>
          </p:nvGrpSpPr>
          <p:grpSpPr>
            <a:xfrm>
              <a:off x="3686193" y="3382312"/>
              <a:ext cx="43199" cy="43200"/>
              <a:chOff x="3686193" y="3382312"/>
              <a:chExt cx="43199" cy="43200"/>
            </a:xfrm>
          </p:grpSpPr>
          <p:sp>
            <p:nvSpPr>
              <p:cNvPr id="249" name="Freihandform: Form 248">
                <a:extLst>
                  <a:ext uri="{FF2B5EF4-FFF2-40B4-BE49-F238E27FC236}">
                    <a16:creationId xmlns:a16="http://schemas.microsoft.com/office/drawing/2014/main" id="{2EC2FD0F-3597-8F83-CB3A-2D7012B1B23A}"/>
                  </a:ext>
                </a:extLst>
              </p:cNvPr>
              <p:cNvSpPr/>
              <p:nvPr/>
            </p:nvSpPr>
            <p:spPr>
              <a:xfrm>
                <a:off x="3707793" y="3382312"/>
                <a:ext cx="12705" cy="43200"/>
              </a:xfrm>
              <a:custGeom>
                <a:avLst/>
                <a:gdLst>
                  <a:gd name="connsiteX0" fmla="*/ 0 w 12705"/>
                  <a:gd name="connsiteY0" fmla="*/ 0 h 43200"/>
                  <a:gd name="connsiteX1" fmla="*/ 0 w 12705"/>
                  <a:gd name="connsiteY1" fmla="*/ 43200 h 4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200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0" name="Freihandform: Form 249">
                <a:extLst>
                  <a:ext uri="{FF2B5EF4-FFF2-40B4-BE49-F238E27FC236}">
                    <a16:creationId xmlns:a16="http://schemas.microsoft.com/office/drawing/2014/main" id="{2D908397-0173-CF05-11C5-745564CAFC32}"/>
                  </a:ext>
                </a:extLst>
              </p:cNvPr>
              <p:cNvSpPr/>
              <p:nvPr/>
            </p:nvSpPr>
            <p:spPr>
              <a:xfrm>
                <a:off x="3686193" y="3403912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51" name="Grafik 13">
              <a:extLst>
                <a:ext uri="{FF2B5EF4-FFF2-40B4-BE49-F238E27FC236}">
                  <a16:creationId xmlns:a16="http://schemas.microsoft.com/office/drawing/2014/main" id="{A4158CA2-734C-6CE4-731D-966F3CCF90E7}"/>
                </a:ext>
              </a:extLst>
            </p:cNvPr>
            <p:cNvGrpSpPr/>
            <p:nvPr/>
          </p:nvGrpSpPr>
          <p:grpSpPr>
            <a:xfrm>
              <a:off x="3700042" y="3382312"/>
              <a:ext cx="43199" cy="43200"/>
              <a:chOff x="3700042" y="3382312"/>
              <a:chExt cx="43199" cy="43200"/>
            </a:xfrm>
          </p:grpSpPr>
          <p:sp>
            <p:nvSpPr>
              <p:cNvPr id="252" name="Freihandform: Form 251">
                <a:extLst>
                  <a:ext uri="{FF2B5EF4-FFF2-40B4-BE49-F238E27FC236}">
                    <a16:creationId xmlns:a16="http://schemas.microsoft.com/office/drawing/2014/main" id="{10F632CF-4073-A463-999E-65C378B7E730}"/>
                  </a:ext>
                </a:extLst>
              </p:cNvPr>
              <p:cNvSpPr/>
              <p:nvPr/>
            </p:nvSpPr>
            <p:spPr>
              <a:xfrm>
                <a:off x="3721642" y="3382312"/>
                <a:ext cx="12705" cy="43200"/>
              </a:xfrm>
              <a:custGeom>
                <a:avLst/>
                <a:gdLst>
                  <a:gd name="connsiteX0" fmla="*/ 0 w 12705"/>
                  <a:gd name="connsiteY0" fmla="*/ 0 h 43200"/>
                  <a:gd name="connsiteX1" fmla="*/ 0 w 12705"/>
                  <a:gd name="connsiteY1" fmla="*/ 43200 h 4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200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3" name="Freihandform: Form 252">
                <a:extLst>
                  <a:ext uri="{FF2B5EF4-FFF2-40B4-BE49-F238E27FC236}">
                    <a16:creationId xmlns:a16="http://schemas.microsoft.com/office/drawing/2014/main" id="{3E333A47-A3A4-6B63-7F97-97A565460D40}"/>
                  </a:ext>
                </a:extLst>
              </p:cNvPr>
              <p:cNvSpPr/>
              <p:nvPr/>
            </p:nvSpPr>
            <p:spPr>
              <a:xfrm>
                <a:off x="3700042" y="3403912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54" name="Grafik 13">
              <a:extLst>
                <a:ext uri="{FF2B5EF4-FFF2-40B4-BE49-F238E27FC236}">
                  <a16:creationId xmlns:a16="http://schemas.microsoft.com/office/drawing/2014/main" id="{E787D6EA-DABF-6835-3CAD-0731749D8BFC}"/>
                </a:ext>
              </a:extLst>
            </p:cNvPr>
            <p:cNvGrpSpPr/>
            <p:nvPr/>
          </p:nvGrpSpPr>
          <p:grpSpPr>
            <a:xfrm>
              <a:off x="3713765" y="3382312"/>
              <a:ext cx="43327" cy="43200"/>
              <a:chOff x="3713765" y="3382312"/>
              <a:chExt cx="43327" cy="43200"/>
            </a:xfrm>
          </p:grpSpPr>
          <p:sp>
            <p:nvSpPr>
              <p:cNvPr id="255" name="Freihandform: Form 254">
                <a:extLst>
                  <a:ext uri="{FF2B5EF4-FFF2-40B4-BE49-F238E27FC236}">
                    <a16:creationId xmlns:a16="http://schemas.microsoft.com/office/drawing/2014/main" id="{D63B4180-7340-E00C-2F60-E33ADCEACB7B}"/>
                  </a:ext>
                </a:extLst>
              </p:cNvPr>
              <p:cNvSpPr/>
              <p:nvPr/>
            </p:nvSpPr>
            <p:spPr>
              <a:xfrm>
                <a:off x="3735365" y="3382312"/>
                <a:ext cx="12705" cy="43200"/>
              </a:xfrm>
              <a:custGeom>
                <a:avLst/>
                <a:gdLst>
                  <a:gd name="connsiteX0" fmla="*/ 0 w 12705"/>
                  <a:gd name="connsiteY0" fmla="*/ 0 h 43200"/>
                  <a:gd name="connsiteX1" fmla="*/ 0 w 12705"/>
                  <a:gd name="connsiteY1" fmla="*/ 43200 h 4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200">
                    <a:moveTo>
                      <a:pt x="0" y="0"/>
                    </a:moveTo>
                    <a:lnTo>
                      <a:pt x="0" y="4320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6" name="Freihandform: Form 255">
                <a:extLst>
                  <a:ext uri="{FF2B5EF4-FFF2-40B4-BE49-F238E27FC236}">
                    <a16:creationId xmlns:a16="http://schemas.microsoft.com/office/drawing/2014/main" id="{4D5B5D89-D126-928B-F637-B9A23CC5F80D}"/>
                  </a:ext>
                </a:extLst>
              </p:cNvPr>
              <p:cNvSpPr/>
              <p:nvPr/>
            </p:nvSpPr>
            <p:spPr>
              <a:xfrm>
                <a:off x="3713765" y="3403912"/>
                <a:ext cx="43327" cy="12705"/>
              </a:xfrm>
              <a:custGeom>
                <a:avLst/>
                <a:gdLst>
                  <a:gd name="connsiteX0" fmla="*/ 43327 w 43327"/>
                  <a:gd name="connsiteY0" fmla="*/ 0 h 12705"/>
                  <a:gd name="connsiteX1" fmla="*/ 0 w 43327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327" h="12705">
                    <a:moveTo>
                      <a:pt x="43327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57" name="Grafik 13">
              <a:extLst>
                <a:ext uri="{FF2B5EF4-FFF2-40B4-BE49-F238E27FC236}">
                  <a16:creationId xmlns:a16="http://schemas.microsoft.com/office/drawing/2014/main" id="{5C8BE7C0-000E-8486-43FB-6DD5118A6D40}"/>
                </a:ext>
              </a:extLst>
            </p:cNvPr>
            <p:cNvGrpSpPr/>
            <p:nvPr/>
          </p:nvGrpSpPr>
          <p:grpSpPr>
            <a:xfrm>
              <a:off x="3801308" y="3451305"/>
              <a:ext cx="43199" cy="43327"/>
              <a:chOff x="3801308" y="3451305"/>
              <a:chExt cx="43199" cy="43327"/>
            </a:xfrm>
          </p:grpSpPr>
          <p:sp>
            <p:nvSpPr>
              <p:cNvPr id="258" name="Freihandform: Form 257">
                <a:extLst>
                  <a:ext uri="{FF2B5EF4-FFF2-40B4-BE49-F238E27FC236}">
                    <a16:creationId xmlns:a16="http://schemas.microsoft.com/office/drawing/2014/main" id="{C6C1AA1F-6713-CD38-0C7B-57188FB09055}"/>
                  </a:ext>
                </a:extLst>
              </p:cNvPr>
              <p:cNvSpPr/>
              <p:nvPr/>
            </p:nvSpPr>
            <p:spPr>
              <a:xfrm>
                <a:off x="3822908" y="3451305"/>
                <a:ext cx="12705" cy="43327"/>
              </a:xfrm>
              <a:custGeom>
                <a:avLst/>
                <a:gdLst>
                  <a:gd name="connsiteX0" fmla="*/ 0 w 12705"/>
                  <a:gd name="connsiteY0" fmla="*/ 0 h 43327"/>
                  <a:gd name="connsiteX1" fmla="*/ 0 w 12705"/>
                  <a:gd name="connsiteY1" fmla="*/ 43327 h 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327">
                    <a:moveTo>
                      <a:pt x="0" y="0"/>
                    </a:moveTo>
                    <a:lnTo>
                      <a:pt x="0" y="43327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9" name="Freihandform: Form 258">
                <a:extLst>
                  <a:ext uri="{FF2B5EF4-FFF2-40B4-BE49-F238E27FC236}">
                    <a16:creationId xmlns:a16="http://schemas.microsoft.com/office/drawing/2014/main" id="{EEF001B7-37A8-3ED3-A784-98D3764F76AA}"/>
                  </a:ext>
                </a:extLst>
              </p:cNvPr>
              <p:cNvSpPr/>
              <p:nvPr/>
            </p:nvSpPr>
            <p:spPr>
              <a:xfrm>
                <a:off x="3801308" y="3472905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60" name="Grafik 13">
              <a:extLst>
                <a:ext uri="{FF2B5EF4-FFF2-40B4-BE49-F238E27FC236}">
                  <a16:creationId xmlns:a16="http://schemas.microsoft.com/office/drawing/2014/main" id="{7A6772D7-EE4C-4EC9-73F2-E3691C33DFF7}"/>
                </a:ext>
              </a:extLst>
            </p:cNvPr>
            <p:cNvGrpSpPr/>
            <p:nvPr/>
          </p:nvGrpSpPr>
          <p:grpSpPr>
            <a:xfrm>
              <a:off x="3808932" y="3451305"/>
              <a:ext cx="43199" cy="43327"/>
              <a:chOff x="3808932" y="3451305"/>
              <a:chExt cx="43199" cy="43327"/>
            </a:xfrm>
          </p:grpSpPr>
          <p:sp>
            <p:nvSpPr>
              <p:cNvPr id="261" name="Freihandform: Form 260">
                <a:extLst>
                  <a:ext uri="{FF2B5EF4-FFF2-40B4-BE49-F238E27FC236}">
                    <a16:creationId xmlns:a16="http://schemas.microsoft.com/office/drawing/2014/main" id="{E0D1271C-9654-E295-8D7B-D12046675658}"/>
                  </a:ext>
                </a:extLst>
              </p:cNvPr>
              <p:cNvSpPr/>
              <p:nvPr/>
            </p:nvSpPr>
            <p:spPr>
              <a:xfrm>
                <a:off x="3830532" y="3451305"/>
                <a:ext cx="12705" cy="43327"/>
              </a:xfrm>
              <a:custGeom>
                <a:avLst/>
                <a:gdLst>
                  <a:gd name="connsiteX0" fmla="*/ 0 w 12705"/>
                  <a:gd name="connsiteY0" fmla="*/ 0 h 43327"/>
                  <a:gd name="connsiteX1" fmla="*/ 0 w 12705"/>
                  <a:gd name="connsiteY1" fmla="*/ 43327 h 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327">
                    <a:moveTo>
                      <a:pt x="0" y="0"/>
                    </a:moveTo>
                    <a:lnTo>
                      <a:pt x="0" y="43327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2" name="Freihandform: Form 261">
                <a:extLst>
                  <a:ext uri="{FF2B5EF4-FFF2-40B4-BE49-F238E27FC236}">
                    <a16:creationId xmlns:a16="http://schemas.microsoft.com/office/drawing/2014/main" id="{53BFA437-D9F0-FDF1-FE8A-18626AC04095}"/>
                  </a:ext>
                </a:extLst>
              </p:cNvPr>
              <p:cNvSpPr/>
              <p:nvPr/>
            </p:nvSpPr>
            <p:spPr>
              <a:xfrm>
                <a:off x="3808932" y="3472905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63" name="Grafik 13">
              <a:extLst>
                <a:ext uri="{FF2B5EF4-FFF2-40B4-BE49-F238E27FC236}">
                  <a16:creationId xmlns:a16="http://schemas.microsoft.com/office/drawing/2014/main" id="{F7CAA0BB-94E1-6C51-895D-A63A05738FF0}"/>
                </a:ext>
              </a:extLst>
            </p:cNvPr>
            <p:cNvGrpSpPr/>
            <p:nvPr/>
          </p:nvGrpSpPr>
          <p:grpSpPr>
            <a:xfrm>
              <a:off x="4032174" y="3451305"/>
              <a:ext cx="43327" cy="43327"/>
              <a:chOff x="4032174" y="3451305"/>
              <a:chExt cx="43327" cy="43327"/>
            </a:xfrm>
          </p:grpSpPr>
          <p:sp>
            <p:nvSpPr>
              <p:cNvPr id="264" name="Freihandform: Form 263">
                <a:extLst>
                  <a:ext uri="{FF2B5EF4-FFF2-40B4-BE49-F238E27FC236}">
                    <a16:creationId xmlns:a16="http://schemas.microsoft.com/office/drawing/2014/main" id="{E7887F24-157F-83C1-1E81-B973E1D14710}"/>
                  </a:ext>
                </a:extLst>
              </p:cNvPr>
              <p:cNvSpPr/>
              <p:nvPr/>
            </p:nvSpPr>
            <p:spPr>
              <a:xfrm>
                <a:off x="4053901" y="3451305"/>
                <a:ext cx="12705" cy="43327"/>
              </a:xfrm>
              <a:custGeom>
                <a:avLst/>
                <a:gdLst>
                  <a:gd name="connsiteX0" fmla="*/ 0 w 12705"/>
                  <a:gd name="connsiteY0" fmla="*/ 0 h 43327"/>
                  <a:gd name="connsiteX1" fmla="*/ 0 w 12705"/>
                  <a:gd name="connsiteY1" fmla="*/ 43327 h 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327">
                    <a:moveTo>
                      <a:pt x="0" y="0"/>
                    </a:moveTo>
                    <a:lnTo>
                      <a:pt x="0" y="43327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5" name="Freihandform: Form 264">
                <a:extLst>
                  <a:ext uri="{FF2B5EF4-FFF2-40B4-BE49-F238E27FC236}">
                    <a16:creationId xmlns:a16="http://schemas.microsoft.com/office/drawing/2014/main" id="{3C86AEA4-DFAE-D3A4-24C1-5F9C4332EB41}"/>
                  </a:ext>
                </a:extLst>
              </p:cNvPr>
              <p:cNvSpPr/>
              <p:nvPr/>
            </p:nvSpPr>
            <p:spPr>
              <a:xfrm>
                <a:off x="4032174" y="3472905"/>
                <a:ext cx="43327" cy="12705"/>
              </a:xfrm>
              <a:custGeom>
                <a:avLst/>
                <a:gdLst>
                  <a:gd name="connsiteX0" fmla="*/ 43327 w 43327"/>
                  <a:gd name="connsiteY0" fmla="*/ 0 h 12705"/>
                  <a:gd name="connsiteX1" fmla="*/ 0 w 43327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327" h="12705">
                    <a:moveTo>
                      <a:pt x="43327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66" name="Grafik 13">
              <a:extLst>
                <a:ext uri="{FF2B5EF4-FFF2-40B4-BE49-F238E27FC236}">
                  <a16:creationId xmlns:a16="http://schemas.microsoft.com/office/drawing/2014/main" id="{70D06DE4-8684-2DA0-B5A7-F8ED19641E34}"/>
                </a:ext>
              </a:extLst>
            </p:cNvPr>
            <p:cNvGrpSpPr/>
            <p:nvPr/>
          </p:nvGrpSpPr>
          <p:grpSpPr>
            <a:xfrm>
              <a:off x="4088207" y="3451305"/>
              <a:ext cx="43199" cy="43327"/>
              <a:chOff x="4088207" y="3451305"/>
              <a:chExt cx="43199" cy="43327"/>
            </a:xfrm>
          </p:grpSpPr>
          <p:sp>
            <p:nvSpPr>
              <p:cNvPr id="267" name="Freihandform: Form 266">
                <a:extLst>
                  <a:ext uri="{FF2B5EF4-FFF2-40B4-BE49-F238E27FC236}">
                    <a16:creationId xmlns:a16="http://schemas.microsoft.com/office/drawing/2014/main" id="{40F63BE7-4E28-A5FE-BA37-F40A2FC954C6}"/>
                  </a:ext>
                </a:extLst>
              </p:cNvPr>
              <p:cNvSpPr/>
              <p:nvPr/>
            </p:nvSpPr>
            <p:spPr>
              <a:xfrm>
                <a:off x="4109807" y="3451305"/>
                <a:ext cx="12705" cy="43327"/>
              </a:xfrm>
              <a:custGeom>
                <a:avLst/>
                <a:gdLst>
                  <a:gd name="connsiteX0" fmla="*/ 0 w 12705"/>
                  <a:gd name="connsiteY0" fmla="*/ 0 h 43327"/>
                  <a:gd name="connsiteX1" fmla="*/ 0 w 12705"/>
                  <a:gd name="connsiteY1" fmla="*/ 43327 h 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3327">
                    <a:moveTo>
                      <a:pt x="0" y="0"/>
                    </a:moveTo>
                    <a:lnTo>
                      <a:pt x="0" y="43327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8" name="Freihandform: Form 267">
                <a:extLst>
                  <a:ext uri="{FF2B5EF4-FFF2-40B4-BE49-F238E27FC236}">
                    <a16:creationId xmlns:a16="http://schemas.microsoft.com/office/drawing/2014/main" id="{FBE6D741-21D7-47E5-81DC-B551E1CB7D69}"/>
                  </a:ext>
                </a:extLst>
              </p:cNvPr>
              <p:cNvSpPr/>
              <p:nvPr/>
            </p:nvSpPr>
            <p:spPr>
              <a:xfrm>
                <a:off x="4088207" y="3472905"/>
                <a:ext cx="43199" cy="12705"/>
              </a:xfrm>
              <a:custGeom>
                <a:avLst/>
                <a:gdLst>
                  <a:gd name="connsiteX0" fmla="*/ 43200 w 43199"/>
                  <a:gd name="connsiteY0" fmla="*/ 0 h 12705"/>
                  <a:gd name="connsiteX1" fmla="*/ 0 w 43199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99" h="12705">
                    <a:moveTo>
                      <a:pt x="43200" y="0"/>
                    </a:moveTo>
                    <a:lnTo>
                      <a:pt x="0" y="0"/>
                    </a:lnTo>
                  </a:path>
                </a:pathLst>
              </a:custGeom>
              <a:ln w="12686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69" name="Grafik 13">
            <a:extLst>
              <a:ext uri="{FF2B5EF4-FFF2-40B4-BE49-F238E27FC236}">
                <a16:creationId xmlns:a16="http://schemas.microsoft.com/office/drawing/2014/main" id="{9C1DDA69-F523-BA38-C978-2ECE2059609E}"/>
              </a:ext>
            </a:extLst>
          </p:cNvPr>
          <p:cNvGrpSpPr/>
          <p:nvPr/>
        </p:nvGrpSpPr>
        <p:grpSpPr>
          <a:xfrm>
            <a:off x="1172462" y="2087075"/>
            <a:ext cx="2991980" cy="2160762"/>
            <a:chOff x="1172462" y="2087075"/>
            <a:chExt cx="2991980" cy="2160762"/>
          </a:xfrm>
          <a:noFill/>
        </p:grpSpPr>
        <p:sp>
          <p:nvSpPr>
            <p:cNvPr id="270" name="Freihandform: Form 269">
              <a:extLst>
                <a:ext uri="{FF2B5EF4-FFF2-40B4-BE49-F238E27FC236}">
                  <a16:creationId xmlns:a16="http://schemas.microsoft.com/office/drawing/2014/main" id="{73FF1D83-D216-B9CA-47C1-94F478CFE737}"/>
                </a:ext>
              </a:extLst>
            </p:cNvPr>
            <p:cNvSpPr/>
            <p:nvPr/>
          </p:nvSpPr>
          <p:spPr>
            <a:xfrm>
              <a:off x="1219346" y="2087075"/>
              <a:ext cx="2945096" cy="2113877"/>
            </a:xfrm>
            <a:custGeom>
              <a:avLst/>
              <a:gdLst>
                <a:gd name="connsiteX0" fmla="*/ 0 w 2945096"/>
                <a:gd name="connsiteY0" fmla="*/ 0 h 2113877"/>
                <a:gd name="connsiteX1" fmla="*/ 0 w 2945096"/>
                <a:gd name="connsiteY1" fmla="*/ 2113878 h 2113877"/>
                <a:gd name="connsiteX2" fmla="*/ 2945096 w 2945096"/>
                <a:gd name="connsiteY2" fmla="*/ 2113878 h 2113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45096" h="2113877">
                  <a:moveTo>
                    <a:pt x="0" y="0"/>
                  </a:moveTo>
                  <a:lnTo>
                    <a:pt x="0" y="2113878"/>
                  </a:lnTo>
                  <a:lnTo>
                    <a:pt x="2945096" y="2113878"/>
                  </a:lnTo>
                </a:path>
              </a:pathLst>
            </a:custGeom>
            <a:noFill/>
            <a:ln w="10160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71" name="Grafik 13">
              <a:extLst>
                <a:ext uri="{FF2B5EF4-FFF2-40B4-BE49-F238E27FC236}">
                  <a16:creationId xmlns:a16="http://schemas.microsoft.com/office/drawing/2014/main" id="{A6508EB0-05D6-8793-19D9-68A9672F9087}"/>
                </a:ext>
              </a:extLst>
            </p:cNvPr>
            <p:cNvGrpSpPr/>
            <p:nvPr/>
          </p:nvGrpSpPr>
          <p:grpSpPr>
            <a:xfrm>
              <a:off x="1172462" y="2092157"/>
              <a:ext cx="46884" cy="2110320"/>
              <a:chOff x="1172462" y="2092157"/>
              <a:chExt cx="46884" cy="2110320"/>
            </a:xfrm>
          </p:grpSpPr>
          <p:sp>
            <p:nvSpPr>
              <p:cNvPr id="272" name="Freihandform: Form 271">
                <a:extLst>
                  <a:ext uri="{FF2B5EF4-FFF2-40B4-BE49-F238E27FC236}">
                    <a16:creationId xmlns:a16="http://schemas.microsoft.com/office/drawing/2014/main" id="{34669EE9-8579-28C6-03FD-BDF1580FDE75}"/>
                  </a:ext>
                </a:extLst>
              </p:cNvPr>
              <p:cNvSpPr/>
              <p:nvPr/>
            </p:nvSpPr>
            <p:spPr>
              <a:xfrm>
                <a:off x="1172462" y="2092157"/>
                <a:ext cx="46884" cy="12705"/>
              </a:xfrm>
              <a:custGeom>
                <a:avLst/>
                <a:gdLst>
                  <a:gd name="connsiteX0" fmla="*/ 0 w 46884"/>
                  <a:gd name="connsiteY0" fmla="*/ 0 h 12705"/>
                  <a:gd name="connsiteX1" fmla="*/ 46885 w 46884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884" h="12705">
                    <a:moveTo>
                      <a:pt x="0" y="0"/>
                    </a:moveTo>
                    <a:lnTo>
                      <a:pt x="46885" y="0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3" name="Freihandform: Form 272">
                <a:extLst>
                  <a:ext uri="{FF2B5EF4-FFF2-40B4-BE49-F238E27FC236}">
                    <a16:creationId xmlns:a16="http://schemas.microsoft.com/office/drawing/2014/main" id="{0385E75F-9828-D528-FC16-2EFE70286A1F}"/>
                  </a:ext>
                </a:extLst>
              </p:cNvPr>
              <p:cNvSpPr/>
              <p:nvPr/>
            </p:nvSpPr>
            <p:spPr>
              <a:xfrm>
                <a:off x="1172462" y="2303202"/>
                <a:ext cx="46884" cy="12705"/>
              </a:xfrm>
              <a:custGeom>
                <a:avLst/>
                <a:gdLst>
                  <a:gd name="connsiteX0" fmla="*/ 0 w 46884"/>
                  <a:gd name="connsiteY0" fmla="*/ 0 h 12705"/>
                  <a:gd name="connsiteX1" fmla="*/ 46885 w 46884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884" h="12705">
                    <a:moveTo>
                      <a:pt x="0" y="0"/>
                    </a:moveTo>
                    <a:lnTo>
                      <a:pt x="46885" y="0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4" name="Freihandform: Form 273">
                <a:extLst>
                  <a:ext uri="{FF2B5EF4-FFF2-40B4-BE49-F238E27FC236}">
                    <a16:creationId xmlns:a16="http://schemas.microsoft.com/office/drawing/2014/main" id="{A653FDCB-3D7B-AE6F-CD47-017EC6AB218D}"/>
                  </a:ext>
                </a:extLst>
              </p:cNvPr>
              <p:cNvSpPr/>
              <p:nvPr/>
            </p:nvSpPr>
            <p:spPr>
              <a:xfrm>
                <a:off x="1172462" y="2514246"/>
                <a:ext cx="46884" cy="12705"/>
              </a:xfrm>
              <a:custGeom>
                <a:avLst/>
                <a:gdLst>
                  <a:gd name="connsiteX0" fmla="*/ 0 w 46884"/>
                  <a:gd name="connsiteY0" fmla="*/ 0 h 12705"/>
                  <a:gd name="connsiteX1" fmla="*/ 46885 w 46884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884" h="12705">
                    <a:moveTo>
                      <a:pt x="0" y="0"/>
                    </a:moveTo>
                    <a:lnTo>
                      <a:pt x="46885" y="0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5" name="Freihandform: Form 274">
                <a:extLst>
                  <a:ext uri="{FF2B5EF4-FFF2-40B4-BE49-F238E27FC236}">
                    <a16:creationId xmlns:a16="http://schemas.microsoft.com/office/drawing/2014/main" id="{1C11E181-DD38-3985-F1E1-C8EA1A5EA951}"/>
                  </a:ext>
                </a:extLst>
              </p:cNvPr>
              <p:cNvSpPr/>
              <p:nvPr/>
            </p:nvSpPr>
            <p:spPr>
              <a:xfrm>
                <a:off x="1172462" y="2725291"/>
                <a:ext cx="46884" cy="12705"/>
              </a:xfrm>
              <a:custGeom>
                <a:avLst/>
                <a:gdLst>
                  <a:gd name="connsiteX0" fmla="*/ 0 w 46884"/>
                  <a:gd name="connsiteY0" fmla="*/ 0 h 12705"/>
                  <a:gd name="connsiteX1" fmla="*/ 46885 w 46884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884" h="12705">
                    <a:moveTo>
                      <a:pt x="0" y="0"/>
                    </a:moveTo>
                    <a:lnTo>
                      <a:pt x="46885" y="0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6" name="Freihandform: Form 275">
                <a:extLst>
                  <a:ext uri="{FF2B5EF4-FFF2-40B4-BE49-F238E27FC236}">
                    <a16:creationId xmlns:a16="http://schemas.microsoft.com/office/drawing/2014/main" id="{FFB91A9F-FB49-7C2A-C21E-E1F239D5C0D0}"/>
                  </a:ext>
                </a:extLst>
              </p:cNvPr>
              <p:cNvSpPr/>
              <p:nvPr/>
            </p:nvSpPr>
            <p:spPr>
              <a:xfrm>
                <a:off x="1172462" y="2936209"/>
                <a:ext cx="46884" cy="12705"/>
              </a:xfrm>
              <a:custGeom>
                <a:avLst/>
                <a:gdLst>
                  <a:gd name="connsiteX0" fmla="*/ 0 w 46884"/>
                  <a:gd name="connsiteY0" fmla="*/ 0 h 12705"/>
                  <a:gd name="connsiteX1" fmla="*/ 46885 w 46884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884" h="12705">
                    <a:moveTo>
                      <a:pt x="0" y="0"/>
                    </a:moveTo>
                    <a:lnTo>
                      <a:pt x="46885" y="0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7" name="Freihandform: Form 276">
                <a:extLst>
                  <a:ext uri="{FF2B5EF4-FFF2-40B4-BE49-F238E27FC236}">
                    <a16:creationId xmlns:a16="http://schemas.microsoft.com/office/drawing/2014/main" id="{5DDE4BDA-72BC-A40B-6573-700F7C8F7006}"/>
                  </a:ext>
                </a:extLst>
              </p:cNvPr>
              <p:cNvSpPr/>
              <p:nvPr/>
            </p:nvSpPr>
            <p:spPr>
              <a:xfrm>
                <a:off x="1172462" y="3147253"/>
                <a:ext cx="46884" cy="12705"/>
              </a:xfrm>
              <a:custGeom>
                <a:avLst/>
                <a:gdLst>
                  <a:gd name="connsiteX0" fmla="*/ 0 w 46884"/>
                  <a:gd name="connsiteY0" fmla="*/ 0 h 12705"/>
                  <a:gd name="connsiteX1" fmla="*/ 46885 w 46884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884" h="12705">
                    <a:moveTo>
                      <a:pt x="0" y="0"/>
                    </a:moveTo>
                    <a:lnTo>
                      <a:pt x="46885" y="0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8" name="Freihandform: Form 277">
                <a:extLst>
                  <a:ext uri="{FF2B5EF4-FFF2-40B4-BE49-F238E27FC236}">
                    <a16:creationId xmlns:a16="http://schemas.microsoft.com/office/drawing/2014/main" id="{F54BECD7-0430-94B0-5462-A82B3283E11D}"/>
                  </a:ext>
                </a:extLst>
              </p:cNvPr>
              <p:cNvSpPr/>
              <p:nvPr/>
            </p:nvSpPr>
            <p:spPr>
              <a:xfrm>
                <a:off x="1172462" y="3358298"/>
                <a:ext cx="46884" cy="12705"/>
              </a:xfrm>
              <a:custGeom>
                <a:avLst/>
                <a:gdLst>
                  <a:gd name="connsiteX0" fmla="*/ 0 w 46884"/>
                  <a:gd name="connsiteY0" fmla="*/ 0 h 12705"/>
                  <a:gd name="connsiteX1" fmla="*/ 46885 w 46884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884" h="12705">
                    <a:moveTo>
                      <a:pt x="0" y="0"/>
                    </a:moveTo>
                    <a:lnTo>
                      <a:pt x="46885" y="0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9" name="Freihandform: Form 278">
                <a:extLst>
                  <a:ext uri="{FF2B5EF4-FFF2-40B4-BE49-F238E27FC236}">
                    <a16:creationId xmlns:a16="http://schemas.microsoft.com/office/drawing/2014/main" id="{078FB5CE-9331-0ECE-1737-D2947846A07F}"/>
                  </a:ext>
                </a:extLst>
              </p:cNvPr>
              <p:cNvSpPr/>
              <p:nvPr/>
            </p:nvSpPr>
            <p:spPr>
              <a:xfrm>
                <a:off x="1172462" y="3569343"/>
                <a:ext cx="46884" cy="12705"/>
              </a:xfrm>
              <a:custGeom>
                <a:avLst/>
                <a:gdLst>
                  <a:gd name="connsiteX0" fmla="*/ 0 w 46884"/>
                  <a:gd name="connsiteY0" fmla="*/ 0 h 12705"/>
                  <a:gd name="connsiteX1" fmla="*/ 46885 w 46884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884" h="12705">
                    <a:moveTo>
                      <a:pt x="0" y="0"/>
                    </a:moveTo>
                    <a:lnTo>
                      <a:pt x="46885" y="0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0" name="Freihandform: Form 279">
                <a:extLst>
                  <a:ext uri="{FF2B5EF4-FFF2-40B4-BE49-F238E27FC236}">
                    <a16:creationId xmlns:a16="http://schemas.microsoft.com/office/drawing/2014/main" id="{14C834DD-0551-9E13-D9DA-BA1B8CABA5BC}"/>
                  </a:ext>
                </a:extLst>
              </p:cNvPr>
              <p:cNvSpPr/>
              <p:nvPr/>
            </p:nvSpPr>
            <p:spPr>
              <a:xfrm>
                <a:off x="1172462" y="3780387"/>
                <a:ext cx="46884" cy="12705"/>
              </a:xfrm>
              <a:custGeom>
                <a:avLst/>
                <a:gdLst>
                  <a:gd name="connsiteX0" fmla="*/ 0 w 46884"/>
                  <a:gd name="connsiteY0" fmla="*/ 0 h 12705"/>
                  <a:gd name="connsiteX1" fmla="*/ 46885 w 46884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884" h="12705">
                    <a:moveTo>
                      <a:pt x="0" y="0"/>
                    </a:moveTo>
                    <a:lnTo>
                      <a:pt x="46885" y="0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1" name="Freihandform: Form 280">
                <a:extLst>
                  <a:ext uri="{FF2B5EF4-FFF2-40B4-BE49-F238E27FC236}">
                    <a16:creationId xmlns:a16="http://schemas.microsoft.com/office/drawing/2014/main" id="{347EB6F5-607A-9E43-5AAA-036B310073E1}"/>
                  </a:ext>
                </a:extLst>
              </p:cNvPr>
              <p:cNvSpPr/>
              <p:nvPr/>
            </p:nvSpPr>
            <p:spPr>
              <a:xfrm>
                <a:off x="1172462" y="3991432"/>
                <a:ext cx="46884" cy="12705"/>
              </a:xfrm>
              <a:custGeom>
                <a:avLst/>
                <a:gdLst>
                  <a:gd name="connsiteX0" fmla="*/ 0 w 46884"/>
                  <a:gd name="connsiteY0" fmla="*/ 0 h 12705"/>
                  <a:gd name="connsiteX1" fmla="*/ 46885 w 46884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884" h="12705">
                    <a:moveTo>
                      <a:pt x="0" y="0"/>
                    </a:moveTo>
                    <a:lnTo>
                      <a:pt x="46885" y="0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2" name="Freihandform: Form 281">
                <a:extLst>
                  <a:ext uri="{FF2B5EF4-FFF2-40B4-BE49-F238E27FC236}">
                    <a16:creationId xmlns:a16="http://schemas.microsoft.com/office/drawing/2014/main" id="{4CF17C1E-511C-AED4-D367-E7F43ADC0BD3}"/>
                  </a:ext>
                </a:extLst>
              </p:cNvPr>
              <p:cNvSpPr/>
              <p:nvPr/>
            </p:nvSpPr>
            <p:spPr>
              <a:xfrm>
                <a:off x="1172462" y="4202477"/>
                <a:ext cx="46884" cy="12705"/>
              </a:xfrm>
              <a:custGeom>
                <a:avLst/>
                <a:gdLst>
                  <a:gd name="connsiteX0" fmla="*/ 0 w 46884"/>
                  <a:gd name="connsiteY0" fmla="*/ 0 h 12705"/>
                  <a:gd name="connsiteX1" fmla="*/ 46885 w 46884"/>
                  <a:gd name="connsiteY1" fmla="*/ 0 h 1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884" h="12705">
                    <a:moveTo>
                      <a:pt x="0" y="0"/>
                    </a:moveTo>
                    <a:lnTo>
                      <a:pt x="46885" y="0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83" name="Grafik 13">
              <a:extLst>
                <a:ext uri="{FF2B5EF4-FFF2-40B4-BE49-F238E27FC236}">
                  <a16:creationId xmlns:a16="http://schemas.microsoft.com/office/drawing/2014/main" id="{EC96DB83-2279-22D3-64E8-8F468131A670}"/>
                </a:ext>
              </a:extLst>
            </p:cNvPr>
            <p:cNvGrpSpPr/>
            <p:nvPr/>
          </p:nvGrpSpPr>
          <p:grpSpPr>
            <a:xfrm>
              <a:off x="1219346" y="4200952"/>
              <a:ext cx="2939886" cy="46884"/>
              <a:chOff x="1219346" y="4200952"/>
              <a:chExt cx="2939886" cy="46884"/>
            </a:xfrm>
          </p:grpSpPr>
          <p:sp>
            <p:nvSpPr>
              <p:cNvPr id="284" name="Freihandform: Form 283">
                <a:extLst>
                  <a:ext uri="{FF2B5EF4-FFF2-40B4-BE49-F238E27FC236}">
                    <a16:creationId xmlns:a16="http://schemas.microsoft.com/office/drawing/2014/main" id="{9795E873-553F-E588-0824-13FE7B2FE91A}"/>
                  </a:ext>
                </a:extLst>
              </p:cNvPr>
              <p:cNvSpPr/>
              <p:nvPr/>
            </p:nvSpPr>
            <p:spPr>
              <a:xfrm>
                <a:off x="1219346" y="4200952"/>
                <a:ext cx="12705" cy="46884"/>
              </a:xfrm>
              <a:custGeom>
                <a:avLst/>
                <a:gdLst>
                  <a:gd name="connsiteX0" fmla="*/ 0 w 12705"/>
                  <a:gd name="connsiteY0" fmla="*/ 0 h 46884"/>
                  <a:gd name="connsiteX1" fmla="*/ 0 w 12705"/>
                  <a:gd name="connsiteY1" fmla="*/ 46885 h 46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6884">
                    <a:moveTo>
                      <a:pt x="0" y="0"/>
                    </a:moveTo>
                    <a:lnTo>
                      <a:pt x="0" y="46885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5" name="Freihandform: Form 284">
                <a:extLst>
                  <a:ext uri="{FF2B5EF4-FFF2-40B4-BE49-F238E27FC236}">
                    <a16:creationId xmlns:a16="http://schemas.microsoft.com/office/drawing/2014/main" id="{95A21AF8-5217-2FF2-0C8E-41BD7021D19A}"/>
                  </a:ext>
                </a:extLst>
              </p:cNvPr>
              <p:cNvSpPr/>
              <p:nvPr/>
            </p:nvSpPr>
            <p:spPr>
              <a:xfrm>
                <a:off x="1403073" y="4200952"/>
                <a:ext cx="12705" cy="46884"/>
              </a:xfrm>
              <a:custGeom>
                <a:avLst/>
                <a:gdLst>
                  <a:gd name="connsiteX0" fmla="*/ 0 w 12705"/>
                  <a:gd name="connsiteY0" fmla="*/ 0 h 46884"/>
                  <a:gd name="connsiteX1" fmla="*/ 0 w 12705"/>
                  <a:gd name="connsiteY1" fmla="*/ 46885 h 46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6884">
                    <a:moveTo>
                      <a:pt x="0" y="0"/>
                    </a:moveTo>
                    <a:lnTo>
                      <a:pt x="0" y="46885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6" name="Freihandform: Form 285">
                <a:extLst>
                  <a:ext uri="{FF2B5EF4-FFF2-40B4-BE49-F238E27FC236}">
                    <a16:creationId xmlns:a16="http://schemas.microsoft.com/office/drawing/2014/main" id="{B53A519A-BB66-10A1-4D15-31FFB56DE5F2}"/>
                  </a:ext>
                </a:extLst>
              </p:cNvPr>
              <p:cNvSpPr/>
              <p:nvPr/>
            </p:nvSpPr>
            <p:spPr>
              <a:xfrm>
                <a:off x="1586800" y="4200952"/>
                <a:ext cx="12705" cy="46884"/>
              </a:xfrm>
              <a:custGeom>
                <a:avLst/>
                <a:gdLst>
                  <a:gd name="connsiteX0" fmla="*/ 0 w 12705"/>
                  <a:gd name="connsiteY0" fmla="*/ 0 h 46884"/>
                  <a:gd name="connsiteX1" fmla="*/ 0 w 12705"/>
                  <a:gd name="connsiteY1" fmla="*/ 46885 h 46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6884">
                    <a:moveTo>
                      <a:pt x="0" y="0"/>
                    </a:moveTo>
                    <a:lnTo>
                      <a:pt x="0" y="46885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7" name="Freihandform: Form 286">
                <a:extLst>
                  <a:ext uri="{FF2B5EF4-FFF2-40B4-BE49-F238E27FC236}">
                    <a16:creationId xmlns:a16="http://schemas.microsoft.com/office/drawing/2014/main" id="{C6AD5145-C8CC-CA79-5303-7B00F5C5822A}"/>
                  </a:ext>
                </a:extLst>
              </p:cNvPr>
              <p:cNvSpPr/>
              <p:nvPr/>
            </p:nvSpPr>
            <p:spPr>
              <a:xfrm>
                <a:off x="1770527" y="4200952"/>
                <a:ext cx="12705" cy="46884"/>
              </a:xfrm>
              <a:custGeom>
                <a:avLst/>
                <a:gdLst>
                  <a:gd name="connsiteX0" fmla="*/ 0 w 12705"/>
                  <a:gd name="connsiteY0" fmla="*/ 0 h 46884"/>
                  <a:gd name="connsiteX1" fmla="*/ 0 w 12705"/>
                  <a:gd name="connsiteY1" fmla="*/ 46885 h 46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6884">
                    <a:moveTo>
                      <a:pt x="0" y="0"/>
                    </a:moveTo>
                    <a:lnTo>
                      <a:pt x="0" y="46885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8" name="Freihandform: Form 287">
                <a:extLst>
                  <a:ext uri="{FF2B5EF4-FFF2-40B4-BE49-F238E27FC236}">
                    <a16:creationId xmlns:a16="http://schemas.microsoft.com/office/drawing/2014/main" id="{E2405562-47B3-3631-67E7-E2BA56311F0D}"/>
                  </a:ext>
                </a:extLst>
              </p:cNvPr>
              <p:cNvSpPr/>
              <p:nvPr/>
            </p:nvSpPr>
            <p:spPr>
              <a:xfrm>
                <a:off x="1954254" y="4200952"/>
                <a:ext cx="12705" cy="46884"/>
              </a:xfrm>
              <a:custGeom>
                <a:avLst/>
                <a:gdLst>
                  <a:gd name="connsiteX0" fmla="*/ 0 w 12705"/>
                  <a:gd name="connsiteY0" fmla="*/ 0 h 46884"/>
                  <a:gd name="connsiteX1" fmla="*/ 0 w 12705"/>
                  <a:gd name="connsiteY1" fmla="*/ 46885 h 46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6884">
                    <a:moveTo>
                      <a:pt x="0" y="0"/>
                    </a:moveTo>
                    <a:lnTo>
                      <a:pt x="0" y="46885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9" name="Freihandform: Form 288">
                <a:extLst>
                  <a:ext uri="{FF2B5EF4-FFF2-40B4-BE49-F238E27FC236}">
                    <a16:creationId xmlns:a16="http://schemas.microsoft.com/office/drawing/2014/main" id="{D8E76405-98E4-3848-ECBF-D1303AA1DFC4}"/>
                  </a:ext>
                </a:extLst>
              </p:cNvPr>
              <p:cNvSpPr/>
              <p:nvPr/>
            </p:nvSpPr>
            <p:spPr>
              <a:xfrm>
                <a:off x="2137981" y="4200952"/>
                <a:ext cx="12705" cy="46884"/>
              </a:xfrm>
              <a:custGeom>
                <a:avLst/>
                <a:gdLst>
                  <a:gd name="connsiteX0" fmla="*/ 0 w 12705"/>
                  <a:gd name="connsiteY0" fmla="*/ 0 h 46884"/>
                  <a:gd name="connsiteX1" fmla="*/ 0 w 12705"/>
                  <a:gd name="connsiteY1" fmla="*/ 46885 h 46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6884">
                    <a:moveTo>
                      <a:pt x="0" y="0"/>
                    </a:moveTo>
                    <a:lnTo>
                      <a:pt x="0" y="46885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0" name="Freihandform: Form 289">
                <a:extLst>
                  <a:ext uri="{FF2B5EF4-FFF2-40B4-BE49-F238E27FC236}">
                    <a16:creationId xmlns:a16="http://schemas.microsoft.com/office/drawing/2014/main" id="{59DC0027-63D7-B7A6-6672-F2AC1CE02C29}"/>
                  </a:ext>
                </a:extLst>
              </p:cNvPr>
              <p:cNvSpPr/>
              <p:nvPr/>
            </p:nvSpPr>
            <p:spPr>
              <a:xfrm>
                <a:off x="2321708" y="4200952"/>
                <a:ext cx="12705" cy="46884"/>
              </a:xfrm>
              <a:custGeom>
                <a:avLst/>
                <a:gdLst>
                  <a:gd name="connsiteX0" fmla="*/ 0 w 12705"/>
                  <a:gd name="connsiteY0" fmla="*/ 0 h 46884"/>
                  <a:gd name="connsiteX1" fmla="*/ 0 w 12705"/>
                  <a:gd name="connsiteY1" fmla="*/ 46885 h 46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6884">
                    <a:moveTo>
                      <a:pt x="0" y="0"/>
                    </a:moveTo>
                    <a:lnTo>
                      <a:pt x="0" y="46885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1" name="Freihandform: Form 290">
                <a:extLst>
                  <a:ext uri="{FF2B5EF4-FFF2-40B4-BE49-F238E27FC236}">
                    <a16:creationId xmlns:a16="http://schemas.microsoft.com/office/drawing/2014/main" id="{6D80F58D-B7F9-8AAF-E252-CF1BACE259A1}"/>
                  </a:ext>
                </a:extLst>
              </p:cNvPr>
              <p:cNvSpPr/>
              <p:nvPr/>
            </p:nvSpPr>
            <p:spPr>
              <a:xfrm>
                <a:off x="2505435" y="4200952"/>
                <a:ext cx="12705" cy="46884"/>
              </a:xfrm>
              <a:custGeom>
                <a:avLst/>
                <a:gdLst>
                  <a:gd name="connsiteX0" fmla="*/ 0 w 12705"/>
                  <a:gd name="connsiteY0" fmla="*/ 0 h 46884"/>
                  <a:gd name="connsiteX1" fmla="*/ 0 w 12705"/>
                  <a:gd name="connsiteY1" fmla="*/ 46885 h 46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6884">
                    <a:moveTo>
                      <a:pt x="0" y="0"/>
                    </a:moveTo>
                    <a:lnTo>
                      <a:pt x="0" y="46885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2" name="Freihandform: Form 291">
                <a:extLst>
                  <a:ext uri="{FF2B5EF4-FFF2-40B4-BE49-F238E27FC236}">
                    <a16:creationId xmlns:a16="http://schemas.microsoft.com/office/drawing/2014/main" id="{62415AA5-29CB-CB7B-C5B5-E18998E598BC}"/>
                  </a:ext>
                </a:extLst>
              </p:cNvPr>
              <p:cNvSpPr/>
              <p:nvPr/>
            </p:nvSpPr>
            <p:spPr>
              <a:xfrm>
                <a:off x="2689290" y="4200952"/>
                <a:ext cx="12705" cy="46884"/>
              </a:xfrm>
              <a:custGeom>
                <a:avLst/>
                <a:gdLst>
                  <a:gd name="connsiteX0" fmla="*/ 0 w 12705"/>
                  <a:gd name="connsiteY0" fmla="*/ 0 h 46884"/>
                  <a:gd name="connsiteX1" fmla="*/ 0 w 12705"/>
                  <a:gd name="connsiteY1" fmla="*/ 46885 h 46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6884">
                    <a:moveTo>
                      <a:pt x="0" y="0"/>
                    </a:moveTo>
                    <a:lnTo>
                      <a:pt x="0" y="46885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3" name="Freihandform: Form 292">
                <a:extLst>
                  <a:ext uri="{FF2B5EF4-FFF2-40B4-BE49-F238E27FC236}">
                    <a16:creationId xmlns:a16="http://schemas.microsoft.com/office/drawing/2014/main" id="{3DB22FBE-49A9-CAB4-ABE8-3C820FC4C1E1}"/>
                  </a:ext>
                </a:extLst>
              </p:cNvPr>
              <p:cNvSpPr/>
              <p:nvPr/>
            </p:nvSpPr>
            <p:spPr>
              <a:xfrm>
                <a:off x="2873017" y="4200952"/>
                <a:ext cx="12705" cy="46884"/>
              </a:xfrm>
              <a:custGeom>
                <a:avLst/>
                <a:gdLst>
                  <a:gd name="connsiteX0" fmla="*/ 0 w 12705"/>
                  <a:gd name="connsiteY0" fmla="*/ 0 h 46884"/>
                  <a:gd name="connsiteX1" fmla="*/ 0 w 12705"/>
                  <a:gd name="connsiteY1" fmla="*/ 46885 h 46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6884">
                    <a:moveTo>
                      <a:pt x="0" y="0"/>
                    </a:moveTo>
                    <a:lnTo>
                      <a:pt x="0" y="46885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4" name="Freihandform: Form 293">
                <a:extLst>
                  <a:ext uri="{FF2B5EF4-FFF2-40B4-BE49-F238E27FC236}">
                    <a16:creationId xmlns:a16="http://schemas.microsoft.com/office/drawing/2014/main" id="{A01123A0-FE6D-CFF2-AA89-EAC9A9EDB999}"/>
                  </a:ext>
                </a:extLst>
              </p:cNvPr>
              <p:cNvSpPr/>
              <p:nvPr/>
            </p:nvSpPr>
            <p:spPr>
              <a:xfrm>
                <a:off x="3056744" y="4200952"/>
                <a:ext cx="12705" cy="46884"/>
              </a:xfrm>
              <a:custGeom>
                <a:avLst/>
                <a:gdLst>
                  <a:gd name="connsiteX0" fmla="*/ 0 w 12705"/>
                  <a:gd name="connsiteY0" fmla="*/ 0 h 46884"/>
                  <a:gd name="connsiteX1" fmla="*/ 0 w 12705"/>
                  <a:gd name="connsiteY1" fmla="*/ 46885 h 46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6884">
                    <a:moveTo>
                      <a:pt x="0" y="0"/>
                    </a:moveTo>
                    <a:lnTo>
                      <a:pt x="0" y="46885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5" name="Freihandform: Form 294">
                <a:extLst>
                  <a:ext uri="{FF2B5EF4-FFF2-40B4-BE49-F238E27FC236}">
                    <a16:creationId xmlns:a16="http://schemas.microsoft.com/office/drawing/2014/main" id="{DA5F21B9-D8EC-61EF-705D-782CA0018F59}"/>
                  </a:ext>
                </a:extLst>
              </p:cNvPr>
              <p:cNvSpPr/>
              <p:nvPr/>
            </p:nvSpPr>
            <p:spPr>
              <a:xfrm>
                <a:off x="3240471" y="4200952"/>
                <a:ext cx="12705" cy="46884"/>
              </a:xfrm>
              <a:custGeom>
                <a:avLst/>
                <a:gdLst>
                  <a:gd name="connsiteX0" fmla="*/ 0 w 12705"/>
                  <a:gd name="connsiteY0" fmla="*/ 0 h 46884"/>
                  <a:gd name="connsiteX1" fmla="*/ 0 w 12705"/>
                  <a:gd name="connsiteY1" fmla="*/ 46885 h 46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6884">
                    <a:moveTo>
                      <a:pt x="0" y="0"/>
                    </a:moveTo>
                    <a:lnTo>
                      <a:pt x="0" y="46885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6" name="Freihandform: Form 295">
                <a:extLst>
                  <a:ext uri="{FF2B5EF4-FFF2-40B4-BE49-F238E27FC236}">
                    <a16:creationId xmlns:a16="http://schemas.microsoft.com/office/drawing/2014/main" id="{146A2BE9-FC04-FD76-8737-ECB5148F5861}"/>
                  </a:ext>
                </a:extLst>
              </p:cNvPr>
              <p:cNvSpPr/>
              <p:nvPr/>
            </p:nvSpPr>
            <p:spPr>
              <a:xfrm>
                <a:off x="3424198" y="4200952"/>
                <a:ext cx="12705" cy="46884"/>
              </a:xfrm>
              <a:custGeom>
                <a:avLst/>
                <a:gdLst>
                  <a:gd name="connsiteX0" fmla="*/ 0 w 12705"/>
                  <a:gd name="connsiteY0" fmla="*/ 0 h 46884"/>
                  <a:gd name="connsiteX1" fmla="*/ 0 w 12705"/>
                  <a:gd name="connsiteY1" fmla="*/ 46885 h 46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6884">
                    <a:moveTo>
                      <a:pt x="0" y="0"/>
                    </a:moveTo>
                    <a:lnTo>
                      <a:pt x="0" y="46885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7" name="Freihandform: Form 296">
                <a:extLst>
                  <a:ext uri="{FF2B5EF4-FFF2-40B4-BE49-F238E27FC236}">
                    <a16:creationId xmlns:a16="http://schemas.microsoft.com/office/drawing/2014/main" id="{B44E0E46-FA8E-7213-AE77-8D7924C1E1AB}"/>
                  </a:ext>
                </a:extLst>
              </p:cNvPr>
              <p:cNvSpPr/>
              <p:nvPr/>
            </p:nvSpPr>
            <p:spPr>
              <a:xfrm>
                <a:off x="3607925" y="4200952"/>
                <a:ext cx="12705" cy="46884"/>
              </a:xfrm>
              <a:custGeom>
                <a:avLst/>
                <a:gdLst>
                  <a:gd name="connsiteX0" fmla="*/ 0 w 12705"/>
                  <a:gd name="connsiteY0" fmla="*/ 0 h 46884"/>
                  <a:gd name="connsiteX1" fmla="*/ 0 w 12705"/>
                  <a:gd name="connsiteY1" fmla="*/ 46885 h 46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6884">
                    <a:moveTo>
                      <a:pt x="0" y="0"/>
                    </a:moveTo>
                    <a:lnTo>
                      <a:pt x="0" y="46885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8" name="Freihandform: Form 297">
                <a:extLst>
                  <a:ext uri="{FF2B5EF4-FFF2-40B4-BE49-F238E27FC236}">
                    <a16:creationId xmlns:a16="http://schemas.microsoft.com/office/drawing/2014/main" id="{597C94D2-1D05-0FE3-A2B7-30D7D3E93AB8}"/>
                  </a:ext>
                </a:extLst>
              </p:cNvPr>
              <p:cNvSpPr/>
              <p:nvPr/>
            </p:nvSpPr>
            <p:spPr>
              <a:xfrm>
                <a:off x="3791652" y="4200952"/>
                <a:ext cx="12705" cy="46884"/>
              </a:xfrm>
              <a:custGeom>
                <a:avLst/>
                <a:gdLst>
                  <a:gd name="connsiteX0" fmla="*/ 0 w 12705"/>
                  <a:gd name="connsiteY0" fmla="*/ 0 h 46884"/>
                  <a:gd name="connsiteX1" fmla="*/ 0 w 12705"/>
                  <a:gd name="connsiteY1" fmla="*/ 46885 h 46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6884">
                    <a:moveTo>
                      <a:pt x="0" y="0"/>
                    </a:moveTo>
                    <a:lnTo>
                      <a:pt x="0" y="46885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9" name="Freihandform: Form 298">
                <a:extLst>
                  <a:ext uri="{FF2B5EF4-FFF2-40B4-BE49-F238E27FC236}">
                    <a16:creationId xmlns:a16="http://schemas.microsoft.com/office/drawing/2014/main" id="{AF48DF19-3BBB-B8E8-8679-5601D3FC4387}"/>
                  </a:ext>
                </a:extLst>
              </p:cNvPr>
              <p:cNvSpPr/>
              <p:nvPr/>
            </p:nvSpPr>
            <p:spPr>
              <a:xfrm>
                <a:off x="3975506" y="4200952"/>
                <a:ext cx="12705" cy="46884"/>
              </a:xfrm>
              <a:custGeom>
                <a:avLst/>
                <a:gdLst>
                  <a:gd name="connsiteX0" fmla="*/ 0 w 12705"/>
                  <a:gd name="connsiteY0" fmla="*/ 0 h 46884"/>
                  <a:gd name="connsiteX1" fmla="*/ 0 w 12705"/>
                  <a:gd name="connsiteY1" fmla="*/ 46885 h 46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6884">
                    <a:moveTo>
                      <a:pt x="0" y="0"/>
                    </a:moveTo>
                    <a:lnTo>
                      <a:pt x="0" y="46885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0" name="Freihandform: Form 299">
                <a:extLst>
                  <a:ext uri="{FF2B5EF4-FFF2-40B4-BE49-F238E27FC236}">
                    <a16:creationId xmlns:a16="http://schemas.microsoft.com/office/drawing/2014/main" id="{2D9A79F5-C19E-4CE3-79BF-42D0C0D03A15}"/>
                  </a:ext>
                </a:extLst>
              </p:cNvPr>
              <p:cNvSpPr/>
              <p:nvPr/>
            </p:nvSpPr>
            <p:spPr>
              <a:xfrm>
                <a:off x="4159233" y="4200952"/>
                <a:ext cx="12705" cy="46884"/>
              </a:xfrm>
              <a:custGeom>
                <a:avLst/>
                <a:gdLst>
                  <a:gd name="connsiteX0" fmla="*/ 0 w 12705"/>
                  <a:gd name="connsiteY0" fmla="*/ 0 h 46884"/>
                  <a:gd name="connsiteX1" fmla="*/ 0 w 12705"/>
                  <a:gd name="connsiteY1" fmla="*/ 46885 h 46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5" h="46884">
                    <a:moveTo>
                      <a:pt x="0" y="0"/>
                    </a:moveTo>
                    <a:lnTo>
                      <a:pt x="0" y="46885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635" name="Gruppieren 634">
            <a:extLst>
              <a:ext uri="{FF2B5EF4-FFF2-40B4-BE49-F238E27FC236}">
                <a16:creationId xmlns:a16="http://schemas.microsoft.com/office/drawing/2014/main" id="{F9F33B14-E2C6-778A-EF68-700DF0507AA3}"/>
              </a:ext>
            </a:extLst>
          </p:cNvPr>
          <p:cNvGrpSpPr/>
          <p:nvPr/>
        </p:nvGrpSpPr>
        <p:grpSpPr>
          <a:xfrm>
            <a:off x="5338000" y="2091496"/>
            <a:ext cx="3022484" cy="1893094"/>
            <a:chOff x="5338000" y="2091496"/>
            <a:chExt cx="3022484" cy="1893094"/>
          </a:xfrm>
        </p:grpSpPr>
        <p:grpSp>
          <p:nvGrpSpPr>
            <p:cNvPr id="303" name="Grafik 17">
              <a:extLst>
                <a:ext uri="{FF2B5EF4-FFF2-40B4-BE49-F238E27FC236}">
                  <a16:creationId xmlns:a16="http://schemas.microsoft.com/office/drawing/2014/main" id="{14EC90C1-DA69-D89F-A2A4-A52159AE8254}"/>
                </a:ext>
              </a:extLst>
            </p:cNvPr>
            <p:cNvGrpSpPr/>
            <p:nvPr/>
          </p:nvGrpSpPr>
          <p:grpSpPr>
            <a:xfrm>
              <a:off x="5344821" y="2099074"/>
              <a:ext cx="3000758" cy="1473094"/>
              <a:chOff x="5344821" y="2099074"/>
              <a:chExt cx="3000758" cy="1473094"/>
            </a:xfrm>
            <a:noFill/>
          </p:grpSpPr>
          <p:sp>
            <p:nvSpPr>
              <p:cNvPr id="304" name="Freihandform: Form 303">
                <a:extLst>
                  <a:ext uri="{FF2B5EF4-FFF2-40B4-BE49-F238E27FC236}">
                    <a16:creationId xmlns:a16="http://schemas.microsoft.com/office/drawing/2014/main" id="{6A1853DD-8C41-6E9B-5BDF-781665CFD425}"/>
                  </a:ext>
                </a:extLst>
              </p:cNvPr>
              <p:cNvSpPr/>
              <p:nvPr/>
            </p:nvSpPr>
            <p:spPr>
              <a:xfrm>
                <a:off x="5344821" y="2099074"/>
                <a:ext cx="3000758" cy="1452000"/>
              </a:xfrm>
              <a:custGeom>
                <a:avLst/>
                <a:gdLst>
                  <a:gd name="connsiteX0" fmla="*/ 0 w 3000758"/>
                  <a:gd name="connsiteY0" fmla="*/ 0 h 1452000"/>
                  <a:gd name="connsiteX1" fmla="*/ 23116 w 3000758"/>
                  <a:gd name="connsiteY1" fmla="*/ 0 h 1452000"/>
                  <a:gd name="connsiteX2" fmla="*/ 23116 w 3000758"/>
                  <a:gd name="connsiteY2" fmla="*/ 22484 h 1452000"/>
                  <a:gd name="connsiteX3" fmla="*/ 31958 w 3000758"/>
                  <a:gd name="connsiteY3" fmla="*/ 22484 h 1452000"/>
                  <a:gd name="connsiteX4" fmla="*/ 31958 w 3000758"/>
                  <a:gd name="connsiteY4" fmla="*/ 62653 h 1452000"/>
                  <a:gd name="connsiteX5" fmla="*/ 40168 w 3000758"/>
                  <a:gd name="connsiteY5" fmla="*/ 62653 h 1452000"/>
                  <a:gd name="connsiteX6" fmla="*/ 40168 w 3000758"/>
                  <a:gd name="connsiteY6" fmla="*/ 86526 h 1452000"/>
                  <a:gd name="connsiteX7" fmla="*/ 49642 w 3000758"/>
                  <a:gd name="connsiteY7" fmla="*/ 86526 h 1452000"/>
                  <a:gd name="connsiteX8" fmla="*/ 49642 w 3000758"/>
                  <a:gd name="connsiteY8" fmla="*/ 128716 h 1452000"/>
                  <a:gd name="connsiteX9" fmla="*/ 57853 w 3000758"/>
                  <a:gd name="connsiteY9" fmla="*/ 128716 h 1452000"/>
                  <a:gd name="connsiteX10" fmla="*/ 57853 w 3000758"/>
                  <a:gd name="connsiteY10" fmla="*/ 175705 h 1452000"/>
                  <a:gd name="connsiteX11" fmla="*/ 72758 w 3000758"/>
                  <a:gd name="connsiteY11" fmla="*/ 175705 h 1452000"/>
                  <a:gd name="connsiteX12" fmla="*/ 72758 w 3000758"/>
                  <a:gd name="connsiteY12" fmla="*/ 226737 h 1452000"/>
                  <a:gd name="connsiteX13" fmla="*/ 78821 w 3000758"/>
                  <a:gd name="connsiteY13" fmla="*/ 226737 h 1452000"/>
                  <a:gd name="connsiteX14" fmla="*/ 78821 w 3000758"/>
                  <a:gd name="connsiteY14" fmla="*/ 277768 h 1452000"/>
                  <a:gd name="connsiteX15" fmla="*/ 91074 w 3000758"/>
                  <a:gd name="connsiteY15" fmla="*/ 277768 h 1452000"/>
                  <a:gd name="connsiteX16" fmla="*/ 91074 w 3000758"/>
                  <a:gd name="connsiteY16" fmla="*/ 308337 h 1452000"/>
                  <a:gd name="connsiteX17" fmla="*/ 104716 w 3000758"/>
                  <a:gd name="connsiteY17" fmla="*/ 308337 h 1452000"/>
                  <a:gd name="connsiteX18" fmla="*/ 104716 w 3000758"/>
                  <a:gd name="connsiteY18" fmla="*/ 367579 h 1452000"/>
                  <a:gd name="connsiteX19" fmla="*/ 114189 w 3000758"/>
                  <a:gd name="connsiteY19" fmla="*/ 367579 h 1452000"/>
                  <a:gd name="connsiteX20" fmla="*/ 114189 w 3000758"/>
                  <a:gd name="connsiteY20" fmla="*/ 401558 h 1452000"/>
                  <a:gd name="connsiteX21" fmla="*/ 126442 w 3000758"/>
                  <a:gd name="connsiteY21" fmla="*/ 401558 h 1452000"/>
                  <a:gd name="connsiteX22" fmla="*/ 126442 w 3000758"/>
                  <a:gd name="connsiteY22" fmla="*/ 462063 h 1452000"/>
                  <a:gd name="connsiteX23" fmla="*/ 139326 w 3000758"/>
                  <a:gd name="connsiteY23" fmla="*/ 462063 h 1452000"/>
                  <a:gd name="connsiteX24" fmla="*/ 139326 w 3000758"/>
                  <a:gd name="connsiteY24" fmla="*/ 539621 h 1452000"/>
                  <a:gd name="connsiteX25" fmla="*/ 163832 w 3000758"/>
                  <a:gd name="connsiteY25" fmla="*/ 539621 h 1452000"/>
                  <a:gd name="connsiteX26" fmla="*/ 163832 w 3000758"/>
                  <a:gd name="connsiteY26" fmla="*/ 617811 h 1452000"/>
                  <a:gd name="connsiteX27" fmla="*/ 172674 w 3000758"/>
                  <a:gd name="connsiteY27" fmla="*/ 617811 h 1452000"/>
                  <a:gd name="connsiteX28" fmla="*/ 172674 w 3000758"/>
                  <a:gd name="connsiteY28" fmla="*/ 640926 h 1452000"/>
                  <a:gd name="connsiteX29" fmla="*/ 188968 w 3000758"/>
                  <a:gd name="connsiteY29" fmla="*/ 640926 h 1452000"/>
                  <a:gd name="connsiteX30" fmla="*/ 188968 w 3000758"/>
                  <a:gd name="connsiteY30" fmla="*/ 687916 h 1452000"/>
                  <a:gd name="connsiteX31" fmla="*/ 195790 w 3000758"/>
                  <a:gd name="connsiteY31" fmla="*/ 687916 h 1452000"/>
                  <a:gd name="connsiteX32" fmla="*/ 195790 w 3000758"/>
                  <a:gd name="connsiteY32" fmla="*/ 709011 h 1452000"/>
                  <a:gd name="connsiteX33" fmla="*/ 215495 w 3000758"/>
                  <a:gd name="connsiteY33" fmla="*/ 709011 h 1452000"/>
                  <a:gd name="connsiteX34" fmla="*/ 215495 w 3000758"/>
                  <a:gd name="connsiteY34" fmla="*/ 742990 h 1452000"/>
                  <a:gd name="connsiteX35" fmla="*/ 229768 w 3000758"/>
                  <a:gd name="connsiteY35" fmla="*/ 742990 h 1452000"/>
                  <a:gd name="connsiteX36" fmla="*/ 229768 w 3000758"/>
                  <a:gd name="connsiteY36" fmla="*/ 810316 h 1452000"/>
                  <a:gd name="connsiteX37" fmla="*/ 248842 w 3000758"/>
                  <a:gd name="connsiteY37" fmla="*/ 810316 h 1452000"/>
                  <a:gd name="connsiteX38" fmla="*/ 248842 w 3000758"/>
                  <a:gd name="connsiteY38" fmla="*/ 919832 h 1452000"/>
                  <a:gd name="connsiteX39" fmla="*/ 264505 w 3000758"/>
                  <a:gd name="connsiteY39" fmla="*/ 919832 h 1452000"/>
                  <a:gd name="connsiteX40" fmla="*/ 264505 w 3000758"/>
                  <a:gd name="connsiteY40" fmla="*/ 949768 h 1452000"/>
                  <a:gd name="connsiteX41" fmla="*/ 279411 w 3000758"/>
                  <a:gd name="connsiteY41" fmla="*/ 949768 h 1452000"/>
                  <a:gd name="connsiteX42" fmla="*/ 279411 w 3000758"/>
                  <a:gd name="connsiteY42" fmla="*/ 972884 h 1452000"/>
                  <a:gd name="connsiteX43" fmla="*/ 305937 w 3000758"/>
                  <a:gd name="connsiteY43" fmla="*/ 972884 h 1452000"/>
                  <a:gd name="connsiteX44" fmla="*/ 305937 w 3000758"/>
                  <a:gd name="connsiteY44" fmla="*/ 1015705 h 1452000"/>
                  <a:gd name="connsiteX45" fmla="*/ 343326 w 3000758"/>
                  <a:gd name="connsiteY45" fmla="*/ 1015705 h 1452000"/>
                  <a:gd name="connsiteX46" fmla="*/ 343326 w 3000758"/>
                  <a:gd name="connsiteY46" fmla="*/ 1055116 h 1452000"/>
                  <a:gd name="connsiteX47" fmla="*/ 353558 w 3000758"/>
                  <a:gd name="connsiteY47" fmla="*/ 1055116 h 1452000"/>
                  <a:gd name="connsiteX48" fmla="*/ 353558 w 3000758"/>
                  <a:gd name="connsiteY48" fmla="*/ 1109558 h 1452000"/>
                  <a:gd name="connsiteX49" fmla="*/ 419495 w 3000758"/>
                  <a:gd name="connsiteY49" fmla="*/ 1109558 h 1452000"/>
                  <a:gd name="connsiteX50" fmla="*/ 419495 w 3000758"/>
                  <a:gd name="connsiteY50" fmla="*/ 1133432 h 1452000"/>
                  <a:gd name="connsiteX51" fmla="*/ 480000 w 3000758"/>
                  <a:gd name="connsiteY51" fmla="*/ 1133432 h 1452000"/>
                  <a:gd name="connsiteX52" fmla="*/ 480000 w 3000758"/>
                  <a:gd name="connsiteY52" fmla="*/ 1155916 h 1452000"/>
                  <a:gd name="connsiteX53" fmla="*/ 526990 w 3000758"/>
                  <a:gd name="connsiteY53" fmla="*/ 1155916 h 1452000"/>
                  <a:gd name="connsiteX54" fmla="*/ 526990 w 3000758"/>
                  <a:gd name="connsiteY54" fmla="*/ 1180421 h 1452000"/>
                  <a:gd name="connsiteX55" fmla="*/ 545305 w 3000758"/>
                  <a:gd name="connsiteY55" fmla="*/ 1180421 h 1452000"/>
                  <a:gd name="connsiteX56" fmla="*/ 545305 w 3000758"/>
                  <a:gd name="connsiteY56" fmla="*/ 1201516 h 1452000"/>
                  <a:gd name="connsiteX57" fmla="*/ 630316 w 3000758"/>
                  <a:gd name="connsiteY57" fmla="*/ 1201516 h 1452000"/>
                  <a:gd name="connsiteX58" fmla="*/ 630316 w 3000758"/>
                  <a:gd name="connsiteY58" fmla="*/ 1241684 h 1452000"/>
                  <a:gd name="connsiteX59" fmla="*/ 643958 w 3000758"/>
                  <a:gd name="connsiteY59" fmla="*/ 1241684 h 1452000"/>
                  <a:gd name="connsiteX60" fmla="*/ 643958 w 3000758"/>
                  <a:gd name="connsiteY60" fmla="*/ 1302190 h 1452000"/>
                  <a:gd name="connsiteX61" fmla="*/ 699790 w 3000758"/>
                  <a:gd name="connsiteY61" fmla="*/ 1302190 h 1452000"/>
                  <a:gd name="connsiteX62" fmla="*/ 699790 w 3000758"/>
                  <a:gd name="connsiteY62" fmla="*/ 1330105 h 1452000"/>
                  <a:gd name="connsiteX63" fmla="*/ 781390 w 3000758"/>
                  <a:gd name="connsiteY63" fmla="*/ 1330105 h 1452000"/>
                  <a:gd name="connsiteX64" fmla="*/ 781390 w 3000758"/>
                  <a:gd name="connsiteY64" fmla="*/ 1360042 h 1452000"/>
                  <a:gd name="connsiteX65" fmla="*/ 884842 w 3000758"/>
                  <a:gd name="connsiteY65" fmla="*/ 1360042 h 1452000"/>
                  <a:gd name="connsiteX66" fmla="*/ 884842 w 3000758"/>
                  <a:gd name="connsiteY66" fmla="*/ 1383916 h 1452000"/>
                  <a:gd name="connsiteX67" fmla="*/ 1150863 w 3000758"/>
                  <a:gd name="connsiteY67" fmla="*/ 1383916 h 1452000"/>
                  <a:gd name="connsiteX68" fmla="*/ 1150863 w 3000758"/>
                  <a:gd name="connsiteY68" fmla="*/ 1410442 h 1452000"/>
                  <a:gd name="connsiteX69" fmla="*/ 1970021 w 3000758"/>
                  <a:gd name="connsiteY69" fmla="*/ 1410442 h 1452000"/>
                  <a:gd name="connsiteX70" fmla="*/ 1970021 w 3000758"/>
                  <a:gd name="connsiteY70" fmla="*/ 1452000 h 1452000"/>
                  <a:gd name="connsiteX71" fmla="*/ 3000758 w 3000758"/>
                  <a:gd name="connsiteY71" fmla="*/ 1452000 h 1452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</a:cxnLst>
                <a:rect l="l" t="t" r="r" b="b"/>
                <a:pathLst>
                  <a:path w="3000758" h="1452000">
                    <a:moveTo>
                      <a:pt x="0" y="0"/>
                    </a:moveTo>
                    <a:lnTo>
                      <a:pt x="23116" y="0"/>
                    </a:lnTo>
                    <a:lnTo>
                      <a:pt x="23116" y="22484"/>
                    </a:lnTo>
                    <a:lnTo>
                      <a:pt x="31958" y="22484"/>
                    </a:lnTo>
                    <a:lnTo>
                      <a:pt x="31958" y="62653"/>
                    </a:lnTo>
                    <a:lnTo>
                      <a:pt x="40168" y="62653"/>
                    </a:lnTo>
                    <a:lnTo>
                      <a:pt x="40168" y="86526"/>
                    </a:lnTo>
                    <a:lnTo>
                      <a:pt x="49642" y="86526"/>
                    </a:lnTo>
                    <a:lnTo>
                      <a:pt x="49642" y="128716"/>
                    </a:lnTo>
                    <a:lnTo>
                      <a:pt x="57853" y="128716"/>
                    </a:lnTo>
                    <a:lnTo>
                      <a:pt x="57853" y="175705"/>
                    </a:lnTo>
                    <a:lnTo>
                      <a:pt x="72758" y="175705"/>
                    </a:lnTo>
                    <a:lnTo>
                      <a:pt x="72758" y="226737"/>
                    </a:lnTo>
                    <a:lnTo>
                      <a:pt x="78821" y="226737"/>
                    </a:lnTo>
                    <a:lnTo>
                      <a:pt x="78821" y="277768"/>
                    </a:lnTo>
                    <a:lnTo>
                      <a:pt x="91074" y="277768"/>
                    </a:lnTo>
                    <a:lnTo>
                      <a:pt x="91074" y="308337"/>
                    </a:lnTo>
                    <a:lnTo>
                      <a:pt x="104716" y="308337"/>
                    </a:lnTo>
                    <a:lnTo>
                      <a:pt x="104716" y="367579"/>
                    </a:lnTo>
                    <a:lnTo>
                      <a:pt x="114189" y="367579"/>
                    </a:lnTo>
                    <a:lnTo>
                      <a:pt x="114189" y="401558"/>
                    </a:lnTo>
                    <a:lnTo>
                      <a:pt x="126442" y="401558"/>
                    </a:lnTo>
                    <a:lnTo>
                      <a:pt x="126442" y="462063"/>
                    </a:lnTo>
                    <a:lnTo>
                      <a:pt x="139326" y="462063"/>
                    </a:lnTo>
                    <a:lnTo>
                      <a:pt x="139326" y="539621"/>
                    </a:lnTo>
                    <a:lnTo>
                      <a:pt x="163832" y="539621"/>
                    </a:lnTo>
                    <a:lnTo>
                      <a:pt x="163832" y="617811"/>
                    </a:lnTo>
                    <a:lnTo>
                      <a:pt x="172674" y="617811"/>
                    </a:lnTo>
                    <a:lnTo>
                      <a:pt x="172674" y="640926"/>
                    </a:lnTo>
                    <a:lnTo>
                      <a:pt x="188968" y="640926"/>
                    </a:lnTo>
                    <a:lnTo>
                      <a:pt x="188968" y="687916"/>
                    </a:lnTo>
                    <a:lnTo>
                      <a:pt x="195790" y="687916"/>
                    </a:lnTo>
                    <a:lnTo>
                      <a:pt x="195790" y="709011"/>
                    </a:lnTo>
                    <a:lnTo>
                      <a:pt x="215495" y="709011"/>
                    </a:lnTo>
                    <a:lnTo>
                      <a:pt x="215495" y="742990"/>
                    </a:lnTo>
                    <a:lnTo>
                      <a:pt x="229768" y="742990"/>
                    </a:lnTo>
                    <a:lnTo>
                      <a:pt x="229768" y="810316"/>
                    </a:lnTo>
                    <a:lnTo>
                      <a:pt x="248842" y="810316"/>
                    </a:lnTo>
                    <a:lnTo>
                      <a:pt x="248842" y="919832"/>
                    </a:lnTo>
                    <a:lnTo>
                      <a:pt x="264505" y="919832"/>
                    </a:lnTo>
                    <a:lnTo>
                      <a:pt x="264505" y="949768"/>
                    </a:lnTo>
                    <a:lnTo>
                      <a:pt x="279411" y="949768"/>
                    </a:lnTo>
                    <a:lnTo>
                      <a:pt x="279411" y="972884"/>
                    </a:lnTo>
                    <a:lnTo>
                      <a:pt x="305937" y="972884"/>
                    </a:lnTo>
                    <a:lnTo>
                      <a:pt x="305937" y="1015705"/>
                    </a:lnTo>
                    <a:lnTo>
                      <a:pt x="343326" y="1015705"/>
                    </a:lnTo>
                    <a:lnTo>
                      <a:pt x="343326" y="1055116"/>
                    </a:lnTo>
                    <a:lnTo>
                      <a:pt x="353558" y="1055116"/>
                    </a:lnTo>
                    <a:lnTo>
                      <a:pt x="353558" y="1109558"/>
                    </a:lnTo>
                    <a:lnTo>
                      <a:pt x="419495" y="1109558"/>
                    </a:lnTo>
                    <a:lnTo>
                      <a:pt x="419495" y="1133432"/>
                    </a:lnTo>
                    <a:lnTo>
                      <a:pt x="480000" y="1133432"/>
                    </a:lnTo>
                    <a:cubicBezTo>
                      <a:pt x="480000" y="1133432"/>
                      <a:pt x="475958" y="1155916"/>
                      <a:pt x="480000" y="1155916"/>
                    </a:cubicBezTo>
                    <a:lnTo>
                      <a:pt x="526990" y="1155916"/>
                    </a:lnTo>
                    <a:lnTo>
                      <a:pt x="526990" y="1180421"/>
                    </a:lnTo>
                    <a:lnTo>
                      <a:pt x="545305" y="1180421"/>
                    </a:lnTo>
                    <a:lnTo>
                      <a:pt x="545305" y="1201516"/>
                    </a:lnTo>
                    <a:lnTo>
                      <a:pt x="630316" y="1201516"/>
                    </a:lnTo>
                    <a:lnTo>
                      <a:pt x="630316" y="1241684"/>
                    </a:lnTo>
                    <a:lnTo>
                      <a:pt x="643958" y="1241684"/>
                    </a:lnTo>
                    <a:lnTo>
                      <a:pt x="643958" y="1302190"/>
                    </a:lnTo>
                    <a:lnTo>
                      <a:pt x="699790" y="1302190"/>
                    </a:lnTo>
                    <a:lnTo>
                      <a:pt x="699790" y="1330105"/>
                    </a:lnTo>
                    <a:lnTo>
                      <a:pt x="781390" y="1330105"/>
                    </a:lnTo>
                    <a:lnTo>
                      <a:pt x="781390" y="1360042"/>
                    </a:lnTo>
                    <a:lnTo>
                      <a:pt x="884842" y="1360042"/>
                    </a:lnTo>
                    <a:lnTo>
                      <a:pt x="884842" y="1383916"/>
                    </a:lnTo>
                    <a:lnTo>
                      <a:pt x="1150863" y="1383916"/>
                    </a:lnTo>
                    <a:lnTo>
                      <a:pt x="1150863" y="1410442"/>
                    </a:lnTo>
                    <a:lnTo>
                      <a:pt x="1970021" y="1410442"/>
                    </a:lnTo>
                    <a:lnTo>
                      <a:pt x="1970021" y="1452000"/>
                    </a:lnTo>
                    <a:lnTo>
                      <a:pt x="3000758" y="1452000"/>
                    </a:lnTo>
                  </a:path>
                </a:pathLst>
              </a:custGeom>
              <a:noFill/>
              <a:ln w="12622" cap="flat">
                <a:solidFill>
                  <a:srgbClr val="0460A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305" name="Grafik 17">
                <a:extLst>
                  <a:ext uri="{FF2B5EF4-FFF2-40B4-BE49-F238E27FC236}">
                    <a16:creationId xmlns:a16="http://schemas.microsoft.com/office/drawing/2014/main" id="{F9EE1964-00C1-5AE5-B21F-5EEBBEC013CE}"/>
                  </a:ext>
                </a:extLst>
              </p:cNvPr>
              <p:cNvGrpSpPr/>
              <p:nvPr/>
            </p:nvGrpSpPr>
            <p:grpSpPr>
              <a:xfrm>
                <a:off x="8160779" y="3528969"/>
                <a:ext cx="42947" cy="42947"/>
                <a:chOff x="8160779" y="3528969"/>
                <a:chExt cx="42947" cy="42947"/>
              </a:xfrm>
            </p:grpSpPr>
            <p:sp>
              <p:nvSpPr>
                <p:cNvPr id="306" name="Freihandform: Form 305">
                  <a:extLst>
                    <a:ext uri="{FF2B5EF4-FFF2-40B4-BE49-F238E27FC236}">
                      <a16:creationId xmlns:a16="http://schemas.microsoft.com/office/drawing/2014/main" id="{BA002FA1-7048-4824-0D8A-E830DAB5D24E}"/>
                    </a:ext>
                  </a:extLst>
                </p:cNvPr>
                <p:cNvSpPr/>
                <p:nvPr/>
              </p:nvSpPr>
              <p:spPr>
                <a:xfrm>
                  <a:off x="8182253" y="3528969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0460A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07" name="Freihandform: Form 306">
                  <a:extLst>
                    <a:ext uri="{FF2B5EF4-FFF2-40B4-BE49-F238E27FC236}">
                      <a16:creationId xmlns:a16="http://schemas.microsoft.com/office/drawing/2014/main" id="{7DEDBD0D-4BFC-05BE-DCFF-587382302E70}"/>
                    </a:ext>
                  </a:extLst>
                </p:cNvPr>
                <p:cNvSpPr/>
                <p:nvPr/>
              </p:nvSpPr>
              <p:spPr>
                <a:xfrm>
                  <a:off x="8160779" y="3550443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0460A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08" name="Grafik 17">
                <a:extLst>
                  <a:ext uri="{FF2B5EF4-FFF2-40B4-BE49-F238E27FC236}">
                    <a16:creationId xmlns:a16="http://schemas.microsoft.com/office/drawing/2014/main" id="{B19C15CA-86FC-9EA6-297A-148558C6C9E6}"/>
                  </a:ext>
                </a:extLst>
              </p:cNvPr>
              <p:cNvGrpSpPr/>
              <p:nvPr/>
            </p:nvGrpSpPr>
            <p:grpSpPr>
              <a:xfrm>
                <a:off x="8284695" y="3529222"/>
                <a:ext cx="43073" cy="42947"/>
                <a:chOff x="8284695" y="3529222"/>
                <a:chExt cx="43073" cy="42947"/>
              </a:xfrm>
            </p:grpSpPr>
            <p:sp>
              <p:nvSpPr>
                <p:cNvPr id="309" name="Freihandform: Form 308">
                  <a:extLst>
                    <a:ext uri="{FF2B5EF4-FFF2-40B4-BE49-F238E27FC236}">
                      <a16:creationId xmlns:a16="http://schemas.microsoft.com/office/drawing/2014/main" id="{C76B3358-94DD-02DC-A3BB-B7D2C9F9C631}"/>
                    </a:ext>
                  </a:extLst>
                </p:cNvPr>
                <p:cNvSpPr/>
                <p:nvPr/>
              </p:nvSpPr>
              <p:spPr>
                <a:xfrm>
                  <a:off x="8306169" y="3529222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0460A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10" name="Freihandform: Form 309">
                  <a:extLst>
                    <a:ext uri="{FF2B5EF4-FFF2-40B4-BE49-F238E27FC236}">
                      <a16:creationId xmlns:a16="http://schemas.microsoft.com/office/drawing/2014/main" id="{4F1F55F0-5E96-0980-F46A-9F454789DC6A}"/>
                    </a:ext>
                  </a:extLst>
                </p:cNvPr>
                <p:cNvSpPr/>
                <p:nvPr/>
              </p:nvSpPr>
              <p:spPr>
                <a:xfrm>
                  <a:off x="8284695" y="3550696"/>
                  <a:ext cx="43073" cy="12631"/>
                </a:xfrm>
                <a:custGeom>
                  <a:avLst/>
                  <a:gdLst>
                    <a:gd name="connsiteX0" fmla="*/ 43074 w 43073"/>
                    <a:gd name="connsiteY0" fmla="*/ 0 h 12631"/>
                    <a:gd name="connsiteX1" fmla="*/ 0 w 43073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073" h="12631">
                      <a:moveTo>
                        <a:pt x="43074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0460A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11" name="Grafik 17">
                <a:extLst>
                  <a:ext uri="{FF2B5EF4-FFF2-40B4-BE49-F238E27FC236}">
                    <a16:creationId xmlns:a16="http://schemas.microsoft.com/office/drawing/2014/main" id="{0EF2FE51-44BD-471A-3FB1-2D6447225BCB}"/>
                  </a:ext>
                </a:extLst>
              </p:cNvPr>
              <p:cNvGrpSpPr/>
              <p:nvPr/>
            </p:nvGrpSpPr>
            <p:grpSpPr>
              <a:xfrm>
                <a:off x="7730674" y="3529222"/>
                <a:ext cx="42947" cy="42947"/>
                <a:chOff x="7730674" y="3529222"/>
                <a:chExt cx="42947" cy="42947"/>
              </a:xfrm>
            </p:grpSpPr>
            <p:sp>
              <p:nvSpPr>
                <p:cNvPr id="312" name="Freihandform: Form 311">
                  <a:extLst>
                    <a:ext uri="{FF2B5EF4-FFF2-40B4-BE49-F238E27FC236}">
                      <a16:creationId xmlns:a16="http://schemas.microsoft.com/office/drawing/2014/main" id="{D24D966E-4E7A-8FDB-1357-BFEC32C20891}"/>
                    </a:ext>
                  </a:extLst>
                </p:cNvPr>
                <p:cNvSpPr/>
                <p:nvPr/>
              </p:nvSpPr>
              <p:spPr>
                <a:xfrm>
                  <a:off x="7752147" y="3529222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0460A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13" name="Freihandform: Form 312">
                  <a:extLst>
                    <a:ext uri="{FF2B5EF4-FFF2-40B4-BE49-F238E27FC236}">
                      <a16:creationId xmlns:a16="http://schemas.microsoft.com/office/drawing/2014/main" id="{94815107-C92E-E02A-9AF2-C1A13E293DAB}"/>
                    </a:ext>
                  </a:extLst>
                </p:cNvPr>
                <p:cNvSpPr/>
                <p:nvPr/>
              </p:nvSpPr>
              <p:spPr>
                <a:xfrm>
                  <a:off x="7730674" y="3550696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0460A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14" name="Grafik 17">
                <a:extLst>
                  <a:ext uri="{FF2B5EF4-FFF2-40B4-BE49-F238E27FC236}">
                    <a16:creationId xmlns:a16="http://schemas.microsoft.com/office/drawing/2014/main" id="{D9283230-D325-555A-CA0E-4AB9F66457CB}"/>
                  </a:ext>
                </a:extLst>
              </p:cNvPr>
              <p:cNvGrpSpPr/>
              <p:nvPr/>
            </p:nvGrpSpPr>
            <p:grpSpPr>
              <a:xfrm>
                <a:off x="7627095" y="3529222"/>
                <a:ext cx="42947" cy="42947"/>
                <a:chOff x="7627095" y="3529222"/>
                <a:chExt cx="42947" cy="42947"/>
              </a:xfrm>
            </p:grpSpPr>
            <p:sp>
              <p:nvSpPr>
                <p:cNvPr id="315" name="Freihandform: Form 314">
                  <a:extLst>
                    <a:ext uri="{FF2B5EF4-FFF2-40B4-BE49-F238E27FC236}">
                      <a16:creationId xmlns:a16="http://schemas.microsoft.com/office/drawing/2014/main" id="{D5446603-DDF4-305F-CEAB-330F185F405C}"/>
                    </a:ext>
                  </a:extLst>
                </p:cNvPr>
                <p:cNvSpPr/>
                <p:nvPr/>
              </p:nvSpPr>
              <p:spPr>
                <a:xfrm>
                  <a:off x="7648568" y="3529222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0460A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16" name="Freihandform: Form 315">
                  <a:extLst>
                    <a:ext uri="{FF2B5EF4-FFF2-40B4-BE49-F238E27FC236}">
                      <a16:creationId xmlns:a16="http://schemas.microsoft.com/office/drawing/2014/main" id="{F93F83CB-688E-F4CD-C050-78CAA066E7D2}"/>
                    </a:ext>
                  </a:extLst>
                </p:cNvPr>
                <p:cNvSpPr/>
                <p:nvPr/>
              </p:nvSpPr>
              <p:spPr>
                <a:xfrm>
                  <a:off x="7627095" y="3550696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0460A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17" name="Grafik 17">
                <a:extLst>
                  <a:ext uri="{FF2B5EF4-FFF2-40B4-BE49-F238E27FC236}">
                    <a16:creationId xmlns:a16="http://schemas.microsoft.com/office/drawing/2014/main" id="{394C7FED-0340-A50B-108D-5C7C22441DAD}"/>
                  </a:ext>
                </a:extLst>
              </p:cNvPr>
              <p:cNvGrpSpPr/>
              <p:nvPr/>
            </p:nvGrpSpPr>
            <p:grpSpPr>
              <a:xfrm>
                <a:off x="7107558" y="3487790"/>
                <a:ext cx="42947" cy="42947"/>
                <a:chOff x="7107558" y="3487790"/>
                <a:chExt cx="42947" cy="42947"/>
              </a:xfrm>
            </p:grpSpPr>
            <p:sp>
              <p:nvSpPr>
                <p:cNvPr id="318" name="Freihandform: Form 317">
                  <a:extLst>
                    <a:ext uri="{FF2B5EF4-FFF2-40B4-BE49-F238E27FC236}">
                      <a16:creationId xmlns:a16="http://schemas.microsoft.com/office/drawing/2014/main" id="{390211AC-D464-1EEA-A87C-C5065756F5BC}"/>
                    </a:ext>
                  </a:extLst>
                </p:cNvPr>
                <p:cNvSpPr/>
                <p:nvPr/>
              </p:nvSpPr>
              <p:spPr>
                <a:xfrm>
                  <a:off x="7129032" y="3487790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0460A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19" name="Freihandform: Form 318">
                  <a:extLst>
                    <a:ext uri="{FF2B5EF4-FFF2-40B4-BE49-F238E27FC236}">
                      <a16:creationId xmlns:a16="http://schemas.microsoft.com/office/drawing/2014/main" id="{A66697AE-F4F0-8937-5A89-8D82927A21E8}"/>
                    </a:ext>
                  </a:extLst>
                </p:cNvPr>
                <p:cNvSpPr/>
                <p:nvPr/>
              </p:nvSpPr>
              <p:spPr>
                <a:xfrm>
                  <a:off x="7107558" y="3509264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0460A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20" name="Grafik 17">
                <a:extLst>
                  <a:ext uri="{FF2B5EF4-FFF2-40B4-BE49-F238E27FC236}">
                    <a16:creationId xmlns:a16="http://schemas.microsoft.com/office/drawing/2014/main" id="{3DEDF8D7-8F4A-AB50-F4D0-CE9E25BD9CE1}"/>
                  </a:ext>
                </a:extLst>
              </p:cNvPr>
              <p:cNvGrpSpPr/>
              <p:nvPr/>
            </p:nvGrpSpPr>
            <p:grpSpPr>
              <a:xfrm>
                <a:off x="7047811" y="3487790"/>
                <a:ext cx="42947" cy="42947"/>
                <a:chOff x="7047811" y="3487790"/>
                <a:chExt cx="42947" cy="42947"/>
              </a:xfrm>
            </p:grpSpPr>
            <p:sp>
              <p:nvSpPr>
                <p:cNvPr id="321" name="Freihandform: Form 320">
                  <a:extLst>
                    <a:ext uri="{FF2B5EF4-FFF2-40B4-BE49-F238E27FC236}">
                      <a16:creationId xmlns:a16="http://schemas.microsoft.com/office/drawing/2014/main" id="{97203DAC-15C8-D320-2BBD-ED4C821ACAA2}"/>
                    </a:ext>
                  </a:extLst>
                </p:cNvPr>
                <p:cNvSpPr/>
                <p:nvPr/>
              </p:nvSpPr>
              <p:spPr>
                <a:xfrm>
                  <a:off x="7069284" y="3487790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0460A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22" name="Freihandform: Form 321">
                  <a:extLst>
                    <a:ext uri="{FF2B5EF4-FFF2-40B4-BE49-F238E27FC236}">
                      <a16:creationId xmlns:a16="http://schemas.microsoft.com/office/drawing/2014/main" id="{FB66A0AC-BDB4-9417-1BD4-D23F4785BAE1}"/>
                    </a:ext>
                  </a:extLst>
                </p:cNvPr>
                <p:cNvSpPr/>
                <p:nvPr/>
              </p:nvSpPr>
              <p:spPr>
                <a:xfrm>
                  <a:off x="7047811" y="3509264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0460A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23" name="Grafik 17">
                <a:extLst>
                  <a:ext uri="{FF2B5EF4-FFF2-40B4-BE49-F238E27FC236}">
                    <a16:creationId xmlns:a16="http://schemas.microsoft.com/office/drawing/2014/main" id="{995DE438-7237-20B7-5B12-A36DC7DA11C7}"/>
                  </a:ext>
                </a:extLst>
              </p:cNvPr>
              <p:cNvGrpSpPr/>
              <p:nvPr/>
            </p:nvGrpSpPr>
            <p:grpSpPr>
              <a:xfrm>
                <a:off x="6820947" y="3487790"/>
                <a:ext cx="42947" cy="42947"/>
                <a:chOff x="6820947" y="3487790"/>
                <a:chExt cx="42947" cy="42947"/>
              </a:xfrm>
            </p:grpSpPr>
            <p:sp>
              <p:nvSpPr>
                <p:cNvPr id="324" name="Freihandform: Form 323">
                  <a:extLst>
                    <a:ext uri="{FF2B5EF4-FFF2-40B4-BE49-F238E27FC236}">
                      <a16:creationId xmlns:a16="http://schemas.microsoft.com/office/drawing/2014/main" id="{78C0E286-7440-C691-F2B0-7D7067C0512B}"/>
                    </a:ext>
                  </a:extLst>
                </p:cNvPr>
                <p:cNvSpPr/>
                <p:nvPr/>
              </p:nvSpPr>
              <p:spPr>
                <a:xfrm>
                  <a:off x="6842421" y="3487790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0460A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25" name="Freihandform: Form 324">
                  <a:extLst>
                    <a:ext uri="{FF2B5EF4-FFF2-40B4-BE49-F238E27FC236}">
                      <a16:creationId xmlns:a16="http://schemas.microsoft.com/office/drawing/2014/main" id="{0AB5C953-5F58-B313-3C37-03EF659ED4CA}"/>
                    </a:ext>
                  </a:extLst>
                </p:cNvPr>
                <p:cNvSpPr/>
                <p:nvPr/>
              </p:nvSpPr>
              <p:spPr>
                <a:xfrm>
                  <a:off x="6820947" y="3509264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0460A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26" name="Grafik 17">
                <a:extLst>
                  <a:ext uri="{FF2B5EF4-FFF2-40B4-BE49-F238E27FC236}">
                    <a16:creationId xmlns:a16="http://schemas.microsoft.com/office/drawing/2014/main" id="{F5DBF2BA-8B6F-CA86-0CB8-3DC88527F355}"/>
                  </a:ext>
                </a:extLst>
              </p:cNvPr>
              <p:cNvGrpSpPr/>
              <p:nvPr/>
            </p:nvGrpSpPr>
            <p:grpSpPr>
              <a:xfrm>
                <a:off x="6724695" y="3487790"/>
                <a:ext cx="42947" cy="42947"/>
                <a:chOff x="6724695" y="3487790"/>
                <a:chExt cx="42947" cy="42947"/>
              </a:xfrm>
            </p:grpSpPr>
            <p:sp>
              <p:nvSpPr>
                <p:cNvPr id="327" name="Freihandform: Form 326">
                  <a:extLst>
                    <a:ext uri="{FF2B5EF4-FFF2-40B4-BE49-F238E27FC236}">
                      <a16:creationId xmlns:a16="http://schemas.microsoft.com/office/drawing/2014/main" id="{4CA0F4A9-83EC-25E1-0841-88D9EDFB2363}"/>
                    </a:ext>
                  </a:extLst>
                </p:cNvPr>
                <p:cNvSpPr/>
                <p:nvPr/>
              </p:nvSpPr>
              <p:spPr>
                <a:xfrm>
                  <a:off x="6746168" y="3487790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0460A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28" name="Freihandform: Form 327">
                  <a:extLst>
                    <a:ext uri="{FF2B5EF4-FFF2-40B4-BE49-F238E27FC236}">
                      <a16:creationId xmlns:a16="http://schemas.microsoft.com/office/drawing/2014/main" id="{14597605-AA26-94D5-E110-AA6927214BD9}"/>
                    </a:ext>
                  </a:extLst>
                </p:cNvPr>
                <p:cNvSpPr/>
                <p:nvPr/>
              </p:nvSpPr>
              <p:spPr>
                <a:xfrm>
                  <a:off x="6724695" y="3509264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0460A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29" name="Grafik 17">
                <a:extLst>
                  <a:ext uri="{FF2B5EF4-FFF2-40B4-BE49-F238E27FC236}">
                    <a16:creationId xmlns:a16="http://schemas.microsoft.com/office/drawing/2014/main" id="{468032BF-0C64-D702-973E-4D42F30BACAC}"/>
                  </a:ext>
                </a:extLst>
              </p:cNvPr>
              <p:cNvGrpSpPr/>
              <p:nvPr/>
            </p:nvGrpSpPr>
            <p:grpSpPr>
              <a:xfrm>
                <a:off x="6674800" y="3487790"/>
                <a:ext cx="42947" cy="42947"/>
                <a:chOff x="6674800" y="3487790"/>
                <a:chExt cx="42947" cy="42947"/>
              </a:xfrm>
            </p:grpSpPr>
            <p:sp>
              <p:nvSpPr>
                <p:cNvPr id="330" name="Freihandform: Form 329">
                  <a:extLst>
                    <a:ext uri="{FF2B5EF4-FFF2-40B4-BE49-F238E27FC236}">
                      <a16:creationId xmlns:a16="http://schemas.microsoft.com/office/drawing/2014/main" id="{48343312-F71B-4592-A9DB-78538E6C3668}"/>
                    </a:ext>
                  </a:extLst>
                </p:cNvPr>
                <p:cNvSpPr/>
                <p:nvPr/>
              </p:nvSpPr>
              <p:spPr>
                <a:xfrm>
                  <a:off x="6696274" y="3487790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0460A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1" name="Freihandform: Form 330">
                  <a:extLst>
                    <a:ext uri="{FF2B5EF4-FFF2-40B4-BE49-F238E27FC236}">
                      <a16:creationId xmlns:a16="http://schemas.microsoft.com/office/drawing/2014/main" id="{A19F8A55-DA09-2F32-C229-512C273F13C7}"/>
                    </a:ext>
                  </a:extLst>
                </p:cNvPr>
                <p:cNvSpPr/>
                <p:nvPr/>
              </p:nvSpPr>
              <p:spPr>
                <a:xfrm>
                  <a:off x="6674800" y="3509264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0460A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32" name="Grafik 17">
                <a:extLst>
                  <a:ext uri="{FF2B5EF4-FFF2-40B4-BE49-F238E27FC236}">
                    <a16:creationId xmlns:a16="http://schemas.microsoft.com/office/drawing/2014/main" id="{8631E528-1D2F-238F-926F-04A50FBA0876}"/>
                  </a:ext>
                </a:extLst>
              </p:cNvPr>
              <p:cNvGrpSpPr/>
              <p:nvPr/>
            </p:nvGrpSpPr>
            <p:grpSpPr>
              <a:xfrm>
                <a:off x="6302926" y="3461390"/>
                <a:ext cx="42947" cy="42947"/>
                <a:chOff x="6302926" y="3461390"/>
                <a:chExt cx="42947" cy="42947"/>
              </a:xfrm>
            </p:grpSpPr>
            <p:sp>
              <p:nvSpPr>
                <p:cNvPr id="333" name="Freihandform: Form 332">
                  <a:extLst>
                    <a:ext uri="{FF2B5EF4-FFF2-40B4-BE49-F238E27FC236}">
                      <a16:creationId xmlns:a16="http://schemas.microsoft.com/office/drawing/2014/main" id="{75B1284B-AE06-59E8-3BBE-909366E365DF}"/>
                    </a:ext>
                  </a:extLst>
                </p:cNvPr>
                <p:cNvSpPr/>
                <p:nvPr/>
              </p:nvSpPr>
              <p:spPr>
                <a:xfrm>
                  <a:off x="6324400" y="3461390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0460A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4" name="Freihandform: Form 333">
                  <a:extLst>
                    <a:ext uri="{FF2B5EF4-FFF2-40B4-BE49-F238E27FC236}">
                      <a16:creationId xmlns:a16="http://schemas.microsoft.com/office/drawing/2014/main" id="{A7E5B40B-AAD8-B91F-487D-4EBD9955DD02}"/>
                    </a:ext>
                  </a:extLst>
                </p:cNvPr>
                <p:cNvSpPr/>
                <p:nvPr/>
              </p:nvSpPr>
              <p:spPr>
                <a:xfrm>
                  <a:off x="6302926" y="3482864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0460A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35" name="Grafik 17">
                <a:extLst>
                  <a:ext uri="{FF2B5EF4-FFF2-40B4-BE49-F238E27FC236}">
                    <a16:creationId xmlns:a16="http://schemas.microsoft.com/office/drawing/2014/main" id="{9839F46A-DA3E-58F1-B7FF-0312D5DA803A}"/>
                  </a:ext>
                </a:extLst>
              </p:cNvPr>
              <p:cNvGrpSpPr/>
              <p:nvPr/>
            </p:nvGrpSpPr>
            <p:grpSpPr>
              <a:xfrm>
                <a:off x="6168526" y="3437011"/>
                <a:ext cx="43073" cy="43073"/>
                <a:chOff x="6168526" y="3437011"/>
                <a:chExt cx="43073" cy="43073"/>
              </a:xfrm>
            </p:grpSpPr>
            <p:sp>
              <p:nvSpPr>
                <p:cNvPr id="336" name="Freihandform: Form 335">
                  <a:extLst>
                    <a:ext uri="{FF2B5EF4-FFF2-40B4-BE49-F238E27FC236}">
                      <a16:creationId xmlns:a16="http://schemas.microsoft.com/office/drawing/2014/main" id="{4FAFCA23-0EF1-3D36-DC20-2891C7596F84}"/>
                    </a:ext>
                  </a:extLst>
                </p:cNvPr>
                <p:cNvSpPr/>
                <p:nvPr/>
              </p:nvSpPr>
              <p:spPr>
                <a:xfrm>
                  <a:off x="6190126" y="3437011"/>
                  <a:ext cx="12631" cy="43073"/>
                </a:xfrm>
                <a:custGeom>
                  <a:avLst/>
                  <a:gdLst>
                    <a:gd name="connsiteX0" fmla="*/ 0 w 12631"/>
                    <a:gd name="connsiteY0" fmla="*/ 0 h 43073"/>
                    <a:gd name="connsiteX1" fmla="*/ 0 w 12631"/>
                    <a:gd name="connsiteY1" fmla="*/ 43074 h 430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3073">
                      <a:moveTo>
                        <a:pt x="0" y="0"/>
                      </a:moveTo>
                      <a:lnTo>
                        <a:pt x="0" y="43074"/>
                      </a:lnTo>
                    </a:path>
                  </a:pathLst>
                </a:custGeom>
                <a:ln w="12622" cap="flat">
                  <a:solidFill>
                    <a:srgbClr val="0460A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7" name="Freihandform: Form 336">
                  <a:extLst>
                    <a:ext uri="{FF2B5EF4-FFF2-40B4-BE49-F238E27FC236}">
                      <a16:creationId xmlns:a16="http://schemas.microsoft.com/office/drawing/2014/main" id="{CB92FB86-9BAC-C3F9-B4F7-2B781F59FD82}"/>
                    </a:ext>
                  </a:extLst>
                </p:cNvPr>
                <p:cNvSpPr/>
                <p:nvPr/>
              </p:nvSpPr>
              <p:spPr>
                <a:xfrm>
                  <a:off x="6168526" y="3458485"/>
                  <a:ext cx="43073" cy="12631"/>
                </a:xfrm>
                <a:custGeom>
                  <a:avLst/>
                  <a:gdLst>
                    <a:gd name="connsiteX0" fmla="*/ 43074 w 43073"/>
                    <a:gd name="connsiteY0" fmla="*/ 0 h 12631"/>
                    <a:gd name="connsiteX1" fmla="*/ 0 w 43073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073" h="12631">
                      <a:moveTo>
                        <a:pt x="43074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0460A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38" name="Grafik 17">
                <a:extLst>
                  <a:ext uri="{FF2B5EF4-FFF2-40B4-BE49-F238E27FC236}">
                    <a16:creationId xmlns:a16="http://schemas.microsoft.com/office/drawing/2014/main" id="{534226F7-8B21-7E95-CE9F-0B534DAAEB5D}"/>
                  </a:ext>
                </a:extLst>
              </p:cNvPr>
              <p:cNvGrpSpPr/>
              <p:nvPr/>
            </p:nvGrpSpPr>
            <p:grpSpPr>
              <a:xfrm>
                <a:off x="6125200" y="3437011"/>
                <a:ext cx="42947" cy="43073"/>
                <a:chOff x="6125200" y="3437011"/>
                <a:chExt cx="42947" cy="43073"/>
              </a:xfrm>
            </p:grpSpPr>
            <p:sp>
              <p:nvSpPr>
                <p:cNvPr id="339" name="Freihandform: Form 338">
                  <a:extLst>
                    <a:ext uri="{FF2B5EF4-FFF2-40B4-BE49-F238E27FC236}">
                      <a16:creationId xmlns:a16="http://schemas.microsoft.com/office/drawing/2014/main" id="{05459990-1242-1FAF-4EED-442B6A098F08}"/>
                    </a:ext>
                  </a:extLst>
                </p:cNvPr>
                <p:cNvSpPr/>
                <p:nvPr/>
              </p:nvSpPr>
              <p:spPr>
                <a:xfrm>
                  <a:off x="6146674" y="3437011"/>
                  <a:ext cx="12631" cy="43073"/>
                </a:xfrm>
                <a:custGeom>
                  <a:avLst/>
                  <a:gdLst>
                    <a:gd name="connsiteX0" fmla="*/ 0 w 12631"/>
                    <a:gd name="connsiteY0" fmla="*/ 0 h 43073"/>
                    <a:gd name="connsiteX1" fmla="*/ 0 w 12631"/>
                    <a:gd name="connsiteY1" fmla="*/ 43074 h 430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3073">
                      <a:moveTo>
                        <a:pt x="0" y="0"/>
                      </a:moveTo>
                      <a:lnTo>
                        <a:pt x="0" y="43074"/>
                      </a:lnTo>
                    </a:path>
                  </a:pathLst>
                </a:custGeom>
                <a:ln w="12622" cap="flat">
                  <a:solidFill>
                    <a:srgbClr val="0460A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0" name="Freihandform: Form 339">
                  <a:extLst>
                    <a:ext uri="{FF2B5EF4-FFF2-40B4-BE49-F238E27FC236}">
                      <a16:creationId xmlns:a16="http://schemas.microsoft.com/office/drawing/2014/main" id="{3DCCE4B6-3C50-2813-25A6-5453BBB09486}"/>
                    </a:ext>
                  </a:extLst>
                </p:cNvPr>
                <p:cNvSpPr/>
                <p:nvPr/>
              </p:nvSpPr>
              <p:spPr>
                <a:xfrm>
                  <a:off x="6125200" y="3458485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0460A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1" name="Grafik 17">
                <a:extLst>
                  <a:ext uri="{FF2B5EF4-FFF2-40B4-BE49-F238E27FC236}">
                    <a16:creationId xmlns:a16="http://schemas.microsoft.com/office/drawing/2014/main" id="{06B80A6D-D7A6-9A3E-F262-EB40ABE780F9}"/>
                  </a:ext>
                </a:extLst>
              </p:cNvPr>
              <p:cNvGrpSpPr/>
              <p:nvPr/>
            </p:nvGrpSpPr>
            <p:grpSpPr>
              <a:xfrm>
                <a:off x="5997621" y="3381432"/>
                <a:ext cx="43073" cy="42947"/>
                <a:chOff x="5997621" y="3381432"/>
                <a:chExt cx="43073" cy="42947"/>
              </a:xfrm>
            </p:grpSpPr>
            <p:sp>
              <p:nvSpPr>
                <p:cNvPr id="342" name="Freihandform: Form 341">
                  <a:extLst>
                    <a:ext uri="{FF2B5EF4-FFF2-40B4-BE49-F238E27FC236}">
                      <a16:creationId xmlns:a16="http://schemas.microsoft.com/office/drawing/2014/main" id="{986504BA-12F6-958E-CD26-5E2F51C28358}"/>
                    </a:ext>
                  </a:extLst>
                </p:cNvPr>
                <p:cNvSpPr/>
                <p:nvPr/>
              </p:nvSpPr>
              <p:spPr>
                <a:xfrm>
                  <a:off x="6019221" y="3381432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0460A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3" name="Freihandform: Form 342">
                  <a:extLst>
                    <a:ext uri="{FF2B5EF4-FFF2-40B4-BE49-F238E27FC236}">
                      <a16:creationId xmlns:a16="http://schemas.microsoft.com/office/drawing/2014/main" id="{4CE2A770-7E66-E5E7-71C3-E063D0089A22}"/>
                    </a:ext>
                  </a:extLst>
                </p:cNvPr>
                <p:cNvSpPr/>
                <p:nvPr/>
              </p:nvSpPr>
              <p:spPr>
                <a:xfrm>
                  <a:off x="5997621" y="3402906"/>
                  <a:ext cx="43073" cy="12631"/>
                </a:xfrm>
                <a:custGeom>
                  <a:avLst/>
                  <a:gdLst>
                    <a:gd name="connsiteX0" fmla="*/ 43074 w 43073"/>
                    <a:gd name="connsiteY0" fmla="*/ 0 h 12631"/>
                    <a:gd name="connsiteX1" fmla="*/ 0 w 43073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073" h="12631">
                      <a:moveTo>
                        <a:pt x="43074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0460A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4" name="Grafik 17">
                <a:extLst>
                  <a:ext uri="{FF2B5EF4-FFF2-40B4-BE49-F238E27FC236}">
                    <a16:creationId xmlns:a16="http://schemas.microsoft.com/office/drawing/2014/main" id="{0AB4AEA2-F637-828E-F225-22EB3CA7A7F6}"/>
                  </a:ext>
                </a:extLst>
              </p:cNvPr>
              <p:cNvGrpSpPr/>
              <p:nvPr/>
            </p:nvGrpSpPr>
            <p:grpSpPr>
              <a:xfrm>
                <a:off x="5977410" y="3381432"/>
                <a:ext cx="42947" cy="42947"/>
                <a:chOff x="5977410" y="3381432"/>
                <a:chExt cx="42947" cy="42947"/>
              </a:xfrm>
            </p:grpSpPr>
            <p:sp>
              <p:nvSpPr>
                <p:cNvPr id="345" name="Freihandform: Form 344">
                  <a:extLst>
                    <a:ext uri="{FF2B5EF4-FFF2-40B4-BE49-F238E27FC236}">
                      <a16:creationId xmlns:a16="http://schemas.microsoft.com/office/drawing/2014/main" id="{CED0B8AF-5E88-DAC5-235C-FD166676A2E6}"/>
                    </a:ext>
                  </a:extLst>
                </p:cNvPr>
                <p:cNvSpPr/>
                <p:nvPr/>
              </p:nvSpPr>
              <p:spPr>
                <a:xfrm>
                  <a:off x="5998884" y="3381432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0460A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6" name="Freihandform: Form 345">
                  <a:extLst>
                    <a:ext uri="{FF2B5EF4-FFF2-40B4-BE49-F238E27FC236}">
                      <a16:creationId xmlns:a16="http://schemas.microsoft.com/office/drawing/2014/main" id="{46965F7F-EFFC-C5AE-3CE2-67B1D8B08C9D}"/>
                    </a:ext>
                  </a:extLst>
                </p:cNvPr>
                <p:cNvSpPr/>
                <p:nvPr/>
              </p:nvSpPr>
              <p:spPr>
                <a:xfrm>
                  <a:off x="5977410" y="3402906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0460A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7" name="Grafik 17">
                <a:extLst>
                  <a:ext uri="{FF2B5EF4-FFF2-40B4-BE49-F238E27FC236}">
                    <a16:creationId xmlns:a16="http://schemas.microsoft.com/office/drawing/2014/main" id="{90E4FEFA-34AE-C3E1-88C6-BF36799C2894}"/>
                  </a:ext>
                </a:extLst>
              </p:cNvPr>
              <p:cNvGrpSpPr/>
              <p:nvPr/>
            </p:nvGrpSpPr>
            <p:grpSpPr>
              <a:xfrm>
                <a:off x="5762674" y="3212169"/>
                <a:ext cx="42947" cy="42947"/>
                <a:chOff x="5762674" y="3212169"/>
                <a:chExt cx="42947" cy="42947"/>
              </a:xfrm>
            </p:grpSpPr>
            <p:sp>
              <p:nvSpPr>
                <p:cNvPr id="348" name="Freihandform: Form 347">
                  <a:extLst>
                    <a:ext uri="{FF2B5EF4-FFF2-40B4-BE49-F238E27FC236}">
                      <a16:creationId xmlns:a16="http://schemas.microsoft.com/office/drawing/2014/main" id="{93CD2D11-AEBB-55DD-F2FF-3288A6C16938}"/>
                    </a:ext>
                  </a:extLst>
                </p:cNvPr>
                <p:cNvSpPr/>
                <p:nvPr/>
              </p:nvSpPr>
              <p:spPr>
                <a:xfrm>
                  <a:off x="5784147" y="3212169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0460A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9" name="Freihandform: Form 348">
                  <a:extLst>
                    <a:ext uri="{FF2B5EF4-FFF2-40B4-BE49-F238E27FC236}">
                      <a16:creationId xmlns:a16="http://schemas.microsoft.com/office/drawing/2014/main" id="{82EA609C-1B47-5CEA-94F3-C120A5923062}"/>
                    </a:ext>
                  </a:extLst>
                </p:cNvPr>
                <p:cNvSpPr/>
                <p:nvPr/>
              </p:nvSpPr>
              <p:spPr>
                <a:xfrm>
                  <a:off x="5762674" y="3233643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0460A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350" name="Grafik 17">
              <a:extLst>
                <a:ext uri="{FF2B5EF4-FFF2-40B4-BE49-F238E27FC236}">
                  <a16:creationId xmlns:a16="http://schemas.microsoft.com/office/drawing/2014/main" id="{8E82FE67-5A6D-0FDB-7FEC-6C2607712D76}"/>
                </a:ext>
              </a:extLst>
            </p:cNvPr>
            <p:cNvGrpSpPr/>
            <p:nvPr/>
          </p:nvGrpSpPr>
          <p:grpSpPr>
            <a:xfrm>
              <a:off x="5338000" y="2091496"/>
              <a:ext cx="3022484" cy="1856589"/>
              <a:chOff x="5338000" y="2091496"/>
              <a:chExt cx="3022484" cy="1856589"/>
            </a:xfrm>
            <a:noFill/>
          </p:grpSpPr>
          <p:sp>
            <p:nvSpPr>
              <p:cNvPr id="351" name="Freihandform: Form 350">
                <a:extLst>
                  <a:ext uri="{FF2B5EF4-FFF2-40B4-BE49-F238E27FC236}">
                    <a16:creationId xmlns:a16="http://schemas.microsoft.com/office/drawing/2014/main" id="{EADC64F1-3619-9EF8-8788-F7F6F2CA75A5}"/>
                  </a:ext>
                </a:extLst>
              </p:cNvPr>
              <p:cNvSpPr/>
              <p:nvPr/>
            </p:nvSpPr>
            <p:spPr>
              <a:xfrm>
                <a:off x="5342800" y="2091496"/>
                <a:ext cx="3002779" cy="1833978"/>
              </a:xfrm>
              <a:custGeom>
                <a:avLst/>
                <a:gdLst>
                  <a:gd name="connsiteX0" fmla="*/ 3002779 w 3002779"/>
                  <a:gd name="connsiteY0" fmla="*/ 1833979 h 1833978"/>
                  <a:gd name="connsiteX1" fmla="*/ 2728422 w 3002779"/>
                  <a:gd name="connsiteY1" fmla="*/ 1833979 h 1833978"/>
                  <a:gd name="connsiteX2" fmla="*/ 2728422 w 3002779"/>
                  <a:gd name="connsiteY2" fmla="*/ 1826147 h 1833978"/>
                  <a:gd name="connsiteX3" fmla="*/ 2191453 w 3002779"/>
                  <a:gd name="connsiteY3" fmla="*/ 1826147 h 1833978"/>
                  <a:gd name="connsiteX4" fmla="*/ 2191453 w 3002779"/>
                  <a:gd name="connsiteY4" fmla="*/ 1813769 h 1833978"/>
                  <a:gd name="connsiteX5" fmla="*/ 2075495 w 3002779"/>
                  <a:gd name="connsiteY5" fmla="*/ 1813769 h 1833978"/>
                  <a:gd name="connsiteX6" fmla="*/ 2075495 w 3002779"/>
                  <a:gd name="connsiteY6" fmla="*/ 1807200 h 1833978"/>
                  <a:gd name="connsiteX7" fmla="*/ 1734948 w 3002779"/>
                  <a:gd name="connsiteY7" fmla="*/ 1807200 h 1833978"/>
                  <a:gd name="connsiteX8" fmla="*/ 1734948 w 3002779"/>
                  <a:gd name="connsiteY8" fmla="*/ 1794695 h 1833978"/>
                  <a:gd name="connsiteX9" fmla="*/ 1708800 w 3002779"/>
                  <a:gd name="connsiteY9" fmla="*/ 1794695 h 1833978"/>
                  <a:gd name="connsiteX10" fmla="*/ 1708800 w 3002779"/>
                  <a:gd name="connsiteY10" fmla="*/ 1780926 h 1833978"/>
                  <a:gd name="connsiteX11" fmla="*/ 1685811 w 3002779"/>
                  <a:gd name="connsiteY11" fmla="*/ 1780926 h 1833978"/>
                  <a:gd name="connsiteX12" fmla="*/ 1685811 w 3002779"/>
                  <a:gd name="connsiteY12" fmla="*/ 1770442 h 1833978"/>
                  <a:gd name="connsiteX13" fmla="*/ 1677348 w 3002779"/>
                  <a:gd name="connsiteY13" fmla="*/ 1770442 h 1833978"/>
                  <a:gd name="connsiteX14" fmla="*/ 1677348 w 3002779"/>
                  <a:gd name="connsiteY14" fmla="*/ 1760716 h 1833978"/>
                  <a:gd name="connsiteX15" fmla="*/ 1588295 w 3002779"/>
                  <a:gd name="connsiteY15" fmla="*/ 1760716 h 1833978"/>
                  <a:gd name="connsiteX16" fmla="*/ 1588295 w 3002779"/>
                  <a:gd name="connsiteY16" fmla="*/ 1752126 h 1833978"/>
                  <a:gd name="connsiteX17" fmla="*/ 1577179 w 3002779"/>
                  <a:gd name="connsiteY17" fmla="*/ 1752126 h 1833978"/>
                  <a:gd name="connsiteX18" fmla="*/ 1577179 w 3002779"/>
                  <a:gd name="connsiteY18" fmla="*/ 1744926 h 1833978"/>
                  <a:gd name="connsiteX19" fmla="*/ 1486737 w 3002779"/>
                  <a:gd name="connsiteY19" fmla="*/ 1744926 h 1833978"/>
                  <a:gd name="connsiteX20" fmla="*/ 1486737 w 3002779"/>
                  <a:gd name="connsiteY20" fmla="*/ 1731789 h 1833978"/>
                  <a:gd name="connsiteX21" fmla="*/ 1408169 w 3002779"/>
                  <a:gd name="connsiteY21" fmla="*/ 1731789 h 1833978"/>
                  <a:gd name="connsiteX22" fmla="*/ 1408169 w 3002779"/>
                  <a:gd name="connsiteY22" fmla="*/ 1727874 h 1833978"/>
                  <a:gd name="connsiteX23" fmla="*/ 1282358 w 3002779"/>
                  <a:gd name="connsiteY23" fmla="*/ 1727874 h 1833978"/>
                  <a:gd name="connsiteX24" fmla="*/ 1282358 w 3002779"/>
                  <a:gd name="connsiteY24" fmla="*/ 1717768 h 1833978"/>
                  <a:gd name="connsiteX25" fmla="*/ 1234484 w 3002779"/>
                  <a:gd name="connsiteY25" fmla="*/ 1717768 h 1833978"/>
                  <a:gd name="connsiteX26" fmla="*/ 1234484 w 3002779"/>
                  <a:gd name="connsiteY26" fmla="*/ 1712211 h 1833978"/>
                  <a:gd name="connsiteX27" fmla="*/ 1197221 w 3002779"/>
                  <a:gd name="connsiteY27" fmla="*/ 1712211 h 1833978"/>
                  <a:gd name="connsiteX28" fmla="*/ 1197221 w 3002779"/>
                  <a:gd name="connsiteY28" fmla="*/ 1701726 h 1833978"/>
                  <a:gd name="connsiteX29" fmla="*/ 1181937 w 3002779"/>
                  <a:gd name="connsiteY29" fmla="*/ 1701726 h 1833978"/>
                  <a:gd name="connsiteX30" fmla="*/ 1181937 w 3002779"/>
                  <a:gd name="connsiteY30" fmla="*/ 1691621 h 1833978"/>
                  <a:gd name="connsiteX31" fmla="*/ 1136842 w 3002779"/>
                  <a:gd name="connsiteY31" fmla="*/ 1691621 h 1833978"/>
                  <a:gd name="connsiteX32" fmla="*/ 1136842 w 3002779"/>
                  <a:gd name="connsiteY32" fmla="*/ 1680632 h 1833978"/>
                  <a:gd name="connsiteX33" fmla="*/ 1084042 w 3002779"/>
                  <a:gd name="connsiteY33" fmla="*/ 1680632 h 1833978"/>
                  <a:gd name="connsiteX34" fmla="*/ 1084042 w 3002779"/>
                  <a:gd name="connsiteY34" fmla="*/ 1670779 h 1833978"/>
                  <a:gd name="connsiteX35" fmla="*/ 1051453 w 3002779"/>
                  <a:gd name="connsiteY35" fmla="*/ 1670779 h 1833978"/>
                  <a:gd name="connsiteX36" fmla="*/ 1051453 w 3002779"/>
                  <a:gd name="connsiteY36" fmla="*/ 1657768 h 1833978"/>
                  <a:gd name="connsiteX37" fmla="*/ 1001179 w 3002779"/>
                  <a:gd name="connsiteY37" fmla="*/ 1657768 h 1833978"/>
                  <a:gd name="connsiteX38" fmla="*/ 1001179 w 3002779"/>
                  <a:gd name="connsiteY38" fmla="*/ 1648295 h 1833978"/>
                  <a:gd name="connsiteX39" fmla="*/ 941432 w 3002779"/>
                  <a:gd name="connsiteY39" fmla="*/ 1648295 h 1833978"/>
                  <a:gd name="connsiteX40" fmla="*/ 941432 w 3002779"/>
                  <a:gd name="connsiteY40" fmla="*/ 1635537 h 1833978"/>
                  <a:gd name="connsiteX41" fmla="*/ 908842 w 3002779"/>
                  <a:gd name="connsiteY41" fmla="*/ 1635537 h 1833978"/>
                  <a:gd name="connsiteX42" fmla="*/ 908842 w 3002779"/>
                  <a:gd name="connsiteY42" fmla="*/ 1617979 h 1833978"/>
                  <a:gd name="connsiteX43" fmla="*/ 829516 w 3002779"/>
                  <a:gd name="connsiteY43" fmla="*/ 1617979 h 1833978"/>
                  <a:gd name="connsiteX44" fmla="*/ 829516 w 3002779"/>
                  <a:gd name="connsiteY44" fmla="*/ 1608505 h 1833978"/>
                  <a:gd name="connsiteX45" fmla="*/ 822063 w 3002779"/>
                  <a:gd name="connsiteY45" fmla="*/ 1608505 h 1833978"/>
                  <a:gd name="connsiteX46" fmla="*/ 822063 w 3002779"/>
                  <a:gd name="connsiteY46" fmla="*/ 1597642 h 1833978"/>
                  <a:gd name="connsiteX47" fmla="*/ 795284 w 3002779"/>
                  <a:gd name="connsiteY47" fmla="*/ 1597642 h 1833978"/>
                  <a:gd name="connsiteX48" fmla="*/ 795284 w 3002779"/>
                  <a:gd name="connsiteY48" fmla="*/ 1585895 h 1833978"/>
                  <a:gd name="connsiteX49" fmla="*/ 747663 w 3002779"/>
                  <a:gd name="connsiteY49" fmla="*/ 1585895 h 1833978"/>
                  <a:gd name="connsiteX50" fmla="*/ 747663 w 3002779"/>
                  <a:gd name="connsiteY50" fmla="*/ 1574147 h 1833978"/>
                  <a:gd name="connsiteX51" fmla="*/ 679705 w 3002779"/>
                  <a:gd name="connsiteY51" fmla="*/ 1574147 h 1833978"/>
                  <a:gd name="connsiteX52" fmla="*/ 679705 w 3002779"/>
                  <a:gd name="connsiteY52" fmla="*/ 1556842 h 1833978"/>
                  <a:gd name="connsiteX53" fmla="*/ 658484 w 3002779"/>
                  <a:gd name="connsiteY53" fmla="*/ 1556842 h 1833978"/>
                  <a:gd name="connsiteX54" fmla="*/ 658484 w 3002779"/>
                  <a:gd name="connsiteY54" fmla="*/ 1544842 h 1833978"/>
                  <a:gd name="connsiteX55" fmla="*/ 610863 w 3002779"/>
                  <a:gd name="connsiteY55" fmla="*/ 1544842 h 1833978"/>
                  <a:gd name="connsiteX56" fmla="*/ 610863 w 3002779"/>
                  <a:gd name="connsiteY56" fmla="*/ 1533726 h 1833978"/>
                  <a:gd name="connsiteX57" fmla="*/ 556421 w 3002779"/>
                  <a:gd name="connsiteY57" fmla="*/ 1533726 h 1833978"/>
                  <a:gd name="connsiteX58" fmla="*/ 556421 w 3002779"/>
                  <a:gd name="connsiteY58" fmla="*/ 1516421 h 1833978"/>
                  <a:gd name="connsiteX59" fmla="*/ 527369 w 3002779"/>
                  <a:gd name="connsiteY59" fmla="*/ 1516421 h 1833978"/>
                  <a:gd name="connsiteX60" fmla="*/ 527369 w 3002779"/>
                  <a:gd name="connsiteY60" fmla="*/ 1499495 h 1833978"/>
                  <a:gd name="connsiteX61" fmla="*/ 505137 w 3002779"/>
                  <a:gd name="connsiteY61" fmla="*/ 1499495 h 1833978"/>
                  <a:gd name="connsiteX62" fmla="*/ 505137 w 3002779"/>
                  <a:gd name="connsiteY62" fmla="*/ 1484084 h 1833978"/>
                  <a:gd name="connsiteX63" fmla="*/ 492379 w 3002779"/>
                  <a:gd name="connsiteY63" fmla="*/ 1484084 h 1833978"/>
                  <a:gd name="connsiteX64" fmla="*/ 492379 w 3002779"/>
                  <a:gd name="connsiteY64" fmla="*/ 1474358 h 1833978"/>
                  <a:gd name="connsiteX65" fmla="*/ 483663 w 3002779"/>
                  <a:gd name="connsiteY65" fmla="*/ 1474358 h 1833978"/>
                  <a:gd name="connsiteX66" fmla="*/ 483663 w 3002779"/>
                  <a:gd name="connsiteY66" fmla="*/ 1458063 h 1833978"/>
                  <a:gd name="connsiteX67" fmla="*/ 466611 w 3002779"/>
                  <a:gd name="connsiteY67" fmla="*/ 1458063 h 1833978"/>
                  <a:gd name="connsiteX68" fmla="*/ 466611 w 3002779"/>
                  <a:gd name="connsiteY68" fmla="*/ 1437095 h 1833978"/>
                  <a:gd name="connsiteX69" fmla="*/ 436674 w 3002779"/>
                  <a:gd name="connsiteY69" fmla="*/ 1437095 h 1833978"/>
                  <a:gd name="connsiteX70" fmla="*/ 436674 w 3002779"/>
                  <a:gd name="connsiteY70" fmla="*/ 1421811 h 1833978"/>
                  <a:gd name="connsiteX71" fmla="*/ 406232 w 3002779"/>
                  <a:gd name="connsiteY71" fmla="*/ 1421811 h 1833978"/>
                  <a:gd name="connsiteX72" fmla="*/ 406232 w 3002779"/>
                  <a:gd name="connsiteY72" fmla="*/ 1402232 h 1833978"/>
                  <a:gd name="connsiteX73" fmla="*/ 386021 w 3002779"/>
                  <a:gd name="connsiteY73" fmla="*/ 1402232 h 1833978"/>
                  <a:gd name="connsiteX74" fmla="*/ 386021 w 3002779"/>
                  <a:gd name="connsiteY74" fmla="*/ 1381642 h 1833978"/>
                  <a:gd name="connsiteX75" fmla="*/ 375663 w 3002779"/>
                  <a:gd name="connsiteY75" fmla="*/ 1381642 h 1833978"/>
                  <a:gd name="connsiteX76" fmla="*/ 375663 w 3002779"/>
                  <a:gd name="connsiteY76" fmla="*/ 1368000 h 1833978"/>
                  <a:gd name="connsiteX77" fmla="*/ 364800 w 3002779"/>
                  <a:gd name="connsiteY77" fmla="*/ 1368000 h 1833978"/>
                  <a:gd name="connsiteX78" fmla="*/ 364800 w 3002779"/>
                  <a:gd name="connsiteY78" fmla="*/ 1354232 h 1833978"/>
                  <a:gd name="connsiteX79" fmla="*/ 348884 w 3002779"/>
                  <a:gd name="connsiteY79" fmla="*/ 1354232 h 1833978"/>
                  <a:gd name="connsiteX80" fmla="*/ 348884 w 3002779"/>
                  <a:gd name="connsiteY80" fmla="*/ 1339200 h 1833978"/>
                  <a:gd name="connsiteX81" fmla="*/ 326274 w 3002779"/>
                  <a:gd name="connsiteY81" fmla="*/ 1339200 h 1833978"/>
                  <a:gd name="connsiteX82" fmla="*/ 326274 w 3002779"/>
                  <a:gd name="connsiteY82" fmla="*/ 1315705 h 1833978"/>
                  <a:gd name="connsiteX83" fmla="*/ 313011 w 3002779"/>
                  <a:gd name="connsiteY83" fmla="*/ 1315705 h 1833978"/>
                  <a:gd name="connsiteX84" fmla="*/ 313011 w 3002779"/>
                  <a:gd name="connsiteY84" fmla="*/ 1301053 h 1833978"/>
                  <a:gd name="connsiteX85" fmla="*/ 287495 w 3002779"/>
                  <a:gd name="connsiteY85" fmla="*/ 1301053 h 1833978"/>
                  <a:gd name="connsiteX86" fmla="*/ 287495 w 3002779"/>
                  <a:gd name="connsiteY86" fmla="*/ 1284758 h 1833978"/>
                  <a:gd name="connsiteX87" fmla="*/ 266653 w 3002779"/>
                  <a:gd name="connsiteY87" fmla="*/ 1284758 h 1833978"/>
                  <a:gd name="connsiteX88" fmla="*/ 266653 w 3002779"/>
                  <a:gd name="connsiteY88" fmla="*/ 1265811 h 1833978"/>
                  <a:gd name="connsiteX89" fmla="*/ 251874 w 3002779"/>
                  <a:gd name="connsiteY89" fmla="*/ 1265811 h 1833978"/>
                  <a:gd name="connsiteX90" fmla="*/ 251874 w 3002779"/>
                  <a:gd name="connsiteY90" fmla="*/ 1246232 h 1833978"/>
                  <a:gd name="connsiteX91" fmla="*/ 244421 w 3002779"/>
                  <a:gd name="connsiteY91" fmla="*/ 1246232 h 1833978"/>
                  <a:gd name="connsiteX92" fmla="*/ 244421 w 3002779"/>
                  <a:gd name="connsiteY92" fmla="*/ 1225390 h 1833978"/>
                  <a:gd name="connsiteX93" fmla="*/ 235579 w 3002779"/>
                  <a:gd name="connsiteY93" fmla="*/ 1225390 h 1833978"/>
                  <a:gd name="connsiteX94" fmla="*/ 235579 w 3002779"/>
                  <a:gd name="connsiteY94" fmla="*/ 1208716 h 1833978"/>
                  <a:gd name="connsiteX95" fmla="*/ 222189 w 3002779"/>
                  <a:gd name="connsiteY95" fmla="*/ 1208716 h 1833978"/>
                  <a:gd name="connsiteX96" fmla="*/ 222189 w 3002779"/>
                  <a:gd name="connsiteY96" fmla="*/ 1182568 h 1833978"/>
                  <a:gd name="connsiteX97" fmla="*/ 215116 w 3002779"/>
                  <a:gd name="connsiteY97" fmla="*/ 1182568 h 1833978"/>
                  <a:gd name="connsiteX98" fmla="*/ 215116 w 3002779"/>
                  <a:gd name="connsiteY98" fmla="*/ 1142779 h 1833978"/>
                  <a:gd name="connsiteX99" fmla="*/ 202611 w 3002779"/>
                  <a:gd name="connsiteY99" fmla="*/ 1142779 h 1833978"/>
                  <a:gd name="connsiteX100" fmla="*/ 202611 w 3002779"/>
                  <a:gd name="connsiteY100" fmla="*/ 1122568 h 1833978"/>
                  <a:gd name="connsiteX101" fmla="*/ 192505 w 3002779"/>
                  <a:gd name="connsiteY101" fmla="*/ 1122568 h 1833978"/>
                  <a:gd name="connsiteX102" fmla="*/ 192505 w 3002779"/>
                  <a:gd name="connsiteY102" fmla="*/ 1090863 h 1833978"/>
                  <a:gd name="connsiteX103" fmla="*/ 184421 w 3002779"/>
                  <a:gd name="connsiteY103" fmla="*/ 1090863 h 1833978"/>
                  <a:gd name="connsiteX104" fmla="*/ 184421 w 3002779"/>
                  <a:gd name="connsiteY104" fmla="*/ 1064463 h 1833978"/>
                  <a:gd name="connsiteX105" fmla="*/ 164211 w 3002779"/>
                  <a:gd name="connsiteY105" fmla="*/ 1064463 h 1833978"/>
                  <a:gd name="connsiteX106" fmla="*/ 164211 w 3002779"/>
                  <a:gd name="connsiteY106" fmla="*/ 994990 h 1833978"/>
                  <a:gd name="connsiteX107" fmla="*/ 153347 w 3002779"/>
                  <a:gd name="connsiteY107" fmla="*/ 994990 h 1833978"/>
                  <a:gd name="connsiteX108" fmla="*/ 153347 w 3002779"/>
                  <a:gd name="connsiteY108" fmla="*/ 933600 h 1833978"/>
                  <a:gd name="connsiteX109" fmla="*/ 146905 w 3002779"/>
                  <a:gd name="connsiteY109" fmla="*/ 933600 h 1833978"/>
                  <a:gd name="connsiteX110" fmla="*/ 146905 w 3002779"/>
                  <a:gd name="connsiteY110" fmla="*/ 894189 h 1833978"/>
                  <a:gd name="connsiteX111" fmla="*/ 138316 w 3002779"/>
                  <a:gd name="connsiteY111" fmla="*/ 894189 h 1833978"/>
                  <a:gd name="connsiteX112" fmla="*/ 138316 w 3002779"/>
                  <a:gd name="connsiteY112" fmla="*/ 822316 h 1833978"/>
                  <a:gd name="connsiteX113" fmla="*/ 129221 w 3002779"/>
                  <a:gd name="connsiteY113" fmla="*/ 822316 h 1833978"/>
                  <a:gd name="connsiteX114" fmla="*/ 129221 w 3002779"/>
                  <a:gd name="connsiteY114" fmla="*/ 768505 h 1833978"/>
                  <a:gd name="connsiteX115" fmla="*/ 117853 w 3002779"/>
                  <a:gd name="connsiteY115" fmla="*/ 768505 h 1833978"/>
                  <a:gd name="connsiteX116" fmla="*/ 117853 w 3002779"/>
                  <a:gd name="connsiteY116" fmla="*/ 735537 h 1833978"/>
                  <a:gd name="connsiteX117" fmla="*/ 106358 w 3002779"/>
                  <a:gd name="connsiteY117" fmla="*/ 735537 h 1833978"/>
                  <a:gd name="connsiteX118" fmla="*/ 106358 w 3002779"/>
                  <a:gd name="connsiteY118" fmla="*/ 659874 h 1833978"/>
                  <a:gd name="connsiteX119" fmla="*/ 92084 w 3002779"/>
                  <a:gd name="connsiteY119" fmla="*/ 659874 h 1833978"/>
                  <a:gd name="connsiteX120" fmla="*/ 92084 w 3002779"/>
                  <a:gd name="connsiteY120" fmla="*/ 599874 h 1833978"/>
                  <a:gd name="connsiteX121" fmla="*/ 80968 w 3002779"/>
                  <a:gd name="connsiteY121" fmla="*/ 599874 h 1833978"/>
                  <a:gd name="connsiteX122" fmla="*/ 80968 w 3002779"/>
                  <a:gd name="connsiteY122" fmla="*/ 542021 h 1833978"/>
                  <a:gd name="connsiteX123" fmla="*/ 71747 w 3002779"/>
                  <a:gd name="connsiteY123" fmla="*/ 542021 h 1833978"/>
                  <a:gd name="connsiteX124" fmla="*/ 71747 w 3002779"/>
                  <a:gd name="connsiteY124" fmla="*/ 468632 h 1833978"/>
                  <a:gd name="connsiteX125" fmla="*/ 60379 w 3002779"/>
                  <a:gd name="connsiteY125" fmla="*/ 468632 h 1833978"/>
                  <a:gd name="connsiteX126" fmla="*/ 60379 w 3002779"/>
                  <a:gd name="connsiteY126" fmla="*/ 382105 h 1833978"/>
                  <a:gd name="connsiteX127" fmla="*/ 50653 w 3002779"/>
                  <a:gd name="connsiteY127" fmla="*/ 382105 h 1833978"/>
                  <a:gd name="connsiteX128" fmla="*/ 50653 w 3002779"/>
                  <a:gd name="connsiteY128" fmla="*/ 328295 h 1833978"/>
                  <a:gd name="connsiteX129" fmla="*/ 37263 w 3002779"/>
                  <a:gd name="connsiteY129" fmla="*/ 328295 h 1833978"/>
                  <a:gd name="connsiteX130" fmla="*/ 37263 w 3002779"/>
                  <a:gd name="connsiteY130" fmla="*/ 220295 h 1833978"/>
                  <a:gd name="connsiteX131" fmla="*/ 29053 w 3002779"/>
                  <a:gd name="connsiteY131" fmla="*/ 220295 h 1833978"/>
                  <a:gd name="connsiteX132" fmla="*/ 29053 w 3002779"/>
                  <a:gd name="connsiteY132" fmla="*/ 178863 h 1833978"/>
                  <a:gd name="connsiteX133" fmla="*/ 18316 w 3002779"/>
                  <a:gd name="connsiteY133" fmla="*/ 178863 h 1833978"/>
                  <a:gd name="connsiteX134" fmla="*/ 18316 w 3002779"/>
                  <a:gd name="connsiteY134" fmla="*/ 121768 h 1833978"/>
                  <a:gd name="connsiteX135" fmla="*/ 10484 w 3002779"/>
                  <a:gd name="connsiteY135" fmla="*/ 121768 h 1833978"/>
                  <a:gd name="connsiteX136" fmla="*/ 10484 w 3002779"/>
                  <a:gd name="connsiteY136" fmla="*/ 50274 h 1833978"/>
                  <a:gd name="connsiteX137" fmla="*/ 0 w 3002779"/>
                  <a:gd name="connsiteY137" fmla="*/ 50274 h 1833978"/>
                  <a:gd name="connsiteX138" fmla="*/ 0 w 3002779"/>
                  <a:gd name="connsiteY138" fmla="*/ 0 h 18339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</a:cxnLst>
                <a:rect l="l" t="t" r="r" b="b"/>
                <a:pathLst>
                  <a:path w="3002779" h="1833978">
                    <a:moveTo>
                      <a:pt x="3002779" y="1833979"/>
                    </a:moveTo>
                    <a:lnTo>
                      <a:pt x="2728422" y="1833979"/>
                    </a:lnTo>
                    <a:lnTo>
                      <a:pt x="2728422" y="1826147"/>
                    </a:lnTo>
                    <a:lnTo>
                      <a:pt x="2191453" y="1826147"/>
                    </a:lnTo>
                    <a:lnTo>
                      <a:pt x="2191453" y="1813769"/>
                    </a:lnTo>
                    <a:lnTo>
                      <a:pt x="2075495" y="1813769"/>
                    </a:lnTo>
                    <a:lnTo>
                      <a:pt x="2075495" y="1807200"/>
                    </a:lnTo>
                    <a:lnTo>
                      <a:pt x="1734948" y="1807200"/>
                    </a:lnTo>
                    <a:lnTo>
                      <a:pt x="1734948" y="1794695"/>
                    </a:lnTo>
                    <a:lnTo>
                      <a:pt x="1708800" y="1794695"/>
                    </a:lnTo>
                    <a:lnTo>
                      <a:pt x="1708800" y="1780926"/>
                    </a:lnTo>
                    <a:lnTo>
                      <a:pt x="1685811" y="1780926"/>
                    </a:lnTo>
                    <a:lnTo>
                      <a:pt x="1685811" y="1770442"/>
                    </a:lnTo>
                    <a:lnTo>
                      <a:pt x="1677348" y="1770442"/>
                    </a:lnTo>
                    <a:lnTo>
                      <a:pt x="1677348" y="1760716"/>
                    </a:lnTo>
                    <a:lnTo>
                      <a:pt x="1588295" y="1760716"/>
                    </a:lnTo>
                    <a:lnTo>
                      <a:pt x="1588295" y="1752126"/>
                    </a:lnTo>
                    <a:lnTo>
                      <a:pt x="1577179" y="1752126"/>
                    </a:lnTo>
                    <a:lnTo>
                      <a:pt x="1577179" y="1744926"/>
                    </a:lnTo>
                    <a:lnTo>
                      <a:pt x="1486737" y="1744926"/>
                    </a:lnTo>
                    <a:lnTo>
                      <a:pt x="1486737" y="1731789"/>
                    </a:lnTo>
                    <a:lnTo>
                      <a:pt x="1408169" y="1731789"/>
                    </a:lnTo>
                    <a:lnTo>
                      <a:pt x="1408169" y="1727874"/>
                    </a:lnTo>
                    <a:lnTo>
                      <a:pt x="1282358" y="1727874"/>
                    </a:lnTo>
                    <a:lnTo>
                      <a:pt x="1282358" y="1717768"/>
                    </a:lnTo>
                    <a:lnTo>
                      <a:pt x="1234484" y="1717768"/>
                    </a:lnTo>
                    <a:lnTo>
                      <a:pt x="1234484" y="1712211"/>
                    </a:lnTo>
                    <a:lnTo>
                      <a:pt x="1197221" y="1712211"/>
                    </a:lnTo>
                    <a:lnTo>
                      <a:pt x="1197221" y="1701726"/>
                    </a:lnTo>
                    <a:lnTo>
                      <a:pt x="1181937" y="1701726"/>
                    </a:lnTo>
                    <a:lnTo>
                      <a:pt x="1181937" y="1691621"/>
                    </a:lnTo>
                    <a:lnTo>
                      <a:pt x="1136842" y="1691621"/>
                    </a:lnTo>
                    <a:lnTo>
                      <a:pt x="1136842" y="1680632"/>
                    </a:lnTo>
                    <a:lnTo>
                      <a:pt x="1084042" y="1680632"/>
                    </a:lnTo>
                    <a:lnTo>
                      <a:pt x="1084042" y="1670779"/>
                    </a:lnTo>
                    <a:lnTo>
                      <a:pt x="1051453" y="1670779"/>
                    </a:lnTo>
                    <a:lnTo>
                      <a:pt x="1051453" y="1657768"/>
                    </a:lnTo>
                    <a:lnTo>
                      <a:pt x="1001179" y="1657768"/>
                    </a:lnTo>
                    <a:lnTo>
                      <a:pt x="1001179" y="1648295"/>
                    </a:lnTo>
                    <a:lnTo>
                      <a:pt x="941432" y="1648295"/>
                    </a:lnTo>
                    <a:lnTo>
                      <a:pt x="941432" y="1635537"/>
                    </a:lnTo>
                    <a:lnTo>
                      <a:pt x="908842" y="1635537"/>
                    </a:lnTo>
                    <a:lnTo>
                      <a:pt x="908842" y="1617979"/>
                    </a:lnTo>
                    <a:lnTo>
                      <a:pt x="829516" y="1617979"/>
                    </a:lnTo>
                    <a:lnTo>
                      <a:pt x="829516" y="1608505"/>
                    </a:lnTo>
                    <a:lnTo>
                      <a:pt x="822063" y="1608505"/>
                    </a:lnTo>
                    <a:lnTo>
                      <a:pt x="822063" y="1597642"/>
                    </a:lnTo>
                    <a:lnTo>
                      <a:pt x="795284" y="1597642"/>
                    </a:lnTo>
                    <a:lnTo>
                      <a:pt x="795284" y="1585895"/>
                    </a:lnTo>
                    <a:lnTo>
                      <a:pt x="747663" y="1585895"/>
                    </a:lnTo>
                    <a:lnTo>
                      <a:pt x="747663" y="1574147"/>
                    </a:lnTo>
                    <a:lnTo>
                      <a:pt x="679705" y="1574147"/>
                    </a:lnTo>
                    <a:lnTo>
                      <a:pt x="679705" y="1556842"/>
                    </a:lnTo>
                    <a:lnTo>
                      <a:pt x="658484" y="1556842"/>
                    </a:lnTo>
                    <a:lnTo>
                      <a:pt x="658484" y="1544842"/>
                    </a:lnTo>
                    <a:lnTo>
                      <a:pt x="610863" y="1544842"/>
                    </a:lnTo>
                    <a:lnTo>
                      <a:pt x="610863" y="1533726"/>
                    </a:lnTo>
                    <a:lnTo>
                      <a:pt x="556421" y="1533726"/>
                    </a:lnTo>
                    <a:lnTo>
                      <a:pt x="556421" y="1516421"/>
                    </a:lnTo>
                    <a:lnTo>
                      <a:pt x="527369" y="1516421"/>
                    </a:lnTo>
                    <a:lnTo>
                      <a:pt x="527369" y="1499495"/>
                    </a:lnTo>
                    <a:lnTo>
                      <a:pt x="505137" y="1499495"/>
                    </a:lnTo>
                    <a:lnTo>
                      <a:pt x="505137" y="1484084"/>
                    </a:lnTo>
                    <a:lnTo>
                      <a:pt x="492379" y="1484084"/>
                    </a:lnTo>
                    <a:lnTo>
                      <a:pt x="492379" y="1474358"/>
                    </a:lnTo>
                    <a:lnTo>
                      <a:pt x="483663" y="1474358"/>
                    </a:lnTo>
                    <a:lnTo>
                      <a:pt x="483663" y="1458063"/>
                    </a:lnTo>
                    <a:lnTo>
                      <a:pt x="466611" y="1458063"/>
                    </a:lnTo>
                    <a:lnTo>
                      <a:pt x="466611" y="1437095"/>
                    </a:lnTo>
                    <a:lnTo>
                      <a:pt x="436674" y="1437095"/>
                    </a:lnTo>
                    <a:lnTo>
                      <a:pt x="436674" y="1421811"/>
                    </a:lnTo>
                    <a:lnTo>
                      <a:pt x="406232" y="1421811"/>
                    </a:lnTo>
                    <a:lnTo>
                      <a:pt x="406232" y="1402232"/>
                    </a:lnTo>
                    <a:lnTo>
                      <a:pt x="386021" y="1402232"/>
                    </a:lnTo>
                    <a:lnTo>
                      <a:pt x="386021" y="1381642"/>
                    </a:lnTo>
                    <a:lnTo>
                      <a:pt x="375663" y="1381642"/>
                    </a:lnTo>
                    <a:lnTo>
                      <a:pt x="375663" y="1368000"/>
                    </a:lnTo>
                    <a:lnTo>
                      <a:pt x="364800" y="1368000"/>
                    </a:lnTo>
                    <a:lnTo>
                      <a:pt x="364800" y="1354232"/>
                    </a:lnTo>
                    <a:lnTo>
                      <a:pt x="348884" y="1354232"/>
                    </a:lnTo>
                    <a:lnTo>
                      <a:pt x="348884" y="1339200"/>
                    </a:lnTo>
                    <a:lnTo>
                      <a:pt x="326274" y="1339200"/>
                    </a:lnTo>
                    <a:lnTo>
                      <a:pt x="326274" y="1315705"/>
                    </a:lnTo>
                    <a:lnTo>
                      <a:pt x="313011" y="1315705"/>
                    </a:lnTo>
                    <a:lnTo>
                      <a:pt x="313011" y="1301053"/>
                    </a:lnTo>
                    <a:lnTo>
                      <a:pt x="287495" y="1301053"/>
                    </a:lnTo>
                    <a:lnTo>
                      <a:pt x="287495" y="1284758"/>
                    </a:lnTo>
                    <a:lnTo>
                      <a:pt x="266653" y="1284758"/>
                    </a:lnTo>
                    <a:lnTo>
                      <a:pt x="266653" y="1265811"/>
                    </a:lnTo>
                    <a:lnTo>
                      <a:pt x="251874" y="1265811"/>
                    </a:lnTo>
                    <a:lnTo>
                      <a:pt x="251874" y="1246232"/>
                    </a:lnTo>
                    <a:lnTo>
                      <a:pt x="244421" y="1246232"/>
                    </a:lnTo>
                    <a:lnTo>
                      <a:pt x="244421" y="1225390"/>
                    </a:lnTo>
                    <a:lnTo>
                      <a:pt x="235579" y="1225390"/>
                    </a:lnTo>
                    <a:lnTo>
                      <a:pt x="235579" y="1208716"/>
                    </a:lnTo>
                    <a:lnTo>
                      <a:pt x="222189" y="1208716"/>
                    </a:lnTo>
                    <a:lnTo>
                      <a:pt x="222189" y="1182568"/>
                    </a:lnTo>
                    <a:lnTo>
                      <a:pt x="215116" y="1182568"/>
                    </a:lnTo>
                    <a:lnTo>
                      <a:pt x="215116" y="1142779"/>
                    </a:lnTo>
                    <a:lnTo>
                      <a:pt x="202611" y="1142779"/>
                    </a:lnTo>
                    <a:lnTo>
                      <a:pt x="202611" y="1122568"/>
                    </a:lnTo>
                    <a:lnTo>
                      <a:pt x="192505" y="1122568"/>
                    </a:lnTo>
                    <a:lnTo>
                      <a:pt x="192505" y="1090863"/>
                    </a:lnTo>
                    <a:lnTo>
                      <a:pt x="184421" y="1090863"/>
                    </a:lnTo>
                    <a:lnTo>
                      <a:pt x="184421" y="1064463"/>
                    </a:lnTo>
                    <a:lnTo>
                      <a:pt x="164211" y="1064463"/>
                    </a:lnTo>
                    <a:lnTo>
                      <a:pt x="164211" y="994990"/>
                    </a:lnTo>
                    <a:lnTo>
                      <a:pt x="153347" y="994990"/>
                    </a:lnTo>
                    <a:lnTo>
                      <a:pt x="153347" y="933600"/>
                    </a:lnTo>
                    <a:lnTo>
                      <a:pt x="146905" y="933600"/>
                    </a:lnTo>
                    <a:lnTo>
                      <a:pt x="146905" y="894189"/>
                    </a:lnTo>
                    <a:lnTo>
                      <a:pt x="138316" y="894189"/>
                    </a:lnTo>
                    <a:lnTo>
                      <a:pt x="138316" y="822316"/>
                    </a:lnTo>
                    <a:lnTo>
                      <a:pt x="129221" y="822316"/>
                    </a:lnTo>
                    <a:lnTo>
                      <a:pt x="129221" y="768505"/>
                    </a:lnTo>
                    <a:lnTo>
                      <a:pt x="117853" y="768505"/>
                    </a:lnTo>
                    <a:lnTo>
                      <a:pt x="117853" y="735537"/>
                    </a:lnTo>
                    <a:lnTo>
                      <a:pt x="106358" y="735537"/>
                    </a:lnTo>
                    <a:lnTo>
                      <a:pt x="106358" y="659874"/>
                    </a:lnTo>
                    <a:lnTo>
                      <a:pt x="92084" y="659874"/>
                    </a:lnTo>
                    <a:lnTo>
                      <a:pt x="92084" y="599874"/>
                    </a:lnTo>
                    <a:lnTo>
                      <a:pt x="80968" y="599874"/>
                    </a:lnTo>
                    <a:lnTo>
                      <a:pt x="80968" y="542021"/>
                    </a:lnTo>
                    <a:lnTo>
                      <a:pt x="71747" y="542021"/>
                    </a:lnTo>
                    <a:lnTo>
                      <a:pt x="71747" y="468632"/>
                    </a:lnTo>
                    <a:lnTo>
                      <a:pt x="60379" y="468632"/>
                    </a:lnTo>
                    <a:lnTo>
                      <a:pt x="60379" y="382105"/>
                    </a:lnTo>
                    <a:lnTo>
                      <a:pt x="50653" y="382105"/>
                    </a:lnTo>
                    <a:lnTo>
                      <a:pt x="50653" y="328295"/>
                    </a:lnTo>
                    <a:lnTo>
                      <a:pt x="37263" y="328295"/>
                    </a:lnTo>
                    <a:lnTo>
                      <a:pt x="37263" y="220295"/>
                    </a:lnTo>
                    <a:lnTo>
                      <a:pt x="29053" y="220295"/>
                    </a:lnTo>
                    <a:lnTo>
                      <a:pt x="29053" y="178863"/>
                    </a:lnTo>
                    <a:lnTo>
                      <a:pt x="18316" y="178863"/>
                    </a:lnTo>
                    <a:lnTo>
                      <a:pt x="18316" y="121768"/>
                    </a:lnTo>
                    <a:lnTo>
                      <a:pt x="10484" y="121768"/>
                    </a:lnTo>
                    <a:lnTo>
                      <a:pt x="10484" y="50274"/>
                    </a:lnTo>
                    <a:lnTo>
                      <a:pt x="0" y="50274"/>
                    </a:lnTo>
                    <a:lnTo>
                      <a:pt x="0" y="0"/>
                    </a:lnTo>
                  </a:path>
                </a:pathLst>
              </a:custGeom>
              <a:noFill/>
              <a:ln w="12622" cap="flat">
                <a:solidFill>
                  <a:srgbClr val="FF585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352" name="Grafik 17">
                <a:extLst>
                  <a:ext uri="{FF2B5EF4-FFF2-40B4-BE49-F238E27FC236}">
                    <a16:creationId xmlns:a16="http://schemas.microsoft.com/office/drawing/2014/main" id="{B4B2F047-AA28-2FEF-1574-C82BA6BCAD13}"/>
                  </a:ext>
                </a:extLst>
              </p:cNvPr>
              <p:cNvGrpSpPr/>
              <p:nvPr/>
            </p:nvGrpSpPr>
            <p:grpSpPr>
              <a:xfrm>
                <a:off x="8317537" y="3904632"/>
                <a:ext cx="42947" cy="42947"/>
                <a:chOff x="8317537" y="3904632"/>
                <a:chExt cx="42947" cy="42947"/>
              </a:xfrm>
            </p:grpSpPr>
            <p:sp>
              <p:nvSpPr>
                <p:cNvPr id="353" name="Freihandform: Form 352">
                  <a:extLst>
                    <a:ext uri="{FF2B5EF4-FFF2-40B4-BE49-F238E27FC236}">
                      <a16:creationId xmlns:a16="http://schemas.microsoft.com/office/drawing/2014/main" id="{9E761AE0-AE65-599B-9C68-B07A68198430}"/>
                    </a:ext>
                  </a:extLst>
                </p:cNvPr>
                <p:cNvSpPr/>
                <p:nvPr/>
              </p:nvSpPr>
              <p:spPr>
                <a:xfrm>
                  <a:off x="8339011" y="3904632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4" name="Freihandform: Form 353">
                  <a:extLst>
                    <a:ext uri="{FF2B5EF4-FFF2-40B4-BE49-F238E27FC236}">
                      <a16:creationId xmlns:a16="http://schemas.microsoft.com/office/drawing/2014/main" id="{689412CB-4E72-5C28-78E2-E6A9EEC80292}"/>
                    </a:ext>
                  </a:extLst>
                </p:cNvPr>
                <p:cNvSpPr/>
                <p:nvPr/>
              </p:nvSpPr>
              <p:spPr>
                <a:xfrm>
                  <a:off x="8317537" y="3926106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55" name="Grafik 17">
                <a:extLst>
                  <a:ext uri="{FF2B5EF4-FFF2-40B4-BE49-F238E27FC236}">
                    <a16:creationId xmlns:a16="http://schemas.microsoft.com/office/drawing/2014/main" id="{7C07491F-913E-CF0B-8C51-6011C776295F}"/>
                  </a:ext>
                </a:extLst>
              </p:cNvPr>
              <p:cNvGrpSpPr/>
              <p:nvPr/>
            </p:nvGrpSpPr>
            <p:grpSpPr>
              <a:xfrm>
                <a:off x="8258547" y="3902611"/>
                <a:ext cx="42947" cy="42947"/>
                <a:chOff x="8258547" y="3902611"/>
                <a:chExt cx="42947" cy="42947"/>
              </a:xfrm>
            </p:grpSpPr>
            <p:sp>
              <p:nvSpPr>
                <p:cNvPr id="356" name="Freihandform: Form 355">
                  <a:extLst>
                    <a:ext uri="{FF2B5EF4-FFF2-40B4-BE49-F238E27FC236}">
                      <a16:creationId xmlns:a16="http://schemas.microsoft.com/office/drawing/2014/main" id="{EBF245A4-8EE6-05D3-D12A-C6C18CF409D2}"/>
                    </a:ext>
                  </a:extLst>
                </p:cNvPr>
                <p:cNvSpPr/>
                <p:nvPr/>
              </p:nvSpPr>
              <p:spPr>
                <a:xfrm>
                  <a:off x="8280021" y="3902611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7" name="Freihandform: Form 356">
                  <a:extLst>
                    <a:ext uri="{FF2B5EF4-FFF2-40B4-BE49-F238E27FC236}">
                      <a16:creationId xmlns:a16="http://schemas.microsoft.com/office/drawing/2014/main" id="{0AACC3F8-F106-F4D4-FA25-515C0CD7FC61}"/>
                    </a:ext>
                  </a:extLst>
                </p:cNvPr>
                <p:cNvSpPr/>
                <p:nvPr/>
              </p:nvSpPr>
              <p:spPr>
                <a:xfrm>
                  <a:off x="8258547" y="3924085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58" name="Grafik 17">
                <a:extLst>
                  <a:ext uri="{FF2B5EF4-FFF2-40B4-BE49-F238E27FC236}">
                    <a16:creationId xmlns:a16="http://schemas.microsoft.com/office/drawing/2014/main" id="{D5B84275-8248-2112-651E-2C647B974475}"/>
                  </a:ext>
                </a:extLst>
              </p:cNvPr>
              <p:cNvGrpSpPr/>
              <p:nvPr/>
            </p:nvGrpSpPr>
            <p:grpSpPr>
              <a:xfrm>
                <a:off x="8157369" y="3905138"/>
                <a:ext cx="42947" cy="42947"/>
                <a:chOff x="8157369" y="3905138"/>
                <a:chExt cx="42947" cy="42947"/>
              </a:xfrm>
            </p:grpSpPr>
            <p:sp>
              <p:nvSpPr>
                <p:cNvPr id="359" name="Freihandform: Form 358">
                  <a:extLst>
                    <a:ext uri="{FF2B5EF4-FFF2-40B4-BE49-F238E27FC236}">
                      <a16:creationId xmlns:a16="http://schemas.microsoft.com/office/drawing/2014/main" id="{68DBFDD8-102C-44C6-C9A6-4663EBB07F6D}"/>
                    </a:ext>
                  </a:extLst>
                </p:cNvPr>
                <p:cNvSpPr/>
                <p:nvPr/>
              </p:nvSpPr>
              <p:spPr>
                <a:xfrm>
                  <a:off x="8178842" y="3905138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0" name="Freihandform: Form 359">
                  <a:extLst>
                    <a:ext uri="{FF2B5EF4-FFF2-40B4-BE49-F238E27FC236}">
                      <a16:creationId xmlns:a16="http://schemas.microsoft.com/office/drawing/2014/main" id="{CA297AC8-073B-A590-B0C4-D023B6A78C9D}"/>
                    </a:ext>
                  </a:extLst>
                </p:cNvPr>
                <p:cNvSpPr/>
                <p:nvPr/>
              </p:nvSpPr>
              <p:spPr>
                <a:xfrm>
                  <a:off x="8157369" y="3926611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61" name="Grafik 17">
                <a:extLst>
                  <a:ext uri="{FF2B5EF4-FFF2-40B4-BE49-F238E27FC236}">
                    <a16:creationId xmlns:a16="http://schemas.microsoft.com/office/drawing/2014/main" id="{5102CF9B-2DEE-0C97-E8B5-18822096166C}"/>
                  </a:ext>
                </a:extLst>
              </p:cNvPr>
              <p:cNvGrpSpPr/>
              <p:nvPr/>
            </p:nvGrpSpPr>
            <p:grpSpPr>
              <a:xfrm>
                <a:off x="8108232" y="3905138"/>
                <a:ext cx="43073" cy="42947"/>
                <a:chOff x="8108232" y="3905138"/>
                <a:chExt cx="43073" cy="42947"/>
              </a:xfrm>
            </p:grpSpPr>
            <p:sp>
              <p:nvSpPr>
                <p:cNvPr id="362" name="Freihandform: Form 361">
                  <a:extLst>
                    <a:ext uri="{FF2B5EF4-FFF2-40B4-BE49-F238E27FC236}">
                      <a16:creationId xmlns:a16="http://schemas.microsoft.com/office/drawing/2014/main" id="{2C3CC10C-A75F-2077-A991-330EE2492F70}"/>
                    </a:ext>
                  </a:extLst>
                </p:cNvPr>
                <p:cNvSpPr/>
                <p:nvPr/>
              </p:nvSpPr>
              <p:spPr>
                <a:xfrm>
                  <a:off x="8129705" y="3905138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3" name="Freihandform: Form 362">
                  <a:extLst>
                    <a:ext uri="{FF2B5EF4-FFF2-40B4-BE49-F238E27FC236}">
                      <a16:creationId xmlns:a16="http://schemas.microsoft.com/office/drawing/2014/main" id="{9B71055F-DDDE-08D2-04F2-44241688511E}"/>
                    </a:ext>
                  </a:extLst>
                </p:cNvPr>
                <p:cNvSpPr/>
                <p:nvPr/>
              </p:nvSpPr>
              <p:spPr>
                <a:xfrm>
                  <a:off x="8108232" y="3926611"/>
                  <a:ext cx="43073" cy="12631"/>
                </a:xfrm>
                <a:custGeom>
                  <a:avLst/>
                  <a:gdLst>
                    <a:gd name="connsiteX0" fmla="*/ 43074 w 43073"/>
                    <a:gd name="connsiteY0" fmla="*/ 0 h 12631"/>
                    <a:gd name="connsiteX1" fmla="*/ 0 w 43073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073" h="12631">
                      <a:moveTo>
                        <a:pt x="43074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64" name="Grafik 17">
                <a:extLst>
                  <a:ext uri="{FF2B5EF4-FFF2-40B4-BE49-F238E27FC236}">
                    <a16:creationId xmlns:a16="http://schemas.microsoft.com/office/drawing/2014/main" id="{8B9A7119-7D57-6017-DDF5-B12E78BA2AB1}"/>
                  </a:ext>
                </a:extLst>
              </p:cNvPr>
              <p:cNvGrpSpPr/>
              <p:nvPr/>
            </p:nvGrpSpPr>
            <p:grpSpPr>
              <a:xfrm>
                <a:off x="8071474" y="3905138"/>
                <a:ext cx="42947" cy="42947"/>
                <a:chOff x="8071474" y="3905138"/>
                <a:chExt cx="42947" cy="42947"/>
              </a:xfrm>
            </p:grpSpPr>
            <p:sp>
              <p:nvSpPr>
                <p:cNvPr id="365" name="Freihandform: Form 364">
                  <a:extLst>
                    <a:ext uri="{FF2B5EF4-FFF2-40B4-BE49-F238E27FC236}">
                      <a16:creationId xmlns:a16="http://schemas.microsoft.com/office/drawing/2014/main" id="{6E7B5BA2-62F1-2148-32B5-2CA85EA47FC0}"/>
                    </a:ext>
                  </a:extLst>
                </p:cNvPr>
                <p:cNvSpPr/>
                <p:nvPr/>
              </p:nvSpPr>
              <p:spPr>
                <a:xfrm>
                  <a:off x="8092947" y="3905138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6" name="Freihandform: Form 365">
                  <a:extLst>
                    <a:ext uri="{FF2B5EF4-FFF2-40B4-BE49-F238E27FC236}">
                      <a16:creationId xmlns:a16="http://schemas.microsoft.com/office/drawing/2014/main" id="{3EAC5564-2ECD-550E-B73C-5A868AF9AA7D}"/>
                    </a:ext>
                  </a:extLst>
                </p:cNvPr>
                <p:cNvSpPr/>
                <p:nvPr/>
              </p:nvSpPr>
              <p:spPr>
                <a:xfrm>
                  <a:off x="8071474" y="3926611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67" name="Grafik 17">
                <a:extLst>
                  <a:ext uri="{FF2B5EF4-FFF2-40B4-BE49-F238E27FC236}">
                    <a16:creationId xmlns:a16="http://schemas.microsoft.com/office/drawing/2014/main" id="{EA1A889B-52E2-D42D-F876-5CC932DE3FBD}"/>
                  </a:ext>
                </a:extLst>
              </p:cNvPr>
              <p:cNvGrpSpPr/>
              <p:nvPr/>
            </p:nvGrpSpPr>
            <p:grpSpPr>
              <a:xfrm>
                <a:off x="8001242" y="3899201"/>
                <a:ext cx="42947" cy="42947"/>
                <a:chOff x="8001242" y="3899201"/>
                <a:chExt cx="42947" cy="42947"/>
              </a:xfrm>
            </p:grpSpPr>
            <p:sp>
              <p:nvSpPr>
                <p:cNvPr id="368" name="Freihandform: Form 367">
                  <a:extLst>
                    <a:ext uri="{FF2B5EF4-FFF2-40B4-BE49-F238E27FC236}">
                      <a16:creationId xmlns:a16="http://schemas.microsoft.com/office/drawing/2014/main" id="{9AE55E23-827F-BB26-9AA8-39FF253EC8EF}"/>
                    </a:ext>
                  </a:extLst>
                </p:cNvPr>
                <p:cNvSpPr/>
                <p:nvPr/>
              </p:nvSpPr>
              <p:spPr>
                <a:xfrm>
                  <a:off x="8022716" y="3899201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9" name="Freihandform: Form 368">
                  <a:extLst>
                    <a:ext uri="{FF2B5EF4-FFF2-40B4-BE49-F238E27FC236}">
                      <a16:creationId xmlns:a16="http://schemas.microsoft.com/office/drawing/2014/main" id="{DBEED66D-C0E5-587C-659C-EB99A7C20C8B}"/>
                    </a:ext>
                  </a:extLst>
                </p:cNvPr>
                <p:cNvSpPr/>
                <p:nvPr/>
              </p:nvSpPr>
              <p:spPr>
                <a:xfrm>
                  <a:off x="8001242" y="3920675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70" name="Grafik 17">
                <a:extLst>
                  <a:ext uri="{FF2B5EF4-FFF2-40B4-BE49-F238E27FC236}">
                    <a16:creationId xmlns:a16="http://schemas.microsoft.com/office/drawing/2014/main" id="{097ABA49-E0EC-755F-72D3-3D0F9D3C278E}"/>
                  </a:ext>
                </a:extLst>
              </p:cNvPr>
              <p:cNvGrpSpPr/>
              <p:nvPr/>
            </p:nvGrpSpPr>
            <p:grpSpPr>
              <a:xfrm>
                <a:off x="7988484" y="3899201"/>
                <a:ext cx="42947" cy="42947"/>
                <a:chOff x="7988484" y="3899201"/>
                <a:chExt cx="42947" cy="42947"/>
              </a:xfrm>
            </p:grpSpPr>
            <p:sp>
              <p:nvSpPr>
                <p:cNvPr id="371" name="Freihandform: Form 370">
                  <a:extLst>
                    <a:ext uri="{FF2B5EF4-FFF2-40B4-BE49-F238E27FC236}">
                      <a16:creationId xmlns:a16="http://schemas.microsoft.com/office/drawing/2014/main" id="{7476FED9-C77E-5F59-972B-504A7D2F3227}"/>
                    </a:ext>
                  </a:extLst>
                </p:cNvPr>
                <p:cNvSpPr/>
                <p:nvPr/>
              </p:nvSpPr>
              <p:spPr>
                <a:xfrm>
                  <a:off x="8009958" y="3899201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72" name="Freihandform: Form 371">
                  <a:extLst>
                    <a:ext uri="{FF2B5EF4-FFF2-40B4-BE49-F238E27FC236}">
                      <a16:creationId xmlns:a16="http://schemas.microsoft.com/office/drawing/2014/main" id="{5988791E-D2C5-AB26-374A-34D2E6B75E58}"/>
                    </a:ext>
                  </a:extLst>
                </p:cNvPr>
                <p:cNvSpPr/>
                <p:nvPr/>
              </p:nvSpPr>
              <p:spPr>
                <a:xfrm>
                  <a:off x="7988484" y="3920675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73" name="Grafik 17">
                <a:extLst>
                  <a:ext uri="{FF2B5EF4-FFF2-40B4-BE49-F238E27FC236}">
                    <a16:creationId xmlns:a16="http://schemas.microsoft.com/office/drawing/2014/main" id="{F3EC53D2-EB5D-20DB-7CA7-701B0C8E0656}"/>
                  </a:ext>
                </a:extLst>
              </p:cNvPr>
              <p:cNvGrpSpPr/>
              <p:nvPr/>
            </p:nvGrpSpPr>
            <p:grpSpPr>
              <a:xfrm>
                <a:off x="7943769" y="3899201"/>
                <a:ext cx="42947" cy="42947"/>
                <a:chOff x="7943769" y="3899201"/>
                <a:chExt cx="42947" cy="42947"/>
              </a:xfrm>
            </p:grpSpPr>
            <p:sp>
              <p:nvSpPr>
                <p:cNvPr id="374" name="Freihandform: Form 373">
                  <a:extLst>
                    <a:ext uri="{FF2B5EF4-FFF2-40B4-BE49-F238E27FC236}">
                      <a16:creationId xmlns:a16="http://schemas.microsoft.com/office/drawing/2014/main" id="{80AE08F8-FAAB-ED81-C9C9-FA58A616FED4}"/>
                    </a:ext>
                  </a:extLst>
                </p:cNvPr>
                <p:cNvSpPr/>
                <p:nvPr/>
              </p:nvSpPr>
              <p:spPr>
                <a:xfrm>
                  <a:off x="7965242" y="3899201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75" name="Freihandform: Form 374">
                  <a:extLst>
                    <a:ext uri="{FF2B5EF4-FFF2-40B4-BE49-F238E27FC236}">
                      <a16:creationId xmlns:a16="http://schemas.microsoft.com/office/drawing/2014/main" id="{3152A434-85B9-5557-DA72-3E415B4ACC76}"/>
                    </a:ext>
                  </a:extLst>
                </p:cNvPr>
                <p:cNvSpPr/>
                <p:nvPr/>
              </p:nvSpPr>
              <p:spPr>
                <a:xfrm>
                  <a:off x="7943769" y="3920675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76" name="Grafik 17">
                <a:extLst>
                  <a:ext uri="{FF2B5EF4-FFF2-40B4-BE49-F238E27FC236}">
                    <a16:creationId xmlns:a16="http://schemas.microsoft.com/office/drawing/2014/main" id="{55F22A18-3249-CD63-F646-2EC6494400DB}"/>
                  </a:ext>
                </a:extLst>
              </p:cNvPr>
              <p:cNvGrpSpPr/>
              <p:nvPr/>
            </p:nvGrpSpPr>
            <p:grpSpPr>
              <a:xfrm>
                <a:off x="7924063" y="3899201"/>
                <a:ext cx="42947" cy="42947"/>
                <a:chOff x="7924063" y="3899201"/>
                <a:chExt cx="42947" cy="42947"/>
              </a:xfrm>
            </p:grpSpPr>
            <p:sp>
              <p:nvSpPr>
                <p:cNvPr id="377" name="Freihandform: Form 376">
                  <a:extLst>
                    <a:ext uri="{FF2B5EF4-FFF2-40B4-BE49-F238E27FC236}">
                      <a16:creationId xmlns:a16="http://schemas.microsoft.com/office/drawing/2014/main" id="{755E52BA-5990-DFC5-9EC0-BCAF522A0445}"/>
                    </a:ext>
                  </a:extLst>
                </p:cNvPr>
                <p:cNvSpPr/>
                <p:nvPr/>
              </p:nvSpPr>
              <p:spPr>
                <a:xfrm>
                  <a:off x="7945537" y="3899201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78" name="Freihandform: Form 377">
                  <a:extLst>
                    <a:ext uri="{FF2B5EF4-FFF2-40B4-BE49-F238E27FC236}">
                      <a16:creationId xmlns:a16="http://schemas.microsoft.com/office/drawing/2014/main" id="{9300E124-115A-5EA6-7BCF-0B6A57F47A69}"/>
                    </a:ext>
                  </a:extLst>
                </p:cNvPr>
                <p:cNvSpPr/>
                <p:nvPr/>
              </p:nvSpPr>
              <p:spPr>
                <a:xfrm>
                  <a:off x="7924063" y="3920675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79" name="Grafik 17">
                <a:extLst>
                  <a:ext uri="{FF2B5EF4-FFF2-40B4-BE49-F238E27FC236}">
                    <a16:creationId xmlns:a16="http://schemas.microsoft.com/office/drawing/2014/main" id="{16A75828-1D27-DC16-4D6E-5E5F6FC17F4B}"/>
                  </a:ext>
                </a:extLst>
              </p:cNvPr>
              <p:cNvGrpSpPr/>
              <p:nvPr/>
            </p:nvGrpSpPr>
            <p:grpSpPr>
              <a:xfrm>
                <a:off x="7891600" y="3899201"/>
                <a:ext cx="43073" cy="42947"/>
                <a:chOff x="7891600" y="3899201"/>
                <a:chExt cx="43073" cy="42947"/>
              </a:xfrm>
            </p:grpSpPr>
            <p:sp>
              <p:nvSpPr>
                <p:cNvPr id="380" name="Freihandform: Form 379">
                  <a:extLst>
                    <a:ext uri="{FF2B5EF4-FFF2-40B4-BE49-F238E27FC236}">
                      <a16:creationId xmlns:a16="http://schemas.microsoft.com/office/drawing/2014/main" id="{BD38D8F9-5976-B0CF-F798-5BF041FE6D90}"/>
                    </a:ext>
                  </a:extLst>
                </p:cNvPr>
                <p:cNvSpPr/>
                <p:nvPr/>
              </p:nvSpPr>
              <p:spPr>
                <a:xfrm>
                  <a:off x="7913200" y="3899201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81" name="Freihandform: Form 380">
                  <a:extLst>
                    <a:ext uri="{FF2B5EF4-FFF2-40B4-BE49-F238E27FC236}">
                      <a16:creationId xmlns:a16="http://schemas.microsoft.com/office/drawing/2014/main" id="{2A288583-8051-2359-5CA5-72F49E67BE8F}"/>
                    </a:ext>
                  </a:extLst>
                </p:cNvPr>
                <p:cNvSpPr/>
                <p:nvPr/>
              </p:nvSpPr>
              <p:spPr>
                <a:xfrm>
                  <a:off x="7891600" y="3920675"/>
                  <a:ext cx="43073" cy="12631"/>
                </a:xfrm>
                <a:custGeom>
                  <a:avLst/>
                  <a:gdLst>
                    <a:gd name="connsiteX0" fmla="*/ 43074 w 43073"/>
                    <a:gd name="connsiteY0" fmla="*/ 0 h 12631"/>
                    <a:gd name="connsiteX1" fmla="*/ 0 w 43073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073" h="12631">
                      <a:moveTo>
                        <a:pt x="43074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82" name="Grafik 17">
                <a:extLst>
                  <a:ext uri="{FF2B5EF4-FFF2-40B4-BE49-F238E27FC236}">
                    <a16:creationId xmlns:a16="http://schemas.microsoft.com/office/drawing/2014/main" id="{A3E1C21F-031A-F7ED-96B1-280677288258}"/>
                  </a:ext>
                </a:extLst>
              </p:cNvPr>
              <p:cNvGrpSpPr/>
              <p:nvPr/>
            </p:nvGrpSpPr>
            <p:grpSpPr>
              <a:xfrm>
                <a:off x="7795853" y="3899201"/>
                <a:ext cx="42947" cy="42947"/>
                <a:chOff x="7795853" y="3899201"/>
                <a:chExt cx="42947" cy="42947"/>
              </a:xfrm>
            </p:grpSpPr>
            <p:sp>
              <p:nvSpPr>
                <p:cNvPr id="383" name="Freihandform: Form 382">
                  <a:extLst>
                    <a:ext uri="{FF2B5EF4-FFF2-40B4-BE49-F238E27FC236}">
                      <a16:creationId xmlns:a16="http://schemas.microsoft.com/office/drawing/2014/main" id="{A6CC7E82-45CB-3B88-43F4-A739A57DF74B}"/>
                    </a:ext>
                  </a:extLst>
                </p:cNvPr>
                <p:cNvSpPr/>
                <p:nvPr/>
              </p:nvSpPr>
              <p:spPr>
                <a:xfrm>
                  <a:off x="7817326" y="3899201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84" name="Freihandform: Form 383">
                  <a:extLst>
                    <a:ext uri="{FF2B5EF4-FFF2-40B4-BE49-F238E27FC236}">
                      <a16:creationId xmlns:a16="http://schemas.microsoft.com/office/drawing/2014/main" id="{9C28E0E8-11DC-CC35-31D7-D496FB58F367}"/>
                    </a:ext>
                  </a:extLst>
                </p:cNvPr>
                <p:cNvSpPr/>
                <p:nvPr/>
              </p:nvSpPr>
              <p:spPr>
                <a:xfrm>
                  <a:off x="7795853" y="3920675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85" name="Grafik 17">
                <a:extLst>
                  <a:ext uri="{FF2B5EF4-FFF2-40B4-BE49-F238E27FC236}">
                    <a16:creationId xmlns:a16="http://schemas.microsoft.com/office/drawing/2014/main" id="{41CE2577-5223-1EF8-2280-1650FF1C106D}"/>
                  </a:ext>
                </a:extLst>
              </p:cNvPr>
              <p:cNvGrpSpPr/>
              <p:nvPr/>
            </p:nvGrpSpPr>
            <p:grpSpPr>
              <a:xfrm>
                <a:off x="7767937" y="3899201"/>
                <a:ext cx="42947" cy="42947"/>
                <a:chOff x="7767937" y="3899201"/>
                <a:chExt cx="42947" cy="42947"/>
              </a:xfrm>
            </p:grpSpPr>
            <p:sp>
              <p:nvSpPr>
                <p:cNvPr id="386" name="Freihandform: Form 385">
                  <a:extLst>
                    <a:ext uri="{FF2B5EF4-FFF2-40B4-BE49-F238E27FC236}">
                      <a16:creationId xmlns:a16="http://schemas.microsoft.com/office/drawing/2014/main" id="{2DEF4CDF-2024-41F4-B095-4A08225AD248}"/>
                    </a:ext>
                  </a:extLst>
                </p:cNvPr>
                <p:cNvSpPr/>
                <p:nvPr/>
              </p:nvSpPr>
              <p:spPr>
                <a:xfrm>
                  <a:off x="7789411" y="3899201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87" name="Freihandform: Form 386">
                  <a:extLst>
                    <a:ext uri="{FF2B5EF4-FFF2-40B4-BE49-F238E27FC236}">
                      <a16:creationId xmlns:a16="http://schemas.microsoft.com/office/drawing/2014/main" id="{CEA1008D-90EF-93FE-EE99-20C8BD5793A0}"/>
                    </a:ext>
                  </a:extLst>
                </p:cNvPr>
                <p:cNvSpPr/>
                <p:nvPr/>
              </p:nvSpPr>
              <p:spPr>
                <a:xfrm>
                  <a:off x="7767937" y="3920675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88" name="Grafik 17">
                <a:extLst>
                  <a:ext uri="{FF2B5EF4-FFF2-40B4-BE49-F238E27FC236}">
                    <a16:creationId xmlns:a16="http://schemas.microsoft.com/office/drawing/2014/main" id="{FFEFD82F-8B8E-DD4D-10F9-26187B36FB1B}"/>
                  </a:ext>
                </a:extLst>
              </p:cNvPr>
              <p:cNvGrpSpPr/>
              <p:nvPr/>
            </p:nvGrpSpPr>
            <p:grpSpPr>
              <a:xfrm>
                <a:off x="7725621" y="3899201"/>
                <a:ext cx="42947" cy="42947"/>
                <a:chOff x="7725621" y="3899201"/>
                <a:chExt cx="42947" cy="42947"/>
              </a:xfrm>
            </p:grpSpPr>
            <p:sp>
              <p:nvSpPr>
                <p:cNvPr id="389" name="Freihandform: Form 388">
                  <a:extLst>
                    <a:ext uri="{FF2B5EF4-FFF2-40B4-BE49-F238E27FC236}">
                      <a16:creationId xmlns:a16="http://schemas.microsoft.com/office/drawing/2014/main" id="{14644FEC-5D2D-6B3C-92DE-8685ECAC9EA2}"/>
                    </a:ext>
                  </a:extLst>
                </p:cNvPr>
                <p:cNvSpPr/>
                <p:nvPr/>
              </p:nvSpPr>
              <p:spPr>
                <a:xfrm>
                  <a:off x="7747095" y="3899201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0" name="Freihandform: Form 389">
                  <a:extLst>
                    <a:ext uri="{FF2B5EF4-FFF2-40B4-BE49-F238E27FC236}">
                      <a16:creationId xmlns:a16="http://schemas.microsoft.com/office/drawing/2014/main" id="{89C9F52B-3EFA-3666-57D3-E9D739F7FDFD}"/>
                    </a:ext>
                  </a:extLst>
                </p:cNvPr>
                <p:cNvSpPr/>
                <p:nvPr/>
              </p:nvSpPr>
              <p:spPr>
                <a:xfrm>
                  <a:off x="7725621" y="3920675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91" name="Grafik 17">
                <a:extLst>
                  <a:ext uri="{FF2B5EF4-FFF2-40B4-BE49-F238E27FC236}">
                    <a16:creationId xmlns:a16="http://schemas.microsoft.com/office/drawing/2014/main" id="{E35AFC04-3AF2-047B-ADD9-BFDE806BBD1F}"/>
                  </a:ext>
                </a:extLst>
              </p:cNvPr>
              <p:cNvGrpSpPr/>
              <p:nvPr/>
            </p:nvGrpSpPr>
            <p:grpSpPr>
              <a:xfrm>
                <a:off x="7706926" y="3899201"/>
                <a:ext cx="43073" cy="42947"/>
                <a:chOff x="7706926" y="3899201"/>
                <a:chExt cx="43073" cy="42947"/>
              </a:xfrm>
            </p:grpSpPr>
            <p:sp>
              <p:nvSpPr>
                <p:cNvPr id="392" name="Freihandform: Form 391">
                  <a:extLst>
                    <a:ext uri="{FF2B5EF4-FFF2-40B4-BE49-F238E27FC236}">
                      <a16:creationId xmlns:a16="http://schemas.microsoft.com/office/drawing/2014/main" id="{CF46916B-BF73-2E67-8E23-0252FE7398BA}"/>
                    </a:ext>
                  </a:extLst>
                </p:cNvPr>
                <p:cNvSpPr/>
                <p:nvPr/>
              </p:nvSpPr>
              <p:spPr>
                <a:xfrm>
                  <a:off x="7728400" y="3899201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3" name="Freihandform: Form 392">
                  <a:extLst>
                    <a:ext uri="{FF2B5EF4-FFF2-40B4-BE49-F238E27FC236}">
                      <a16:creationId xmlns:a16="http://schemas.microsoft.com/office/drawing/2014/main" id="{07047524-2769-8575-15A7-F25F819FBF39}"/>
                    </a:ext>
                  </a:extLst>
                </p:cNvPr>
                <p:cNvSpPr/>
                <p:nvPr/>
              </p:nvSpPr>
              <p:spPr>
                <a:xfrm>
                  <a:off x="7706926" y="3920675"/>
                  <a:ext cx="43073" cy="12631"/>
                </a:xfrm>
                <a:custGeom>
                  <a:avLst/>
                  <a:gdLst>
                    <a:gd name="connsiteX0" fmla="*/ 43074 w 43073"/>
                    <a:gd name="connsiteY0" fmla="*/ 0 h 12631"/>
                    <a:gd name="connsiteX1" fmla="*/ 0 w 43073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073" h="12631">
                      <a:moveTo>
                        <a:pt x="43074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94" name="Grafik 17">
                <a:extLst>
                  <a:ext uri="{FF2B5EF4-FFF2-40B4-BE49-F238E27FC236}">
                    <a16:creationId xmlns:a16="http://schemas.microsoft.com/office/drawing/2014/main" id="{23CD0999-A054-002E-4C71-67407DB1CE9E}"/>
                  </a:ext>
                </a:extLst>
              </p:cNvPr>
              <p:cNvGrpSpPr/>
              <p:nvPr/>
            </p:nvGrpSpPr>
            <p:grpSpPr>
              <a:xfrm>
                <a:off x="7625958" y="3899201"/>
                <a:ext cx="42947" cy="42947"/>
                <a:chOff x="7625958" y="3899201"/>
                <a:chExt cx="42947" cy="42947"/>
              </a:xfrm>
            </p:grpSpPr>
            <p:sp>
              <p:nvSpPr>
                <p:cNvPr id="395" name="Freihandform: Form 394">
                  <a:extLst>
                    <a:ext uri="{FF2B5EF4-FFF2-40B4-BE49-F238E27FC236}">
                      <a16:creationId xmlns:a16="http://schemas.microsoft.com/office/drawing/2014/main" id="{1914C0B5-1453-9BD4-335B-B87EDAFFCE76}"/>
                    </a:ext>
                  </a:extLst>
                </p:cNvPr>
                <p:cNvSpPr/>
                <p:nvPr/>
              </p:nvSpPr>
              <p:spPr>
                <a:xfrm>
                  <a:off x="7647432" y="3899201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6" name="Freihandform: Form 395">
                  <a:extLst>
                    <a:ext uri="{FF2B5EF4-FFF2-40B4-BE49-F238E27FC236}">
                      <a16:creationId xmlns:a16="http://schemas.microsoft.com/office/drawing/2014/main" id="{F896B250-7F67-6EFE-9763-A8CADD4851A6}"/>
                    </a:ext>
                  </a:extLst>
                </p:cNvPr>
                <p:cNvSpPr/>
                <p:nvPr/>
              </p:nvSpPr>
              <p:spPr>
                <a:xfrm>
                  <a:off x="7625958" y="3920675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97" name="Grafik 17">
                <a:extLst>
                  <a:ext uri="{FF2B5EF4-FFF2-40B4-BE49-F238E27FC236}">
                    <a16:creationId xmlns:a16="http://schemas.microsoft.com/office/drawing/2014/main" id="{DBAAE436-F821-3EBE-6704-FE5B127E0465}"/>
                  </a:ext>
                </a:extLst>
              </p:cNvPr>
              <p:cNvGrpSpPr/>
              <p:nvPr/>
            </p:nvGrpSpPr>
            <p:grpSpPr>
              <a:xfrm>
                <a:off x="7308147" y="3876085"/>
                <a:ext cx="42947" cy="42947"/>
                <a:chOff x="7308147" y="3876085"/>
                <a:chExt cx="42947" cy="42947"/>
              </a:xfrm>
            </p:grpSpPr>
            <p:sp>
              <p:nvSpPr>
                <p:cNvPr id="398" name="Freihandform: Form 397">
                  <a:extLst>
                    <a:ext uri="{FF2B5EF4-FFF2-40B4-BE49-F238E27FC236}">
                      <a16:creationId xmlns:a16="http://schemas.microsoft.com/office/drawing/2014/main" id="{B2427EEF-B3D7-5988-DCC4-44EA2777C49A}"/>
                    </a:ext>
                  </a:extLst>
                </p:cNvPr>
                <p:cNvSpPr/>
                <p:nvPr/>
              </p:nvSpPr>
              <p:spPr>
                <a:xfrm>
                  <a:off x="7329621" y="3876085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9" name="Freihandform: Form 398">
                  <a:extLst>
                    <a:ext uri="{FF2B5EF4-FFF2-40B4-BE49-F238E27FC236}">
                      <a16:creationId xmlns:a16="http://schemas.microsoft.com/office/drawing/2014/main" id="{603FEEAB-375B-4C7D-C8D7-3098F20F431C}"/>
                    </a:ext>
                  </a:extLst>
                </p:cNvPr>
                <p:cNvSpPr/>
                <p:nvPr/>
              </p:nvSpPr>
              <p:spPr>
                <a:xfrm>
                  <a:off x="7308147" y="3897559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00" name="Grafik 17">
                <a:extLst>
                  <a:ext uri="{FF2B5EF4-FFF2-40B4-BE49-F238E27FC236}">
                    <a16:creationId xmlns:a16="http://schemas.microsoft.com/office/drawing/2014/main" id="{119436D1-4391-F7DF-71C9-0B6312D66B47}"/>
                  </a:ext>
                </a:extLst>
              </p:cNvPr>
              <p:cNvGrpSpPr/>
              <p:nvPr/>
            </p:nvGrpSpPr>
            <p:grpSpPr>
              <a:xfrm>
                <a:off x="7334674" y="3876085"/>
                <a:ext cx="42947" cy="42947"/>
                <a:chOff x="7334674" y="3876085"/>
                <a:chExt cx="42947" cy="42947"/>
              </a:xfrm>
            </p:grpSpPr>
            <p:sp>
              <p:nvSpPr>
                <p:cNvPr id="401" name="Freihandform: Form 400">
                  <a:extLst>
                    <a:ext uri="{FF2B5EF4-FFF2-40B4-BE49-F238E27FC236}">
                      <a16:creationId xmlns:a16="http://schemas.microsoft.com/office/drawing/2014/main" id="{200BA9A4-4A42-6C6A-90E2-C6AE4AB377E8}"/>
                    </a:ext>
                  </a:extLst>
                </p:cNvPr>
                <p:cNvSpPr/>
                <p:nvPr/>
              </p:nvSpPr>
              <p:spPr>
                <a:xfrm>
                  <a:off x="7356147" y="3876085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2" name="Freihandform: Form 401">
                  <a:extLst>
                    <a:ext uri="{FF2B5EF4-FFF2-40B4-BE49-F238E27FC236}">
                      <a16:creationId xmlns:a16="http://schemas.microsoft.com/office/drawing/2014/main" id="{673FCFDF-3B9F-84E6-DCAE-314B3ED9F3A9}"/>
                    </a:ext>
                  </a:extLst>
                </p:cNvPr>
                <p:cNvSpPr/>
                <p:nvPr/>
              </p:nvSpPr>
              <p:spPr>
                <a:xfrm>
                  <a:off x="7334674" y="3897559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03" name="Grafik 17">
                <a:extLst>
                  <a:ext uri="{FF2B5EF4-FFF2-40B4-BE49-F238E27FC236}">
                    <a16:creationId xmlns:a16="http://schemas.microsoft.com/office/drawing/2014/main" id="{95BEA80B-0A17-0BAB-E580-60D905CF7782}"/>
                  </a:ext>
                </a:extLst>
              </p:cNvPr>
              <p:cNvGrpSpPr/>
              <p:nvPr/>
            </p:nvGrpSpPr>
            <p:grpSpPr>
              <a:xfrm>
                <a:off x="7286042" y="3876085"/>
                <a:ext cx="42947" cy="42947"/>
                <a:chOff x="7286042" y="3876085"/>
                <a:chExt cx="42947" cy="42947"/>
              </a:xfrm>
            </p:grpSpPr>
            <p:sp>
              <p:nvSpPr>
                <p:cNvPr id="404" name="Freihandform: Form 403">
                  <a:extLst>
                    <a:ext uri="{FF2B5EF4-FFF2-40B4-BE49-F238E27FC236}">
                      <a16:creationId xmlns:a16="http://schemas.microsoft.com/office/drawing/2014/main" id="{77028BF6-0B44-4C7D-9A25-4FAAD0B14826}"/>
                    </a:ext>
                  </a:extLst>
                </p:cNvPr>
                <p:cNvSpPr/>
                <p:nvPr/>
              </p:nvSpPr>
              <p:spPr>
                <a:xfrm>
                  <a:off x="7307516" y="3876085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5" name="Freihandform: Form 404">
                  <a:extLst>
                    <a:ext uri="{FF2B5EF4-FFF2-40B4-BE49-F238E27FC236}">
                      <a16:creationId xmlns:a16="http://schemas.microsoft.com/office/drawing/2014/main" id="{5CF28456-C00D-1963-F47B-CD1BBBE657B5}"/>
                    </a:ext>
                  </a:extLst>
                </p:cNvPr>
                <p:cNvSpPr/>
                <p:nvPr/>
              </p:nvSpPr>
              <p:spPr>
                <a:xfrm>
                  <a:off x="7286042" y="3897559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06" name="Grafik 17">
                <a:extLst>
                  <a:ext uri="{FF2B5EF4-FFF2-40B4-BE49-F238E27FC236}">
                    <a16:creationId xmlns:a16="http://schemas.microsoft.com/office/drawing/2014/main" id="{A8B37FEA-680F-99C2-1CD9-7CAF3DDCA5A2}"/>
                  </a:ext>
                </a:extLst>
              </p:cNvPr>
              <p:cNvGrpSpPr/>
              <p:nvPr/>
            </p:nvGrpSpPr>
            <p:grpSpPr>
              <a:xfrm>
                <a:off x="7267347" y="3876085"/>
                <a:ext cx="42947" cy="42947"/>
                <a:chOff x="7267347" y="3876085"/>
                <a:chExt cx="42947" cy="42947"/>
              </a:xfrm>
            </p:grpSpPr>
            <p:sp>
              <p:nvSpPr>
                <p:cNvPr id="407" name="Freihandform: Form 406">
                  <a:extLst>
                    <a:ext uri="{FF2B5EF4-FFF2-40B4-BE49-F238E27FC236}">
                      <a16:creationId xmlns:a16="http://schemas.microsoft.com/office/drawing/2014/main" id="{0057913D-B455-9446-4D30-568A1F055A2D}"/>
                    </a:ext>
                  </a:extLst>
                </p:cNvPr>
                <p:cNvSpPr/>
                <p:nvPr/>
              </p:nvSpPr>
              <p:spPr>
                <a:xfrm>
                  <a:off x="7288821" y="3876085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8" name="Freihandform: Form 407">
                  <a:extLst>
                    <a:ext uri="{FF2B5EF4-FFF2-40B4-BE49-F238E27FC236}">
                      <a16:creationId xmlns:a16="http://schemas.microsoft.com/office/drawing/2014/main" id="{20C7D12D-8EF3-0D7B-744F-1610060C42DC}"/>
                    </a:ext>
                  </a:extLst>
                </p:cNvPr>
                <p:cNvSpPr/>
                <p:nvPr/>
              </p:nvSpPr>
              <p:spPr>
                <a:xfrm>
                  <a:off x="7267347" y="3897559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09" name="Grafik 17">
                <a:extLst>
                  <a:ext uri="{FF2B5EF4-FFF2-40B4-BE49-F238E27FC236}">
                    <a16:creationId xmlns:a16="http://schemas.microsoft.com/office/drawing/2014/main" id="{6F471B80-ACBE-F8F1-2473-6CA89A692888}"/>
                  </a:ext>
                </a:extLst>
              </p:cNvPr>
              <p:cNvGrpSpPr/>
              <p:nvPr/>
            </p:nvGrpSpPr>
            <p:grpSpPr>
              <a:xfrm>
                <a:off x="7069411" y="3878106"/>
                <a:ext cx="42947" cy="42947"/>
                <a:chOff x="7069411" y="3878106"/>
                <a:chExt cx="42947" cy="42947"/>
              </a:xfrm>
            </p:grpSpPr>
            <p:sp>
              <p:nvSpPr>
                <p:cNvPr id="410" name="Freihandform: Form 409">
                  <a:extLst>
                    <a:ext uri="{FF2B5EF4-FFF2-40B4-BE49-F238E27FC236}">
                      <a16:creationId xmlns:a16="http://schemas.microsoft.com/office/drawing/2014/main" id="{B6C74BA1-8A6E-0805-9C47-437ED9E7949A}"/>
                    </a:ext>
                  </a:extLst>
                </p:cNvPr>
                <p:cNvSpPr/>
                <p:nvPr/>
              </p:nvSpPr>
              <p:spPr>
                <a:xfrm>
                  <a:off x="7090884" y="3878106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11" name="Freihandform: Form 410">
                  <a:extLst>
                    <a:ext uri="{FF2B5EF4-FFF2-40B4-BE49-F238E27FC236}">
                      <a16:creationId xmlns:a16="http://schemas.microsoft.com/office/drawing/2014/main" id="{7BE17DAE-9A6B-109E-A05D-1A0B030A3637}"/>
                    </a:ext>
                  </a:extLst>
                </p:cNvPr>
                <p:cNvSpPr/>
                <p:nvPr/>
              </p:nvSpPr>
              <p:spPr>
                <a:xfrm>
                  <a:off x="7069411" y="3899580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12" name="Grafik 17">
                <a:extLst>
                  <a:ext uri="{FF2B5EF4-FFF2-40B4-BE49-F238E27FC236}">
                    <a16:creationId xmlns:a16="http://schemas.microsoft.com/office/drawing/2014/main" id="{AFA4D29A-7402-426B-5334-D56877105FB8}"/>
                  </a:ext>
                </a:extLst>
              </p:cNvPr>
              <p:cNvGrpSpPr/>
              <p:nvPr/>
            </p:nvGrpSpPr>
            <p:grpSpPr>
              <a:xfrm>
                <a:off x="6974168" y="3835285"/>
                <a:ext cx="42947" cy="43073"/>
                <a:chOff x="6974168" y="3835285"/>
                <a:chExt cx="42947" cy="43073"/>
              </a:xfrm>
            </p:grpSpPr>
            <p:sp>
              <p:nvSpPr>
                <p:cNvPr id="413" name="Freihandform: Form 412">
                  <a:extLst>
                    <a:ext uri="{FF2B5EF4-FFF2-40B4-BE49-F238E27FC236}">
                      <a16:creationId xmlns:a16="http://schemas.microsoft.com/office/drawing/2014/main" id="{5800F6B3-CE74-52ED-076B-C266426325D2}"/>
                    </a:ext>
                  </a:extLst>
                </p:cNvPr>
                <p:cNvSpPr/>
                <p:nvPr/>
              </p:nvSpPr>
              <p:spPr>
                <a:xfrm>
                  <a:off x="6995642" y="3835285"/>
                  <a:ext cx="12631" cy="43073"/>
                </a:xfrm>
                <a:custGeom>
                  <a:avLst/>
                  <a:gdLst>
                    <a:gd name="connsiteX0" fmla="*/ 0 w 12631"/>
                    <a:gd name="connsiteY0" fmla="*/ 0 h 43073"/>
                    <a:gd name="connsiteX1" fmla="*/ 0 w 12631"/>
                    <a:gd name="connsiteY1" fmla="*/ 43074 h 430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3073">
                      <a:moveTo>
                        <a:pt x="0" y="0"/>
                      </a:moveTo>
                      <a:lnTo>
                        <a:pt x="0" y="43074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14" name="Freihandform: Form 413">
                  <a:extLst>
                    <a:ext uri="{FF2B5EF4-FFF2-40B4-BE49-F238E27FC236}">
                      <a16:creationId xmlns:a16="http://schemas.microsoft.com/office/drawing/2014/main" id="{1107BFAD-BB97-BE2C-7609-321FE752A33E}"/>
                    </a:ext>
                  </a:extLst>
                </p:cNvPr>
                <p:cNvSpPr/>
                <p:nvPr/>
              </p:nvSpPr>
              <p:spPr>
                <a:xfrm>
                  <a:off x="6974168" y="3856885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15" name="Grafik 17">
                <a:extLst>
                  <a:ext uri="{FF2B5EF4-FFF2-40B4-BE49-F238E27FC236}">
                    <a16:creationId xmlns:a16="http://schemas.microsoft.com/office/drawing/2014/main" id="{4EBB9491-647A-39FA-F464-0775F44F2E38}"/>
                  </a:ext>
                </a:extLst>
              </p:cNvPr>
              <p:cNvGrpSpPr/>
              <p:nvPr/>
            </p:nvGrpSpPr>
            <p:grpSpPr>
              <a:xfrm>
                <a:off x="6954463" y="3835285"/>
                <a:ext cx="42947" cy="43073"/>
                <a:chOff x="6954463" y="3835285"/>
                <a:chExt cx="42947" cy="43073"/>
              </a:xfrm>
            </p:grpSpPr>
            <p:sp>
              <p:nvSpPr>
                <p:cNvPr id="416" name="Freihandform: Form 415">
                  <a:extLst>
                    <a:ext uri="{FF2B5EF4-FFF2-40B4-BE49-F238E27FC236}">
                      <a16:creationId xmlns:a16="http://schemas.microsoft.com/office/drawing/2014/main" id="{7DC0F2AA-F8BC-765C-48D8-FB03BB188DB7}"/>
                    </a:ext>
                  </a:extLst>
                </p:cNvPr>
                <p:cNvSpPr/>
                <p:nvPr/>
              </p:nvSpPr>
              <p:spPr>
                <a:xfrm>
                  <a:off x="6975937" y="3835285"/>
                  <a:ext cx="12631" cy="43073"/>
                </a:xfrm>
                <a:custGeom>
                  <a:avLst/>
                  <a:gdLst>
                    <a:gd name="connsiteX0" fmla="*/ 0 w 12631"/>
                    <a:gd name="connsiteY0" fmla="*/ 0 h 43073"/>
                    <a:gd name="connsiteX1" fmla="*/ 0 w 12631"/>
                    <a:gd name="connsiteY1" fmla="*/ 43074 h 430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3073">
                      <a:moveTo>
                        <a:pt x="0" y="0"/>
                      </a:moveTo>
                      <a:lnTo>
                        <a:pt x="0" y="43074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17" name="Freihandform: Form 416">
                  <a:extLst>
                    <a:ext uri="{FF2B5EF4-FFF2-40B4-BE49-F238E27FC236}">
                      <a16:creationId xmlns:a16="http://schemas.microsoft.com/office/drawing/2014/main" id="{9B0E9FF3-EDA7-FC9E-DF43-D50A6C54D68B}"/>
                    </a:ext>
                  </a:extLst>
                </p:cNvPr>
                <p:cNvSpPr/>
                <p:nvPr/>
              </p:nvSpPr>
              <p:spPr>
                <a:xfrm>
                  <a:off x="6954463" y="3856885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18" name="Grafik 17">
                <a:extLst>
                  <a:ext uri="{FF2B5EF4-FFF2-40B4-BE49-F238E27FC236}">
                    <a16:creationId xmlns:a16="http://schemas.microsoft.com/office/drawing/2014/main" id="{97509AA1-5250-7C96-9021-21598DC7D626}"/>
                  </a:ext>
                </a:extLst>
              </p:cNvPr>
              <p:cNvGrpSpPr/>
              <p:nvPr/>
            </p:nvGrpSpPr>
            <p:grpSpPr>
              <a:xfrm>
                <a:off x="6929453" y="3835285"/>
                <a:ext cx="42947" cy="43073"/>
                <a:chOff x="6929453" y="3835285"/>
                <a:chExt cx="42947" cy="43073"/>
              </a:xfrm>
            </p:grpSpPr>
            <p:sp>
              <p:nvSpPr>
                <p:cNvPr id="419" name="Freihandform: Form 418">
                  <a:extLst>
                    <a:ext uri="{FF2B5EF4-FFF2-40B4-BE49-F238E27FC236}">
                      <a16:creationId xmlns:a16="http://schemas.microsoft.com/office/drawing/2014/main" id="{4CA76BB8-B42A-AF86-37F1-C6767D581B98}"/>
                    </a:ext>
                  </a:extLst>
                </p:cNvPr>
                <p:cNvSpPr/>
                <p:nvPr/>
              </p:nvSpPr>
              <p:spPr>
                <a:xfrm>
                  <a:off x="6950926" y="3835285"/>
                  <a:ext cx="12631" cy="43073"/>
                </a:xfrm>
                <a:custGeom>
                  <a:avLst/>
                  <a:gdLst>
                    <a:gd name="connsiteX0" fmla="*/ 0 w 12631"/>
                    <a:gd name="connsiteY0" fmla="*/ 0 h 43073"/>
                    <a:gd name="connsiteX1" fmla="*/ 0 w 12631"/>
                    <a:gd name="connsiteY1" fmla="*/ 43074 h 430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3073">
                      <a:moveTo>
                        <a:pt x="0" y="0"/>
                      </a:moveTo>
                      <a:lnTo>
                        <a:pt x="0" y="43074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0" name="Freihandform: Form 419">
                  <a:extLst>
                    <a:ext uri="{FF2B5EF4-FFF2-40B4-BE49-F238E27FC236}">
                      <a16:creationId xmlns:a16="http://schemas.microsoft.com/office/drawing/2014/main" id="{73895B6B-9730-8D1A-FBCE-154B419CFA28}"/>
                    </a:ext>
                  </a:extLst>
                </p:cNvPr>
                <p:cNvSpPr/>
                <p:nvPr/>
              </p:nvSpPr>
              <p:spPr>
                <a:xfrm>
                  <a:off x="6929453" y="3856885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1" name="Grafik 17">
                <a:extLst>
                  <a:ext uri="{FF2B5EF4-FFF2-40B4-BE49-F238E27FC236}">
                    <a16:creationId xmlns:a16="http://schemas.microsoft.com/office/drawing/2014/main" id="{75DD84D8-4017-3015-9ADD-3D57875171A0}"/>
                  </a:ext>
                </a:extLst>
              </p:cNvPr>
              <p:cNvGrpSpPr/>
              <p:nvPr/>
            </p:nvGrpSpPr>
            <p:grpSpPr>
              <a:xfrm>
                <a:off x="6855811" y="3814696"/>
                <a:ext cx="42947" cy="42947"/>
                <a:chOff x="6855811" y="3814696"/>
                <a:chExt cx="42947" cy="42947"/>
              </a:xfrm>
            </p:grpSpPr>
            <p:sp>
              <p:nvSpPr>
                <p:cNvPr id="422" name="Freihandform: Form 421">
                  <a:extLst>
                    <a:ext uri="{FF2B5EF4-FFF2-40B4-BE49-F238E27FC236}">
                      <a16:creationId xmlns:a16="http://schemas.microsoft.com/office/drawing/2014/main" id="{7B8175B1-62D1-E6A6-935D-DD03D84C898A}"/>
                    </a:ext>
                  </a:extLst>
                </p:cNvPr>
                <p:cNvSpPr/>
                <p:nvPr/>
              </p:nvSpPr>
              <p:spPr>
                <a:xfrm>
                  <a:off x="6877284" y="3814696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3" name="Freihandform: Form 422">
                  <a:extLst>
                    <a:ext uri="{FF2B5EF4-FFF2-40B4-BE49-F238E27FC236}">
                      <a16:creationId xmlns:a16="http://schemas.microsoft.com/office/drawing/2014/main" id="{0FC633B8-40FE-F7D7-6F42-D259723F8C8F}"/>
                    </a:ext>
                  </a:extLst>
                </p:cNvPr>
                <p:cNvSpPr/>
                <p:nvPr/>
              </p:nvSpPr>
              <p:spPr>
                <a:xfrm>
                  <a:off x="6855811" y="3836169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4" name="Grafik 17">
                <a:extLst>
                  <a:ext uri="{FF2B5EF4-FFF2-40B4-BE49-F238E27FC236}">
                    <a16:creationId xmlns:a16="http://schemas.microsoft.com/office/drawing/2014/main" id="{0EC9CF59-2AD3-9E38-B1E2-6A1579D053CF}"/>
                  </a:ext>
                </a:extLst>
              </p:cNvPr>
              <p:cNvGrpSpPr/>
              <p:nvPr/>
            </p:nvGrpSpPr>
            <p:grpSpPr>
              <a:xfrm>
                <a:off x="6656863" y="3800422"/>
                <a:ext cx="42947" cy="43073"/>
                <a:chOff x="6656863" y="3800422"/>
                <a:chExt cx="42947" cy="43073"/>
              </a:xfrm>
            </p:grpSpPr>
            <p:sp>
              <p:nvSpPr>
                <p:cNvPr id="425" name="Freihandform: Form 424">
                  <a:extLst>
                    <a:ext uri="{FF2B5EF4-FFF2-40B4-BE49-F238E27FC236}">
                      <a16:creationId xmlns:a16="http://schemas.microsoft.com/office/drawing/2014/main" id="{5DA4480A-B67A-F4E4-D779-2B7F35F0062B}"/>
                    </a:ext>
                  </a:extLst>
                </p:cNvPr>
                <p:cNvSpPr/>
                <p:nvPr/>
              </p:nvSpPr>
              <p:spPr>
                <a:xfrm>
                  <a:off x="6678337" y="3800422"/>
                  <a:ext cx="12631" cy="43073"/>
                </a:xfrm>
                <a:custGeom>
                  <a:avLst/>
                  <a:gdLst>
                    <a:gd name="connsiteX0" fmla="*/ 0 w 12631"/>
                    <a:gd name="connsiteY0" fmla="*/ 0 h 43073"/>
                    <a:gd name="connsiteX1" fmla="*/ 0 w 12631"/>
                    <a:gd name="connsiteY1" fmla="*/ 43074 h 430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3073">
                      <a:moveTo>
                        <a:pt x="0" y="0"/>
                      </a:moveTo>
                      <a:lnTo>
                        <a:pt x="0" y="43074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6" name="Freihandform: Form 425">
                  <a:extLst>
                    <a:ext uri="{FF2B5EF4-FFF2-40B4-BE49-F238E27FC236}">
                      <a16:creationId xmlns:a16="http://schemas.microsoft.com/office/drawing/2014/main" id="{68DEFC9A-12B1-3FE9-345C-07C5618F4DF2}"/>
                    </a:ext>
                  </a:extLst>
                </p:cNvPr>
                <p:cNvSpPr/>
                <p:nvPr/>
              </p:nvSpPr>
              <p:spPr>
                <a:xfrm>
                  <a:off x="6656863" y="3821896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7" name="Grafik 17">
                <a:extLst>
                  <a:ext uri="{FF2B5EF4-FFF2-40B4-BE49-F238E27FC236}">
                    <a16:creationId xmlns:a16="http://schemas.microsoft.com/office/drawing/2014/main" id="{C908740B-D1B3-483E-30AC-34F9B9C35A57}"/>
                  </a:ext>
                </a:extLst>
              </p:cNvPr>
              <p:cNvGrpSpPr/>
              <p:nvPr/>
            </p:nvGrpSpPr>
            <p:grpSpPr>
              <a:xfrm>
                <a:off x="6622884" y="3800422"/>
                <a:ext cx="43073" cy="43073"/>
                <a:chOff x="6622884" y="3800422"/>
                <a:chExt cx="43073" cy="43073"/>
              </a:xfrm>
            </p:grpSpPr>
            <p:sp>
              <p:nvSpPr>
                <p:cNvPr id="428" name="Freihandform: Form 427">
                  <a:extLst>
                    <a:ext uri="{FF2B5EF4-FFF2-40B4-BE49-F238E27FC236}">
                      <a16:creationId xmlns:a16="http://schemas.microsoft.com/office/drawing/2014/main" id="{2E4F04F6-C3C0-2DAB-4126-E9D586B57B32}"/>
                    </a:ext>
                  </a:extLst>
                </p:cNvPr>
                <p:cNvSpPr/>
                <p:nvPr/>
              </p:nvSpPr>
              <p:spPr>
                <a:xfrm>
                  <a:off x="6644358" y="3800422"/>
                  <a:ext cx="12631" cy="43073"/>
                </a:xfrm>
                <a:custGeom>
                  <a:avLst/>
                  <a:gdLst>
                    <a:gd name="connsiteX0" fmla="*/ 0 w 12631"/>
                    <a:gd name="connsiteY0" fmla="*/ 0 h 43073"/>
                    <a:gd name="connsiteX1" fmla="*/ 0 w 12631"/>
                    <a:gd name="connsiteY1" fmla="*/ 43074 h 430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3073">
                      <a:moveTo>
                        <a:pt x="0" y="0"/>
                      </a:moveTo>
                      <a:lnTo>
                        <a:pt x="0" y="43074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9" name="Freihandform: Form 428">
                  <a:extLst>
                    <a:ext uri="{FF2B5EF4-FFF2-40B4-BE49-F238E27FC236}">
                      <a16:creationId xmlns:a16="http://schemas.microsoft.com/office/drawing/2014/main" id="{CC9787C8-1F03-7489-B573-369A924A1EEA}"/>
                    </a:ext>
                  </a:extLst>
                </p:cNvPr>
                <p:cNvSpPr/>
                <p:nvPr/>
              </p:nvSpPr>
              <p:spPr>
                <a:xfrm>
                  <a:off x="6622884" y="3821896"/>
                  <a:ext cx="43073" cy="12631"/>
                </a:xfrm>
                <a:custGeom>
                  <a:avLst/>
                  <a:gdLst>
                    <a:gd name="connsiteX0" fmla="*/ 43074 w 43073"/>
                    <a:gd name="connsiteY0" fmla="*/ 0 h 12631"/>
                    <a:gd name="connsiteX1" fmla="*/ 0 w 43073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073" h="12631">
                      <a:moveTo>
                        <a:pt x="43074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30" name="Grafik 17">
                <a:extLst>
                  <a:ext uri="{FF2B5EF4-FFF2-40B4-BE49-F238E27FC236}">
                    <a16:creationId xmlns:a16="http://schemas.microsoft.com/office/drawing/2014/main" id="{24DCFCCA-E290-23D4-E771-88422AF743CF}"/>
                  </a:ext>
                </a:extLst>
              </p:cNvPr>
              <p:cNvGrpSpPr/>
              <p:nvPr/>
            </p:nvGrpSpPr>
            <p:grpSpPr>
              <a:xfrm>
                <a:off x="6601284" y="3792085"/>
                <a:ext cx="42947" cy="42947"/>
                <a:chOff x="6601284" y="3792085"/>
                <a:chExt cx="42947" cy="42947"/>
              </a:xfrm>
            </p:grpSpPr>
            <p:sp>
              <p:nvSpPr>
                <p:cNvPr id="431" name="Freihandform: Form 430">
                  <a:extLst>
                    <a:ext uri="{FF2B5EF4-FFF2-40B4-BE49-F238E27FC236}">
                      <a16:creationId xmlns:a16="http://schemas.microsoft.com/office/drawing/2014/main" id="{927791AC-9A2D-89E5-DB2B-D387E0DDA5CE}"/>
                    </a:ext>
                  </a:extLst>
                </p:cNvPr>
                <p:cNvSpPr/>
                <p:nvPr/>
              </p:nvSpPr>
              <p:spPr>
                <a:xfrm>
                  <a:off x="6622758" y="3792085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2" name="Freihandform: Form 431">
                  <a:extLst>
                    <a:ext uri="{FF2B5EF4-FFF2-40B4-BE49-F238E27FC236}">
                      <a16:creationId xmlns:a16="http://schemas.microsoft.com/office/drawing/2014/main" id="{C79FEC10-79D8-C3A7-6675-D3CB83829A0F}"/>
                    </a:ext>
                  </a:extLst>
                </p:cNvPr>
                <p:cNvSpPr/>
                <p:nvPr/>
              </p:nvSpPr>
              <p:spPr>
                <a:xfrm>
                  <a:off x="6601284" y="3813559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33" name="Grafik 17">
                <a:extLst>
                  <a:ext uri="{FF2B5EF4-FFF2-40B4-BE49-F238E27FC236}">
                    <a16:creationId xmlns:a16="http://schemas.microsoft.com/office/drawing/2014/main" id="{D937327D-F0A1-0802-E7A2-F978E426036B}"/>
                  </a:ext>
                </a:extLst>
              </p:cNvPr>
              <p:cNvGrpSpPr/>
              <p:nvPr/>
            </p:nvGrpSpPr>
            <p:grpSpPr>
              <a:xfrm>
                <a:off x="6581705" y="3787159"/>
                <a:ext cx="42947" cy="43073"/>
                <a:chOff x="6581705" y="3787159"/>
                <a:chExt cx="42947" cy="43073"/>
              </a:xfrm>
            </p:grpSpPr>
            <p:sp>
              <p:nvSpPr>
                <p:cNvPr id="434" name="Freihandform: Form 433">
                  <a:extLst>
                    <a:ext uri="{FF2B5EF4-FFF2-40B4-BE49-F238E27FC236}">
                      <a16:creationId xmlns:a16="http://schemas.microsoft.com/office/drawing/2014/main" id="{8DFD2C47-5220-72E3-8F17-B5C89C00495A}"/>
                    </a:ext>
                  </a:extLst>
                </p:cNvPr>
                <p:cNvSpPr/>
                <p:nvPr/>
              </p:nvSpPr>
              <p:spPr>
                <a:xfrm>
                  <a:off x="6603179" y="3787159"/>
                  <a:ext cx="12631" cy="43073"/>
                </a:xfrm>
                <a:custGeom>
                  <a:avLst/>
                  <a:gdLst>
                    <a:gd name="connsiteX0" fmla="*/ 0 w 12631"/>
                    <a:gd name="connsiteY0" fmla="*/ 0 h 43073"/>
                    <a:gd name="connsiteX1" fmla="*/ 0 w 12631"/>
                    <a:gd name="connsiteY1" fmla="*/ 43074 h 430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3073">
                      <a:moveTo>
                        <a:pt x="0" y="0"/>
                      </a:moveTo>
                      <a:lnTo>
                        <a:pt x="0" y="43074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5" name="Freihandform: Form 434">
                  <a:extLst>
                    <a:ext uri="{FF2B5EF4-FFF2-40B4-BE49-F238E27FC236}">
                      <a16:creationId xmlns:a16="http://schemas.microsoft.com/office/drawing/2014/main" id="{F1D39B5D-A08A-FB0D-A014-F4EE0EE4461D}"/>
                    </a:ext>
                  </a:extLst>
                </p:cNvPr>
                <p:cNvSpPr/>
                <p:nvPr/>
              </p:nvSpPr>
              <p:spPr>
                <a:xfrm>
                  <a:off x="6581705" y="3808632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36" name="Grafik 17">
                <a:extLst>
                  <a:ext uri="{FF2B5EF4-FFF2-40B4-BE49-F238E27FC236}">
                    <a16:creationId xmlns:a16="http://schemas.microsoft.com/office/drawing/2014/main" id="{72522E46-BD5C-C430-2088-322A5B1377F3}"/>
                  </a:ext>
                </a:extLst>
              </p:cNvPr>
              <p:cNvGrpSpPr/>
              <p:nvPr/>
            </p:nvGrpSpPr>
            <p:grpSpPr>
              <a:xfrm>
                <a:off x="6546337" y="3785264"/>
                <a:ext cx="42947" cy="42947"/>
                <a:chOff x="6546337" y="3785264"/>
                <a:chExt cx="42947" cy="42947"/>
              </a:xfrm>
            </p:grpSpPr>
            <p:sp>
              <p:nvSpPr>
                <p:cNvPr id="437" name="Freihandform: Form 436">
                  <a:extLst>
                    <a:ext uri="{FF2B5EF4-FFF2-40B4-BE49-F238E27FC236}">
                      <a16:creationId xmlns:a16="http://schemas.microsoft.com/office/drawing/2014/main" id="{DC5606A0-EB3E-F98B-C27E-65330F737466}"/>
                    </a:ext>
                  </a:extLst>
                </p:cNvPr>
                <p:cNvSpPr/>
                <p:nvPr/>
              </p:nvSpPr>
              <p:spPr>
                <a:xfrm>
                  <a:off x="6567810" y="3785264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8" name="Freihandform: Form 437">
                  <a:extLst>
                    <a:ext uri="{FF2B5EF4-FFF2-40B4-BE49-F238E27FC236}">
                      <a16:creationId xmlns:a16="http://schemas.microsoft.com/office/drawing/2014/main" id="{856DBF70-0A88-8C2B-3293-9F9FA33FE9B2}"/>
                    </a:ext>
                  </a:extLst>
                </p:cNvPr>
                <p:cNvSpPr/>
                <p:nvPr/>
              </p:nvSpPr>
              <p:spPr>
                <a:xfrm>
                  <a:off x="6546337" y="3806738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39" name="Grafik 17">
                <a:extLst>
                  <a:ext uri="{FF2B5EF4-FFF2-40B4-BE49-F238E27FC236}">
                    <a16:creationId xmlns:a16="http://schemas.microsoft.com/office/drawing/2014/main" id="{E58CC28C-5FA6-C9A8-D531-5911EBC0BEC9}"/>
                  </a:ext>
                </a:extLst>
              </p:cNvPr>
              <p:cNvGrpSpPr/>
              <p:nvPr/>
            </p:nvGrpSpPr>
            <p:grpSpPr>
              <a:xfrm>
                <a:off x="6527137" y="3780843"/>
                <a:ext cx="42947" cy="42947"/>
                <a:chOff x="6527137" y="3780843"/>
                <a:chExt cx="42947" cy="42947"/>
              </a:xfrm>
            </p:grpSpPr>
            <p:sp>
              <p:nvSpPr>
                <p:cNvPr id="440" name="Freihandform: Form 439">
                  <a:extLst>
                    <a:ext uri="{FF2B5EF4-FFF2-40B4-BE49-F238E27FC236}">
                      <a16:creationId xmlns:a16="http://schemas.microsoft.com/office/drawing/2014/main" id="{F96CA339-AD58-1DC8-E765-E7F15B8A4F35}"/>
                    </a:ext>
                  </a:extLst>
                </p:cNvPr>
                <p:cNvSpPr/>
                <p:nvPr/>
              </p:nvSpPr>
              <p:spPr>
                <a:xfrm>
                  <a:off x="6548610" y="3780843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1" name="Freihandform: Form 440">
                  <a:extLst>
                    <a:ext uri="{FF2B5EF4-FFF2-40B4-BE49-F238E27FC236}">
                      <a16:creationId xmlns:a16="http://schemas.microsoft.com/office/drawing/2014/main" id="{CB44DE60-B9FC-00DC-335B-91FD29D9DE84}"/>
                    </a:ext>
                  </a:extLst>
                </p:cNvPr>
                <p:cNvSpPr/>
                <p:nvPr/>
              </p:nvSpPr>
              <p:spPr>
                <a:xfrm>
                  <a:off x="6527137" y="3802317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42" name="Grafik 17">
                <a:extLst>
                  <a:ext uri="{FF2B5EF4-FFF2-40B4-BE49-F238E27FC236}">
                    <a16:creationId xmlns:a16="http://schemas.microsoft.com/office/drawing/2014/main" id="{3F5EAB61-6A9D-B012-53EE-D7A8E4314140}"/>
                  </a:ext>
                </a:extLst>
              </p:cNvPr>
              <p:cNvGrpSpPr/>
              <p:nvPr/>
            </p:nvGrpSpPr>
            <p:grpSpPr>
              <a:xfrm>
                <a:off x="6498210" y="3764169"/>
                <a:ext cx="42947" cy="42947"/>
                <a:chOff x="6498210" y="3764169"/>
                <a:chExt cx="42947" cy="42947"/>
              </a:xfrm>
            </p:grpSpPr>
            <p:sp>
              <p:nvSpPr>
                <p:cNvPr id="443" name="Freihandform: Form 442">
                  <a:extLst>
                    <a:ext uri="{FF2B5EF4-FFF2-40B4-BE49-F238E27FC236}">
                      <a16:creationId xmlns:a16="http://schemas.microsoft.com/office/drawing/2014/main" id="{654CF78F-14F8-E0BE-7E2B-D3ABF98408E1}"/>
                    </a:ext>
                  </a:extLst>
                </p:cNvPr>
                <p:cNvSpPr/>
                <p:nvPr/>
              </p:nvSpPr>
              <p:spPr>
                <a:xfrm>
                  <a:off x="6519684" y="3764169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4" name="Freihandform: Form 443">
                  <a:extLst>
                    <a:ext uri="{FF2B5EF4-FFF2-40B4-BE49-F238E27FC236}">
                      <a16:creationId xmlns:a16="http://schemas.microsoft.com/office/drawing/2014/main" id="{CE64F763-7453-9F34-41DC-3590FA18B912}"/>
                    </a:ext>
                  </a:extLst>
                </p:cNvPr>
                <p:cNvSpPr/>
                <p:nvPr/>
              </p:nvSpPr>
              <p:spPr>
                <a:xfrm>
                  <a:off x="6498210" y="3785643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45" name="Grafik 17">
                <a:extLst>
                  <a:ext uri="{FF2B5EF4-FFF2-40B4-BE49-F238E27FC236}">
                    <a16:creationId xmlns:a16="http://schemas.microsoft.com/office/drawing/2014/main" id="{60492E3E-ACE5-985C-0EEC-535A632D4A8E}"/>
                  </a:ext>
                </a:extLst>
              </p:cNvPr>
              <p:cNvGrpSpPr/>
              <p:nvPr/>
            </p:nvGrpSpPr>
            <p:grpSpPr>
              <a:xfrm>
                <a:off x="6453495" y="3754822"/>
                <a:ext cx="42947" cy="42947"/>
                <a:chOff x="6453495" y="3754822"/>
                <a:chExt cx="42947" cy="42947"/>
              </a:xfrm>
            </p:grpSpPr>
            <p:sp>
              <p:nvSpPr>
                <p:cNvPr id="446" name="Freihandform: Form 445">
                  <a:extLst>
                    <a:ext uri="{FF2B5EF4-FFF2-40B4-BE49-F238E27FC236}">
                      <a16:creationId xmlns:a16="http://schemas.microsoft.com/office/drawing/2014/main" id="{B74AF278-B5D3-FDD4-0AB6-78A37A5A0D6B}"/>
                    </a:ext>
                  </a:extLst>
                </p:cNvPr>
                <p:cNvSpPr/>
                <p:nvPr/>
              </p:nvSpPr>
              <p:spPr>
                <a:xfrm>
                  <a:off x="6474968" y="3754822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7" name="Freihandform: Form 446">
                  <a:extLst>
                    <a:ext uri="{FF2B5EF4-FFF2-40B4-BE49-F238E27FC236}">
                      <a16:creationId xmlns:a16="http://schemas.microsoft.com/office/drawing/2014/main" id="{AEBDC645-6C18-B0D8-2811-CC2F42730B96}"/>
                    </a:ext>
                  </a:extLst>
                </p:cNvPr>
                <p:cNvSpPr/>
                <p:nvPr/>
              </p:nvSpPr>
              <p:spPr>
                <a:xfrm>
                  <a:off x="6453495" y="3776296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48" name="Grafik 17">
                <a:extLst>
                  <a:ext uri="{FF2B5EF4-FFF2-40B4-BE49-F238E27FC236}">
                    <a16:creationId xmlns:a16="http://schemas.microsoft.com/office/drawing/2014/main" id="{9D123F28-C38E-B30B-85A0-0ADE7F30B491}"/>
                  </a:ext>
                </a:extLst>
              </p:cNvPr>
              <p:cNvGrpSpPr/>
              <p:nvPr/>
            </p:nvGrpSpPr>
            <p:grpSpPr>
              <a:xfrm>
                <a:off x="6423053" y="3751790"/>
                <a:ext cx="42947" cy="43073"/>
                <a:chOff x="6423053" y="3751790"/>
                <a:chExt cx="42947" cy="43073"/>
              </a:xfrm>
            </p:grpSpPr>
            <p:sp>
              <p:nvSpPr>
                <p:cNvPr id="449" name="Freihandform: Form 448">
                  <a:extLst>
                    <a:ext uri="{FF2B5EF4-FFF2-40B4-BE49-F238E27FC236}">
                      <a16:creationId xmlns:a16="http://schemas.microsoft.com/office/drawing/2014/main" id="{E3B3F74D-6453-B5A8-C262-5FA2B3A9D595}"/>
                    </a:ext>
                  </a:extLst>
                </p:cNvPr>
                <p:cNvSpPr/>
                <p:nvPr/>
              </p:nvSpPr>
              <p:spPr>
                <a:xfrm>
                  <a:off x="6444526" y="3751790"/>
                  <a:ext cx="12631" cy="43073"/>
                </a:xfrm>
                <a:custGeom>
                  <a:avLst/>
                  <a:gdLst>
                    <a:gd name="connsiteX0" fmla="*/ 0 w 12631"/>
                    <a:gd name="connsiteY0" fmla="*/ 0 h 43073"/>
                    <a:gd name="connsiteX1" fmla="*/ 0 w 12631"/>
                    <a:gd name="connsiteY1" fmla="*/ 43074 h 430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3073">
                      <a:moveTo>
                        <a:pt x="0" y="0"/>
                      </a:moveTo>
                      <a:lnTo>
                        <a:pt x="0" y="43074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50" name="Freihandform: Form 449">
                  <a:extLst>
                    <a:ext uri="{FF2B5EF4-FFF2-40B4-BE49-F238E27FC236}">
                      <a16:creationId xmlns:a16="http://schemas.microsoft.com/office/drawing/2014/main" id="{5E338A75-4052-5A4F-93ED-8610938139A6}"/>
                    </a:ext>
                  </a:extLst>
                </p:cNvPr>
                <p:cNvSpPr/>
                <p:nvPr/>
              </p:nvSpPr>
              <p:spPr>
                <a:xfrm>
                  <a:off x="6423053" y="3773264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51" name="Grafik 17">
                <a:extLst>
                  <a:ext uri="{FF2B5EF4-FFF2-40B4-BE49-F238E27FC236}">
                    <a16:creationId xmlns:a16="http://schemas.microsoft.com/office/drawing/2014/main" id="{311EB431-68FD-2BDA-5B99-887D3590D50A}"/>
                  </a:ext>
                </a:extLst>
              </p:cNvPr>
              <p:cNvGrpSpPr/>
              <p:nvPr/>
            </p:nvGrpSpPr>
            <p:grpSpPr>
              <a:xfrm>
                <a:off x="6404358" y="3745980"/>
                <a:ext cx="42947" cy="42947"/>
                <a:chOff x="6404358" y="3745980"/>
                <a:chExt cx="42947" cy="42947"/>
              </a:xfrm>
            </p:grpSpPr>
            <p:sp>
              <p:nvSpPr>
                <p:cNvPr id="452" name="Freihandform: Form 451">
                  <a:extLst>
                    <a:ext uri="{FF2B5EF4-FFF2-40B4-BE49-F238E27FC236}">
                      <a16:creationId xmlns:a16="http://schemas.microsoft.com/office/drawing/2014/main" id="{DA83771F-B9EF-4EBA-A66E-4EB0D535C91F}"/>
                    </a:ext>
                  </a:extLst>
                </p:cNvPr>
                <p:cNvSpPr/>
                <p:nvPr/>
              </p:nvSpPr>
              <p:spPr>
                <a:xfrm>
                  <a:off x="6425832" y="3745980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53" name="Freihandform: Form 452">
                  <a:extLst>
                    <a:ext uri="{FF2B5EF4-FFF2-40B4-BE49-F238E27FC236}">
                      <a16:creationId xmlns:a16="http://schemas.microsoft.com/office/drawing/2014/main" id="{CDA19351-BE95-F28B-3906-3BCF49674EC7}"/>
                    </a:ext>
                  </a:extLst>
                </p:cNvPr>
                <p:cNvSpPr/>
                <p:nvPr/>
              </p:nvSpPr>
              <p:spPr>
                <a:xfrm>
                  <a:off x="6404358" y="3767453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54" name="Grafik 17">
                <a:extLst>
                  <a:ext uri="{FF2B5EF4-FFF2-40B4-BE49-F238E27FC236}">
                    <a16:creationId xmlns:a16="http://schemas.microsoft.com/office/drawing/2014/main" id="{8AA6B682-3669-C4F3-2AC4-4A634F366A48}"/>
                  </a:ext>
                </a:extLst>
              </p:cNvPr>
              <p:cNvGrpSpPr/>
              <p:nvPr/>
            </p:nvGrpSpPr>
            <p:grpSpPr>
              <a:xfrm>
                <a:off x="6374421" y="3738148"/>
                <a:ext cx="42947" cy="42947"/>
                <a:chOff x="6374421" y="3738148"/>
                <a:chExt cx="42947" cy="42947"/>
              </a:xfrm>
            </p:grpSpPr>
            <p:sp>
              <p:nvSpPr>
                <p:cNvPr id="455" name="Freihandform: Form 454">
                  <a:extLst>
                    <a:ext uri="{FF2B5EF4-FFF2-40B4-BE49-F238E27FC236}">
                      <a16:creationId xmlns:a16="http://schemas.microsoft.com/office/drawing/2014/main" id="{782D3CAD-DBF8-EFBB-5DDF-F487120BF8A2}"/>
                    </a:ext>
                  </a:extLst>
                </p:cNvPr>
                <p:cNvSpPr/>
                <p:nvPr/>
              </p:nvSpPr>
              <p:spPr>
                <a:xfrm>
                  <a:off x="6395895" y="3738148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56" name="Freihandform: Form 455">
                  <a:extLst>
                    <a:ext uri="{FF2B5EF4-FFF2-40B4-BE49-F238E27FC236}">
                      <a16:creationId xmlns:a16="http://schemas.microsoft.com/office/drawing/2014/main" id="{6A9809DB-D156-3B7C-9054-81D5A7C9D9B2}"/>
                    </a:ext>
                  </a:extLst>
                </p:cNvPr>
                <p:cNvSpPr/>
                <p:nvPr/>
              </p:nvSpPr>
              <p:spPr>
                <a:xfrm>
                  <a:off x="6374421" y="3759622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57" name="Grafik 17">
                <a:extLst>
                  <a:ext uri="{FF2B5EF4-FFF2-40B4-BE49-F238E27FC236}">
                    <a16:creationId xmlns:a16="http://schemas.microsoft.com/office/drawing/2014/main" id="{99E1D7DD-FAB4-A156-D95F-F83FC7D7DB6B}"/>
                  </a:ext>
                </a:extLst>
              </p:cNvPr>
              <p:cNvGrpSpPr/>
              <p:nvPr/>
            </p:nvGrpSpPr>
            <p:grpSpPr>
              <a:xfrm>
                <a:off x="6306589" y="3723369"/>
                <a:ext cx="42947" cy="42947"/>
                <a:chOff x="6306589" y="3723369"/>
                <a:chExt cx="42947" cy="42947"/>
              </a:xfrm>
            </p:grpSpPr>
            <p:sp>
              <p:nvSpPr>
                <p:cNvPr id="458" name="Freihandform: Form 457">
                  <a:extLst>
                    <a:ext uri="{FF2B5EF4-FFF2-40B4-BE49-F238E27FC236}">
                      <a16:creationId xmlns:a16="http://schemas.microsoft.com/office/drawing/2014/main" id="{A7703AA4-5302-06C1-B6C6-BC4306081A94}"/>
                    </a:ext>
                  </a:extLst>
                </p:cNvPr>
                <p:cNvSpPr/>
                <p:nvPr/>
              </p:nvSpPr>
              <p:spPr>
                <a:xfrm>
                  <a:off x="6328063" y="3723369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59" name="Freihandform: Form 458">
                  <a:extLst>
                    <a:ext uri="{FF2B5EF4-FFF2-40B4-BE49-F238E27FC236}">
                      <a16:creationId xmlns:a16="http://schemas.microsoft.com/office/drawing/2014/main" id="{D9E4A2E6-0A43-2F4F-5039-45D1D0BC2F4A}"/>
                    </a:ext>
                  </a:extLst>
                </p:cNvPr>
                <p:cNvSpPr/>
                <p:nvPr/>
              </p:nvSpPr>
              <p:spPr>
                <a:xfrm>
                  <a:off x="6306589" y="3744843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60" name="Grafik 17">
                <a:extLst>
                  <a:ext uri="{FF2B5EF4-FFF2-40B4-BE49-F238E27FC236}">
                    <a16:creationId xmlns:a16="http://schemas.microsoft.com/office/drawing/2014/main" id="{1CD2BD84-2B00-8422-B7CF-F398A1C7E12C}"/>
                  </a:ext>
                </a:extLst>
              </p:cNvPr>
              <p:cNvGrpSpPr/>
              <p:nvPr/>
            </p:nvGrpSpPr>
            <p:grpSpPr>
              <a:xfrm>
                <a:off x="6282589" y="3720464"/>
                <a:ext cx="42947" cy="42947"/>
                <a:chOff x="6282589" y="3720464"/>
                <a:chExt cx="42947" cy="42947"/>
              </a:xfrm>
            </p:grpSpPr>
            <p:sp>
              <p:nvSpPr>
                <p:cNvPr id="461" name="Freihandform: Form 460">
                  <a:extLst>
                    <a:ext uri="{FF2B5EF4-FFF2-40B4-BE49-F238E27FC236}">
                      <a16:creationId xmlns:a16="http://schemas.microsoft.com/office/drawing/2014/main" id="{DB7D11C8-424C-F4F5-5C71-7CE220B8BAF4}"/>
                    </a:ext>
                  </a:extLst>
                </p:cNvPr>
                <p:cNvSpPr/>
                <p:nvPr/>
              </p:nvSpPr>
              <p:spPr>
                <a:xfrm>
                  <a:off x="6304063" y="3720464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62" name="Freihandform: Form 461">
                  <a:extLst>
                    <a:ext uri="{FF2B5EF4-FFF2-40B4-BE49-F238E27FC236}">
                      <a16:creationId xmlns:a16="http://schemas.microsoft.com/office/drawing/2014/main" id="{8CBA7C52-33F0-DBDE-D072-03A1B7E8060B}"/>
                    </a:ext>
                  </a:extLst>
                </p:cNvPr>
                <p:cNvSpPr/>
                <p:nvPr/>
              </p:nvSpPr>
              <p:spPr>
                <a:xfrm>
                  <a:off x="6282589" y="3741938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63" name="Grafik 17">
                <a:extLst>
                  <a:ext uri="{FF2B5EF4-FFF2-40B4-BE49-F238E27FC236}">
                    <a16:creationId xmlns:a16="http://schemas.microsoft.com/office/drawing/2014/main" id="{A6BF3AC4-8EF8-E26F-CCF5-DDAA1E66DD0A}"/>
                  </a:ext>
                </a:extLst>
              </p:cNvPr>
              <p:cNvGrpSpPr/>
              <p:nvPr/>
            </p:nvGrpSpPr>
            <p:grpSpPr>
              <a:xfrm>
                <a:off x="6246716" y="3707201"/>
                <a:ext cx="42947" cy="42947"/>
                <a:chOff x="6246716" y="3707201"/>
                <a:chExt cx="42947" cy="42947"/>
              </a:xfrm>
            </p:grpSpPr>
            <p:sp>
              <p:nvSpPr>
                <p:cNvPr id="464" name="Freihandform: Form 463">
                  <a:extLst>
                    <a:ext uri="{FF2B5EF4-FFF2-40B4-BE49-F238E27FC236}">
                      <a16:creationId xmlns:a16="http://schemas.microsoft.com/office/drawing/2014/main" id="{540115D1-39B9-7999-ACBA-944435DB6B99}"/>
                    </a:ext>
                  </a:extLst>
                </p:cNvPr>
                <p:cNvSpPr/>
                <p:nvPr/>
              </p:nvSpPr>
              <p:spPr>
                <a:xfrm>
                  <a:off x="6268189" y="3707201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65" name="Freihandform: Form 464">
                  <a:extLst>
                    <a:ext uri="{FF2B5EF4-FFF2-40B4-BE49-F238E27FC236}">
                      <a16:creationId xmlns:a16="http://schemas.microsoft.com/office/drawing/2014/main" id="{4CE35560-9447-6174-1A07-6DCAF2B23BC6}"/>
                    </a:ext>
                  </a:extLst>
                </p:cNvPr>
                <p:cNvSpPr/>
                <p:nvPr/>
              </p:nvSpPr>
              <p:spPr>
                <a:xfrm>
                  <a:off x="6246716" y="3728675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66" name="Grafik 17">
                <a:extLst>
                  <a:ext uri="{FF2B5EF4-FFF2-40B4-BE49-F238E27FC236}">
                    <a16:creationId xmlns:a16="http://schemas.microsoft.com/office/drawing/2014/main" id="{EBEA89F8-8CD9-D02E-0A6E-A88F54644330}"/>
                  </a:ext>
                </a:extLst>
              </p:cNvPr>
              <p:cNvGrpSpPr/>
              <p:nvPr/>
            </p:nvGrpSpPr>
            <p:grpSpPr>
              <a:xfrm>
                <a:off x="6227010" y="3702780"/>
                <a:ext cx="42947" cy="42947"/>
                <a:chOff x="6227010" y="3702780"/>
                <a:chExt cx="42947" cy="42947"/>
              </a:xfrm>
            </p:grpSpPr>
            <p:sp>
              <p:nvSpPr>
                <p:cNvPr id="467" name="Freihandform: Form 466">
                  <a:extLst>
                    <a:ext uri="{FF2B5EF4-FFF2-40B4-BE49-F238E27FC236}">
                      <a16:creationId xmlns:a16="http://schemas.microsoft.com/office/drawing/2014/main" id="{55033D12-487D-E6A8-5AA0-6EE39ECA997E}"/>
                    </a:ext>
                  </a:extLst>
                </p:cNvPr>
                <p:cNvSpPr/>
                <p:nvPr/>
              </p:nvSpPr>
              <p:spPr>
                <a:xfrm>
                  <a:off x="6248484" y="3702780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68" name="Freihandform: Form 467">
                  <a:extLst>
                    <a:ext uri="{FF2B5EF4-FFF2-40B4-BE49-F238E27FC236}">
                      <a16:creationId xmlns:a16="http://schemas.microsoft.com/office/drawing/2014/main" id="{910DB456-FD20-9881-1983-5F8C7850CEFE}"/>
                    </a:ext>
                  </a:extLst>
                </p:cNvPr>
                <p:cNvSpPr/>
                <p:nvPr/>
              </p:nvSpPr>
              <p:spPr>
                <a:xfrm>
                  <a:off x="6227010" y="3724253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69" name="Grafik 17">
                <a:extLst>
                  <a:ext uri="{FF2B5EF4-FFF2-40B4-BE49-F238E27FC236}">
                    <a16:creationId xmlns:a16="http://schemas.microsoft.com/office/drawing/2014/main" id="{F2B04301-E69C-6EA9-D0C2-C7EC6AF54011}"/>
                  </a:ext>
                </a:extLst>
              </p:cNvPr>
              <p:cNvGrpSpPr/>
              <p:nvPr/>
            </p:nvGrpSpPr>
            <p:grpSpPr>
              <a:xfrm>
                <a:off x="6188231" y="3696338"/>
                <a:ext cx="42947" cy="42947"/>
                <a:chOff x="6188231" y="3696338"/>
                <a:chExt cx="42947" cy="42947"/>
              </a:xfrm>
            </p:grpSpPr>
            <p:sp>
              <p:nvSpPr>
                <p:cNvPr id="470" name="Freihandform: Form 469">
                  <a:extLst>
                    <a:ext uri="{FF2B5EF4-FFF2-40B4-BE49-F238E27FC236}">
                      <a16:creationId xmlns:a16="http://schemas.microsoft.com/office/drawing/2014/main" id="{2C53724A-2BA4-A4AC-B0B5-2E11157CEF0A}"/>
                    </a:ext>
                  </a:extLst>
                </p:cNvPr>
                <p:cNvSpPr/>
                <p:nvPr/>
              </p:nvSpPr>
              <p:spPr>
                <a:xfrm>
                  <a:off x="6209705" y="3696338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71" name="Freihandform: Form 470">
                  <a:extLst>
                    <a:ext uri="{FF2B5EF4-FFF2-40B4-BE49-F238E27FC236}">
                      <a16:creationId xmlns:a16="http://schemas.microsoft.com/office/drawing/2014/main" id="{A25565C2-31AF-6840-9AA8-7D19B0578C85}"/>
                    </a:ext>
                  </a:extLst>
                </p:cNvPr>
                <p:cNvSpPr/>
                <p:nvPr/>
              </p:nvSpPr>
              <p:spPr>
                <a:xfrm>
                  <a:off x="6188231" y="3717811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72" name="Grafik 17">
                <a:extLst>
                  <a:ext uri="{FF2B5EF4-FFF2-40B4-BE49-F238E27FC236}">
                    <a16:creationId xmlns:a16="http://schemas.microsoft.com/office/drawing/2014/main" id="{6A411FF1-573A-CEAF-17C1-F345BECCECEC}"/>
                  </a:ext>
                </a:extLst>
              </p:cNvPr>
              <p:cNvGrpSpPr/>
              <p:nvPr/>
            </p:nvGrpSpPr>
            <p:grpSpPr>
              <a:xfrm>
                <a:off x="6154379" y="3691917"/>
                <a:ext cx="42947" cy="42947"/>
                <a:chOff x="6154379" y="3691917"/>
                <a:chExt cx="42947" cy="42947"/>
              </a:xfrm>
            </p:grpSpPr>
            <p:sp>
              <p:nvSpPr>
                <p:cNvPr id="473" name="Freihandform: Form 472">
                  <a:extLst>
                    <a:ext uri="{FF2B5EF4-FFF2-40B4-BE49-F238E27FC236}">
                      <a16:creationId xmlns:a16="http://schemas.microsoft.com/office/drawing/2014/main" id="{3BCAE89F-EB95-91BD-F279-AEB754DCB444}"/>
                    </a:ext>
                  </a:extLst>
                </p:cNvPr>
                <p:cNvSpPr/>
                <p:nvPr/>
              </p:nvSpPr>
              <p:spPr>
                <a:xfrm>
                  <a:off x="6175853" y="3691917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74" name="Freihandform: Form 473">
                  <a:extLst>
                    <a:ext uri="{FF2B5EF4-FFF2-40B4-BE49-F238E27FC236}">
                      <a16:creationId xmlns:a16="http://schemas.microsoft.com/office/drawing/2014/main" id="{D41A25E3-FE06-9F23-D009-8B692B2097DF}"/>
                    </a:ext>
                  </a:extLst>
                </p:cNvPr>
                <p:cNvSpPr/>
                <p:nvPr/>
              </p:nvSpPr>
              <p:spPr>
                <a:xfrm>
                  <a:off x="6154379" y="3713390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75" name="Grafik 17">
                <a:extLst>
                  <a:ext uri="{FF2B5EF4-FFF2-40B4-BE49-F238E27FC236}">
                    <a16:creationId xmlns:a16="http://schemas.microsoft.com/office/drawing/2014/main" id="{2B862182-A734-D2B3-A59F-82839D1471B9}"/>
                  </a:ext>
                </a:extLst>
              </p:cNvPr>
              <p:cNvGrpSpPr/>
              <p:nvPr/>
            </p:nvGrpSpPr>
            <p:grpSpPr>
              <a:xfrm>
                <a:off x="6054084" y="3645306"/>
                <a:ext cx="43073" cy="42947"/>
                <a:chOff x="6054084" y="3645306"/>
                <a:chExt cx="43073" cy="42947"/>
              </a:xfrm>
            </p:grpSpPr>
            <p:sp>
              <p:nvSpPr>
                <p:cNvPr id="476" name="Freihandform: Form 475">
                  <a:extLst>
                    <a:ext uri="{FF2B5EF4-FFF2-40B4-BE49-F238E27FC236}">
                      <a16:creationId xmlns:a16="http://schemas.microsoft.com/office/drawing/2014/main" id="{B792DC21-BC57-EE21-E24D-3091E54D35A3}"/>
                    </a:ext>
                  </a:extLst>
                </p:cNvPr>
                <p:cNvSpPr/>
                <p:nvPr/>
              </p:nvSpPr>
              <p:spPr>
                <a:xfrm>
                  <a:off x="6075684" y="3645306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77" name="Freihandform: Form 476">
                  <a:extLst>
                    <a:ext uri="{FF2B5EF4-FFF2-40B4-BE49-F238E27FC236}">
                      <a16:creationId xmlns:a16="http://schemas.microsoft.com/office/drawing/2014/main" id="{FCD8C5E4-5CA9-9EA4-308E-AE7360AA0C25}"/>
                    </a:ext>
                  </a:extLst>
                </p:cNvPr>
                <p:cNvSpPr/>
                <p:nvPr/>
              </p:nvSpPr>
              <p:spPr>
                <a:xfrm>
                  <a:off x="6054084" y="3666780"/>
                  <a:ext cx="43073" cy="12631"/>
                </a:xfrm>
                <a:custGeom>
                  <a:avLst/>
                  <a:gdLst>
                    <a:gd name="connsiteX0" fmla="*/ 43074 w 43073"/>
                    <a:gd name="connsiteY0" fmla="*/ 0 h 12631"/>
                    <a:gd name="connsiteX1" fmla="*/ 0 w 43073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073" h="12631">
                      <a:moveTo>
                        <a:pt x="43074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78" name="Grafik 17">
                <a:extLst>
                  <a:ext uri="{FF2B5EF4-FFF2-40B4-BE49-F238E27FC236}">
                    <a16:creationId xmlns:a16="http://schemas.microsoft.com/office/drawing/2014/main" id="{F559CC51-CD53-181F-7ED2-880BCF904457}"/>
                  </a:ext>
                </a:extLst>
              </p:cNvPr>
              <p:cNvGrpSpPr/>
              <p:nvPr/>
            </p:nvGrpSpPr>
            <p:grpSpPr>
              <a:xfrm>
                <a:off x="6005074" y="3632422"/>
                <a:ext cx="42947" cy="43073"/>
                <a:chOff x="6005074" y="3632422"/>
                <a:chExt cx="42947" cy="43073"/>
              </a:xfrm>
            </p:grpSpPr>
            <p:sp>
              <p:nvSpPr>
                <p:cNvPr id="479" name="Freihandform: Form 478">
                  <a:extLst>
                    <a:ext uri="{FF2B5EF4-FFF2-40B4-BE49-F238E27FC236}">
                      <a16:creationId xmlns:a16="http://schemas.microsoft.com/office/drawing/2014/main" id="{0DE9C973-F8A8-A8AB-6CCE-3A41504EA044}"/>
                    </a:ext>
                  </a:extLst>
                </p:cNvPr>
                <p:cNvSpPr/>
                <p:nvPr/>
              </p:nvSpPr>
              <p:spPr>
                <a:xfrm>
                  <a:off x="6026547" y="3632422"/>
                  <a:ext cx="12631" cy="43073"/>
                </a:xfrm>
                <a:custGeom>
                  <a:avLst/>
                  <a:gdLst>
                    <a:gd name="connsiteX0" fmla="*/ 0 w 12631"/>
                    <a:gd name="connsiteY0" fmla="*/ 0 h 43073"/>
                    <a:gd name="connsiteX1" fmla="*/ 0 w 12631"/>
                    <a:gd name="connsiteY1" fmla="*/ 43074 h 430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3073">
                      <a:moveTo>
                        <a:pt x="0" y="0"/>
                      </a:moveTo>
                      <a:lnTo>
                        <a:pt x="0" y="43074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80" name="Freihandform: Form 479">
                  <a:extLst>
                    <a:ext uri="{FF2B5EF4-FFF2-40B4-BE49-F238E27FC236}">
                      <a16:creationId xmlns:a16="http://schemas.microsoft.com/office/drawing/2014/main" id="{2C6BBDFA-8A2F-5529-6F8D-62FB51D81E93}"/>
                    </a:ext>
                  </a:extLst>
                </p:cNvPr>
                <p:cNvSpPr/>
                <p:nvPr/>
              </p:nvSpPr>
              <p:spPr>
                <a:xfrm>
                  <a:off x="6005074" y="3654022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1" name="Grafik 17">
                <a:extLst>
                  <a:ext uri="{FF2B5EF4-FFF2-40B4-BE49-F238E27FC236}">
                    <a16:creationId xmlns:a16="http://schemas.microsoft.com/office/drawing/2014/main" id="{13225CDF-9908-78A1-8E46-B8D959B5FC85}"/>
                  </a:ext>
                </a:extLst>
              </p:cNvPr>
              <p:cNvGrpSpPr/>
              <p:nvPr/>
            </p:nvGrpSpPr>
            <p:grpSpPr>
              <a:xfrm>
                <a:off x="5991305" y="3629011"/>
                <a:ext cx="42947" cy="42947"/>
                <a:chOff x="5991305" y="3629011"/>
                <a:chExt cx="42947" cy="42947"/>
              </a:xfrm>
            </p:grpSpPr>
            <p:sp>
              <p:nvSpPr>
                <p:cNvPr id="482" name="Freihandform: Form 481">
                  <a:extLst>
                    <a:ext uri="{FF2B5EF4-FFF2-40B4-BE49-F238E27FC236}">
                      <a16:creationId xmlns:a16="http://schemas.microsoft.com/office/drawing/2014/main" id="{2F340FED-34B7-9C50-E31A-450FC2AB0C17}"/>
                    </a:ext>
                  </a:extLst>
                </p:cNvPr>
                <p:cNvSpPr/>
                <p:nvPr/>
              </p:nvSpPr>
              <p:spPr>
                <a:xfrm>
                  <a:off x="6012779" y="3629011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83" name="Freihandform: Form 482">
                  <a:extLst>
                    <a:ext uri="{FF2B5EF4-FFF2-40B4-BE49-F238E27FC236}">
                      <a16:creationId xmlns:a16="http://schemas.microsoft.com/office/drawing/2014/main" id="{61174DC0-FFAE-55F0-A351-1516C5C64A39}"/>
                    </a:ext>
                  </a:extLst>
                </p:cNvPr>
                <p:cNvSpPr/>
                <p:nvPr/>
              </p:nvSpPr>
              <p:spPr>
                <a:xfrm>
                  <a:off x="5991305" y="3650485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4" name="Grafik 17">
                <a:extLst>
                  <a:ext uri="{FF2B5EF4-FFF2-40B4-BE49-F238E27FC236}">
                    <a16:creationId xmlns:a16="http://schemas.microsoft.com/office/drawing/2014/main" id="{8FB4C756-8214-EA4A-5243-DD94BC6F9A37}"/>
                  </a:ext>
                </a:extLst>
              </p:cNvPr>
              <p:cNvGrpSpPr/>
              <p:nvPr/>
            </p:nvGrpSpPr>
            <p:grpSpPr>
              <a:xfrm>
                <a:off x="5977537" y="3625601"/>
                <a:ext cx="42947" cy="42947"/>
                <a:chOff x="5977537" y="3625601"/>
                <a:chExt cx="42947" cy="42947"/>
              </a:xfrm>
            </p:grpSpPr>
            <p:sp>
              <p:nvSpPr>
                <p:cNvPr id="485" name="Freihandform: Form 484">
                  <a:extLst>
                    <a:ext uri="{FF2B5EF4-FFF2-40B4-BE49-F238E27FC236}">
                      <a16:creationId xmlns:a16="http://schemas.microsoft.com/office/drawing/2014/main" id="{AF950251-CF04-0D21-3879-6F70DF2412CA}"/>
                    </a:ext>
                  </a:extLst>
                </p:cNvPr>
                <p:cNvSpPr/>
                <p:nvPr/>
              </p:nvSpPr>
              <p:spPr>
                <a:xfrm>
                  <a:off x="5999010" y="3625601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86" name="Freihandform: Form 485">
                  <a:extLst>
                    <a:ext uri="{FF2B5EF4-FFF2-40B4-BE49-F238E27FC236}">
                      <a16:creationId xmlns:a16="http://schemas.microsoft.com/office/drawing/2014/main" id="{DBAEFFFB-B289-21E3-565F-16EDEC3FCEE0}"/>
                    </a:ext>
                  </a:extLst>
                </p:cNvPr>
                <p:cNvSpPr/>
                <p:nvPr/>
              </p:nvSpPr>
              <p:spPr>
                <a:xfrm>
                  <a:off x="5977537" y="3647075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7" name="Grafik 17">
                <a:extLst>
                  <a:ext uri="{FF2B5EF4-FFF2-40B4-BE49-F238E27FC236}">
                    <a16:creationId xmlns:a16="http://schemas.microsoft.com/office/drawing/2014/main" id="{C0358612-4CE0-115D-51BB-165A213ECEF8}"/>
                  </a:ext>
                </a:extLst>
              </p:cNvPr>
              <p:cNvGrpSpPr/>
              <p:nvPr/>
            </p:nvGrpSpPr>
            <p:grpSpPr>
              <a:xfrm>
                <a:off x="5963768" y="3622190"/>
                <a:ext cx="42947" cy="42947"/>
                <a:chOff x="5963768" y="3622190"/>
                <a:chExt cx="42947" cy="42947"/>
              </a:xfrm>
            </p:grpSpPr>
            <p:sp>
              <p:nvSpPr>
                <p:cNvPr id="488" name="Freihandform: Form 487">
                  <a:extLst>
                    <a:ext uri="{FF2B5EF4-FFF2-40B4-BE49-F238E27FC236}">
                      <a16:creationId xmlns:a16="http://schemas.microsoft.com/office/drawing/2014/main" id="{B4CE53E7-6B7E-0773-17DD-C516353AF5D8}"/>
                    </a:ext>
                  </a:extLst>
                </p:cNvPr>
                <p:cNvSpPr/>
                <p:nvPr/>
              </p:nvSpPr>
              <p:spPr>
                <a:xfrm>
                  <a:off x="5985242" y="3622190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89" name="Freihandform: Form 488">
                  <a:extLst>
                    <a:ext uri="{FF2B5EF4-FFF2-40B4-BE49-F238E27FC236}">
                      <a16:creationId xmlns:a16="http://schemas.microsoft.com/office/drawing/2014/main" id="{46210BE3-A701-02E9-4C8B-64E86C410354}"/>
                    </a:ext>
                  </a:extLst>
                </p:cNvPr>
                <p:cNvSpPr/>
                <p:nvPr/>
              </p:nvSpPr>
              <p:spPr>
                <a:xfrm>
                  <a:off x="5963768" y="3643664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90" name="Grafik 17">
                <a:extLst>
                  <a:ext uri="{FF2B5EF4-FFF2-40B4-BE49-F238E27FC236}">
                    <a16:creationId xmlns:a16="http://schemas.microsoft.com/office/drawing/2014/main" id="{78D91373-7F4B-DDB4-F7B2-579D60AEE8BC}"/>
                  </a:ext>
                </a:extLst>
              </p:cNvPr>
              <p:cNvGrpSpPr/>
              <p:nvPr/>
            </p:nvGrpSpPr>
            <p:grpSpPr>
              <a:xfrm>
                <a:off x="5950000" y="3618780"/>
                <a:ext cx="42947" cy="42947"/>
                <a:chOff x="5950000" y="3618780"/>
                <a:chExt cx="42947" cy="42947"/>
              </a:xfrm>
            </p:grpSpPr>
            <p:sp>
              <p:nvSpPr>
                <p:cNvPr id="491" name="Freihandform: Form 490">
                  <a:extLst>
                    <a:ext uri="{FF2B5EF4-FFF2-40B4-BE49-F238E27FC236}">
                      <a16:creationId xmlns:a16="http://schemas.microsoft.com/office/drawing/2014/main" id="{1F330BC0-660A-EDAA-7A50-333EA9FC227D}"/>
                    </a:ext>
                  </a:extLst>
                </p:cNvPr>
                <p:cNvSpPr/>
                <p:nvPr/>
              </p:nvSpPr>
              <p:spPr>
                <a:xfrm>
                  <a:off x="5971474" y="3618780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2" name="Freihandform: Form 491">
                  <a:extLst>
                    <a:ext uri="{FF2B5EF4-FFF2-40B4-BE49-F238E27FC236}">
                      <a16:creationId xmlns:a16="http://schemas.microsoft.com/office/drawing/2014/main" id="{E3D81E8F-94F9-C47C-CB27-089C42EDF0D9}"/>
                    </a:ext>
                  </a:extLst>
                </p:cNvPr>
                <p:cNvSpPr/>
                <p:nvPr/>
              </p:nvSpPr>
              <p:spPr>
                <a:xfrm>
                  <a:off x="5950000" y="3640253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93" name="Grafik 17">
                <a:extLst>
                  <a:ext uri="{FF2B5EF4-FFF2-40B4-BE49-F238E27FC236}">
                    <a16:creationId xmlns:a16="http://schemas.microsoft.com/office/drawing/2014/main" id="{A425E0A0-92C5-A550-254A-3989C0E31715}"/>
                  </a:ext>
                </a:extLst>
              </p:cNvPr>
              <p:cNvGrpSpPr/>
              <p:nvPr/>
            </p:nvGrpSpPr>
            <p:grpSpPr>
              <a:xfrm>
                <a:off x="5923979" y="3602990"/>
                <a:ext cx="42947" cy="42947"/>
                <a:chOff x="5923979" y="3602990"/>
                <a:chExt cx="42947" cy="42947"/>
              </a:xfrm>
            </p:grpSpPr>
            <p:sp>
              <p:nvSpPr>
                <p:cNvPr id="494" name="Freihandform: Form 493">
                  <a:extLst>
                    <a:ext uri="{FF2B5EF4-FFF2-40B4-BE49-F238E27FC236}">
                      <a16:creationId xmlns:a16="http://schemas.microsoft.com/office/drawing/2014/main" id="{5F107EDD-8FA0-2CDD-2541-69CE43AD4175}"/>
                    </a:ext>
                  </a:extLst>
                </p:cNvPr>
                <p:cNvSpPr/>
                <p:nvPr/>
              </p:nvSpPr>
              <p:spPr>
                <a:xfrm>
                  <a:off x="5945453" y="3602990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5" name="Freihandform: Form 494">
                  <a:extLst>
                    <a:ext uri="{FF2B5EF4-FFF2-40B4-BE49-F238E27FC236}">
                      <a16:creationId xmlns:a16="http://schemas.microsoft.com/office/drawing/2014/main" id="{8FCCB61F-FB4A-D2E2-0A61-57FDBF41936E}"/>
                    </a:ext>
                  </a:extLst>
                </p:cNvPr>
                <p:cNvSpPr/>
                <p:nvPr/>
              </p:nvSpPr>
              <p:spPr>
                <a:xfrm>
                  <a:off x="5923979" y="3624464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96" name="Grafik 17">
                <a:extLst>
                  <a:ext uri="{FF2B5EF4-FFF2-40B4-BE49-F238E27FC236}">
                    <a16:creationId xmlns:a16="http://schemas.microsoft.com/office/drawing/2014/main" id="{D728A9D4-3716-D9DD-80B3-AB12618233C0}"/>
                  </a:ext>
                </a:extLst>
              </p:cNvPr>
              <p:cNvGrpSpPr/>
              <p:nvPr/>
            </p:nvGrpSpPr>
            <p:grpSpPr>
              <a:xfrm>
                <a:off x="5905284" y="3602990"/>
                <a:ext cx="42947" cy="42947"/>
                <a:chOff x="5905284" y="3602990"/>
                <a:chExt cx="42947" cy="42947"/>
              </a:xfrm>
            </p:grpSpPr>
            <p:sp>
              <p:nvSpPr>
                <p:cNvPr id="497" name="Freihandform: Form 496">
                  <a:extLst>
                    <a:ext uri="{FF2B5EF4-FFF2-40B4-BE49-F238E27FC236}">
                      <a16:creationId xmlns:a16="http://schemas.microsoft.com/office/drawing/2014/main" id="{2166C77F-D30C-6D9E-FF3B-BF8733C75B60}"/>
                    </a:ext>
                  </a:extLst>
                </p:cNvPr>
                <p:cNvSpPr/>
                <p:nvPr/>
              </p:nvSpPr>
              <p:spPr>
                <a:xfrm>
                  <a:off x="5926758" y="3602990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8" name="Freihandform: Form 497">
                  <a:extLst>
                    <a:ext uri="{FF2B5EF4-FFF2-40B4-BE49-F238E27FC236}">
                      <a16:creationId xmlns:a16="http://schemas.microsoft.com/office/drawing/2014/main" id="{F8A84B58-D6C1-6654-D908-01AA5A23E5D7}"/>
                    </a:ext>
                  </a:extLst>
                </p:cNvPr>
                <p:cNvSpPr/>
                <p:nvPr/>
              </p:nvSpPr>
              <p:spPr>
                <a:xfrm>
                  <a:off x="5905284" y="3624464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99" name="Grafik 17">
                <a:extLst>
                  <a:ext uri="{FF2B5EF4-FFF2-40B4-BE49-F238E27FC236}">
                    <a16:creationId xmlns:a16="http://schemas.microsoft.com/office/drawing/2014/main" id="{11E75EDD-22EA-12FF-7D46-0E4B01D96DC3}"/>
                  </a:ext>
                </a:extLst>
              </p:cNvPr>
              <p:cNvGrpSpPr/>
              <p:nvPr/>
            </p:nvGrpSpPr>
            <p:grpSpPr>
              <a:xfrm>
                <a:off x="5893537" y="3602990"/>
                <a:ext cx="42947" cy="42947"/>
                <a:chOff x="5893537" y="3602990"/>
                <a:chExt cx="42947" cy="42947"/>
              </a:xfrm>
            </p:grpSpPr>
            <p:sp>
              <p:nvSpPr>
                <p:cNvPr id="500" name="Freihandform: Form 499">
                  <a:extLst>
                    <a:ext uri="{FF2B5EF4-FFF2-40B4-BE49-F238E27FC236}">
                      <a16:creationId xmlns:a16="http://schemas.microsoft.com/office/drawing/2014/main" id="{CD7589E8-9153-2386-7A79-4A7BB503D332}"/>
                    </a:ext>
                  </a:extLst>
                </p:cNvPr>
                <p:cNvSpPr/>
                <p:nvPr/>
              </p:nvSpPr>
              <p:spPr>
                <a:xfrm>
                  <a:off x="5915010" y="3602990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1" name="Freihandform: Form 500">
                  <a:extLst>
                    <a:ext uri="{FF2B5EF4-FFF2-40B4-BE49-F238E27FC236}">
                      <a16:creationId xmlns:a16="http://schemas.microsoft.com/office/drawing/2014/main" id="{5BCEF725-124F-3B94-354B-702C1A414083}"/>
                    </a:ext>
                  </a:extLst>
                </p:cNvPr>
                <p:cNvSpPr/>
                <p:nvPr/>
              </p:nvSpPr>
              <p:spPr>
                <a:xfrm>
                  <a:off x="5893537" y="3624464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02" name="Grafik 17">
                <a:extLst>
                  <a:ext uri="{FF2B5EF4-FFF2-40B4-BE49-F238E27FC236}">
                    <a16:creationId xmlns:a16="http://schemas.microsoft.com/office/drawing/2014/main" id="{492519E2-381F-94EB-2215-2ED88B0D20AD}"/>
                  </a:ext>
                </a:extLst>
              </p:cNvPr>
              <p:cNvGrpSpPr/>
              <p:nvPr/>
            </p:nvGrpSpPr>
            <p:grpSpPr>
              <a:xfrm>
                <a:off x="5847305" y="3579875"/>
                <a:ext cx="43073" cy="43073"/>
                <a:chOff x="5847305" y="3579875"/>
                <a:chExt cx="43073" cy="43073"/>
              </a:xfrm>
            </p:grpSpPr>
            <p:sp>
              <p:nvSpPr>
                <p:cNvPr id="503" name="Freihandform: Form 502">
                  <a:extLst>
                    <a:ext uri="{FF2B5EF4-FFF2-40B4-BE49-F238E27FC236}">
                      <a16:creationId xmlns:a16="http://schemas.microsoft.com/office/drawing/2014/main" id="{13C48A82-1B05-90E2-D0BA-74E7811F63F8}"/>
                    </a:ext>
                  </a:extLst>
                </p:cNvPr>
                <p:cNvSpPr/>
                <p:nvPr/>
              </p:nvSpPr>
              <p:spPr>
                <a:xfrm>
                  <a:off x="5868779" y="3579875"/>
                  <a:ext cx="12631" cy="43073"/>
                </a:xfrm>
                <a:custGeom>
                  <a:avLst/>
                  <a:gdLst>
                    <a:gd name="connsiteX0" fmla="*/ 0 w 12631"/>
                    <a:gd name="connsiteY0" fmla="*/ 0 h 43073"/>
                    <a:gd name="connsiteX1" fmla="*/ 0 w 12631"/>
                    <a:gd name="connsiteY1" fmla="*/ 43074 h 430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3073">
                      <a:moveTo>
                        <a:pt x="0" y="0"/>
                      </a:moveTo>
                      <a:lnTo>
                        <a:pt x="0" y="43074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4" name="Freihandform: Form 503">
                  <a:extLst>
                    <a:ext uri="{FF2B5EF4-FFF2-40B4-BE49-F238E27FC236}">
                      <a16:creationId xmlns:a16="http://schemas.microsoft.com/office/drawing/2014/main" id="{AD348C7A-6896-7BEA-8103-C421D067B780}"/>
                    </a:ext>
                  </a:extLst>
                </p:cNvPr>
                <p:cNvSpPr/>
                <p:nvPr/>
              </p:nvSpPr>
              <p:spPr>
                <a:xfrm>
                  <a:off x="5847305" y="3601348"/>
                  <a:ext cx="43073" cy="12631"/>
                </a:xfrm>
                <a:custGeom>
                  <a:avLst/>
                  <a:gdLst>
                    <a:gd name="connsiteX0" fmla="*/ 43074 w 43073"/>
                    <a:gd name="connsiteY0" fmla="*/ 0 h 12631"/>
                    <a:gd name="connsiteX1" fmla="*/ 0 w 43073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073" h="12631">
                      <a:moveTo>
                        <a:pt x="43074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05" name="Grafik 17">
                <a:extLst>
                  <a:ext uri="{FF2B5EF4-FFF2-40B4-BE49-F238E27FC236}">
                    <a16:creationId xmlns:a16="http://schemas.microsoft.com/office/drawing/2014/main" id="{FA414080-1402-8539-73A8-EFBFCD1B7FEE}"/>
                  </a:ext>
                </a:extLst>
              </p:cNvPr>
              <p:cNvGrpSpPr/>
              <p:nvPr/>
            </p:nvGrpSpPr>
            <p:grpSpPr>
              <a:xfrm>
                <a:off x="5779600" y="3524927"/>
                <a:ext cx="42947" cy="42947"/>
                <a:chOff x="5779600" y="3524927"/>
                <a:chExt cx="42947" cy="42947"/>
              </a:xfrm>
            </p:grpSpPr>
            <p:sp>
              <p:nvSpPr>
                <p:cNvPr id="506" name="Freihandform: Form 505">
                  <a:extLst>
                    <a:ext uri="{FF2B5EF4-FFF2-40B4-BE49-F238E27FC236}">
                      <a16:creationId xmlns:a16="http://schemas.microsoft.com/office/drawing/2014/main" id="{425281D5-9D9A-360F-EA80-36A0B66A26DC}"/>
                    </a:ext>
                  </a:extLst>
                </p:cNvPr>
                <p:cNvSpPr/>
                <p:nvPr/>
              </p:nvSpPr>
              <p:spPr>
                <a:xfrm>
                  <a:off x="5801074" y="3524927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7" name="Freihandform: Form 506">
                  <a:extLst>
                    <a:ext uri="{FF2B5EF4-FFF2-40B4-BE49-F238E27FC236}">
                      <a16:creationId xmlns:a16="http://schemas.microsoft.com/office/drawing/2014/main" id="{EB9DD51A-1425-60E5-1987-1D3F70D5C253}"/>
                    </a:ext>
                  </a:extLst>
                </p:cNvPr>
                <p:cNvSpPr/>
                <p:nvPr/>
              </p:nvSpPr>
              <p:spPr>
                <a:xfrm>
                  <a:off x="5779600" y="3546401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08" name="Grafik 17">
                <a:extLst>
                  <a:ext uri="{FF2B5EF4-FFF2-40B4-BE49-F238E27FC236}">
                    <a16:creationId xmlns:a16="http://schemas.microsoft.com/office/drawing/2014/main" id="{E7FA477E-6199-7EF3-3EB3-1EAF947691A6}"/>
                  </a:ext>
                </a:extLst>
              </p:cNvPr>
              <p:cNvGrpSpPr/>
              <p:nvPr/>
            </p:nvGrpSpPr>
            <p:grpSpPr>
              <a:xfrm>
                <a:off x="5727558" y="3485138"/>
                <a:ext cx="42947" cy="42947"/>
                <a:chOff x="5727558" y="3485138"/>
                <a:chExt cx="42947" cy="42947"/>
              </a:xfrm>
            </p:grpSpPr>
            <p:sp>
              <p:nvSpPr>
                <p:cNvPr id="509" name="Freihandform: Form 508">
                  <a:extLst>
                    <a:ext uri="{FF2B5EF4-FFF2-40B4-BE49-F238E27FC236}">
                      <a16:creationId xmlns:a16="http://schemas.microsoft.com/office/drawing/2014/main" id="{6737CF54-39B2-DB79-F3D4-1266279CE6D2}"/>
                    </a:ext>
                  </a:extLst>
                </p:cNvPr>
                <p:cNvSpPr/>
                <p:nvPr/>
              </p:nvSpPr>
              <p:spPr>
                <a:xfrm>
                  <a:off x="5749031" y="3485138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10" name="Freihandform: Form 509">
                  <a:extLst>
                    <a:ext uri="{FF2B5EF4-FFF2-40B4-BE49-F238E27FC236}">
                      <a16:creationId xmlns:a16="http://schemas.microsoft.com/office/drawing/2014/main" id="{0446AA9B-5C6F-F255-3C17-9AB93A0E1B1B}"/>
                    </a:ext>
                  </a:extLst>
                </p:cNvPr>
                <p:cNvSpPr/>
                <p:nvPr/>
              </p:nvSpPr>
              <p:spPr>
                <a:xfrm>
                  <a:off x="5727558" y="3506611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11" name="Grafik 17">
                <a:extLst>
                  <a:ext uri="{FF2B5EF4-FFF2-40B4-BE49-F238E27FC236}">
                    <a16:creationId xmlns:a16="http://schemas.microsoft.com/office/drawing/2014/main" id="{396CA185-5E7B-2DBE-4E58-C7E8E22957B8}"/>
                  </a:ext>
                </a:extLst>
              </p:cNvPr>
              <p:cNvGrpSpPr/>
              <p:nvPr/>
            </p:nvGrpSpPr>
            <p:grpSpPr>
              <a:xfrm>
                <a:off x="5711768" y="3472380"/>
                <a:ext cx="42947" cy="42947"/>
                <a:chOff x="5711768" y="3472380"/>
                <a:chExt cx="42947" cy="42947"/>
              </a:xfrm>
            </p:grpSpPr>
            <p:sp>
              <p:nvSpPr>
                <p:cNvPr id="512" name="Freihandform: Form 511">
                  <a:extLst>
                    <a:ext uri="{FF2B5EF4-FFF2-40B4-BE49-F238E27FC236}">
                      <a16:creationId xmlns:a16="http://schemas.microsoft.com/office/drawing/2014/main" id="{E11AB1DE-C231-4E43-AD12-7CA418BF5727}"/>
                    </a:ext>
                  </a:extLst>
                </p:cNvPr>
                <p:cNvSpPr/>
                <p:nvPr/>
              </p:nvSpPr>
              <p:spPr>
                <a:xfrm>
                  <a:off x="5733242" y="3472380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13" name="Freihandform: Form 512">
                  <a:extLst>
                    <a:ext uri="{FF2B5EF4-FFF2-40B4-BE49-F238E27FC236}">
                      <a16:creationId xmlns:a16="http://schemas.microsoft.com/office/drawing/2014/main" id="{5BF14691-1728-C15D-7613-BBD81618891B}"/>
                    </a:ext>
                  </a:extLst>
                </p:cNvPr>
                <p:cNvSpPr/>
                <p:nvPr/>
              </p:nvSpPr>
              <p:spPr>
                <a:xfrm>
                  <a:off x="5711768" y="3493853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14" name="Grafik 17">
                <a:extLst>
                  <a:ext uri="{FF2B5EF4-FFF2-40B4-BE49-F238E27FC236}">
                    <a16:creationId xmlns:a16="http://schemas.microsoft.com/office/drawing/2014/main" id="{34EBDBAD-31EE-6EC5-2D34-4852A91641B9}"/>
                  </a:ext>
                </a:extLst>
              </p:cNvPr>
              <p:cNvGrpSpPr/>
              <p:nvPr/>
            </p:nvGrpSpPr>
            <p:grpSpPr>
              <a:xfrm>
                <a:off x="5691684" y="3428169"/>
                <a:ext cx="42947" cy="42947"/>
                <a:chOff x="5691684" y="3428169"/>
                <a:chExt cx="42947" cy="42947"/>
              </a:xfrm>
            </p:grpSpPr>
            <p:sp>
              <p:nvSpPr>
                <p:cNvPr id="515" name="Freihandform: Form 514">
                  <a:extLst>
                    <a:ext uri="{FF2B5EF4-FFF2-40B4-BE49-F238E27FC236}">
                      <a16:creationId xmlns:a16="http://schemas.microsoft.com/office/drawing/2014/main" id="{C3263391-2CA8-1F21-D802-F2150E041A09}"/>
                    </a:ext>
                  </a:extLst>
                </p:cNvPr>
                <p:cNvSpPr/>
                <p:nvPr/>
              </p:nvSpPr>
              <p:spPr>
                <a:xfrm>
                  <a:off x="5713158" y="3428169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16" name="Freihandform: Form 515">
                  <a:extLst>
                    <a:ext uri="{FF2B5EF4-FFF2-40B4-BE49-F238E27FC236}">
                      <a16:creationId xmlns:a16="http://schemas.microsoft.com/office/drawing/2014/main" id="{F1C9BA4E-DF2A-4B66-E241-4C79461F44FA}"/>
                    </a:ext>
                  </a:extLst>
                </p:cNvPr>
                <p:cNvSpPr/>
                <p:nvPr/>
              </p:nvSpPr>
              <p:spPr>
                <a:xfrm>
                  <a:off x="5691684" y="3449643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17" name="Grafik 17">
                <a:extLst>
                  <a:ext uri="{FF2B5EF4-FFF2-40B4-BE49-F238E27FC236}">
                    <a16:creationId xmlns:a16="http://schemas.microsoft.com/office/drawing/2014/main" id="{3F46335A-CB6F-4EC4-CAA8-DAB655300F7F}"/>
                  </a:ext>
                </a:extLst>
              </p:cNvPr>
              <p:cNvGrpSpPr/>
              <p:nvPr/>
            </p:nvGrpSpPr>
            <p:grpSpPr>
              <a:xfrm>
                <a:off x="5577242" y="3332801"/>
                <a:ext cx="42947" cy="43073"/>
                <a:chOff x="5577242" y="3332801"/>
                <a:chExt cx="42947" cy="43073"/>
              </a:xfrm>
            </p:grpSpPr>
            <p:sp>
              <p:nvSpPr>
                <p:cNvPr id="518" name="Freihandform: Form 517">
                  <a:extLst>
                    <a:ext uri="{FF2B5EF4-FFF2-40B4-BE49-F238E27FC236}">
                      <a16:creationId xmlns:a16="http://schemas.microsoft.com/office/drawing/2014/main" id="{A259872B-8AA7-082A-1435-D8D0BABC4DF5}"/>
                    </a:ext>
                  </a:extLst>
                </p:cNvPr>
                <p:cNvSpPr/>
                <p:nvPr/>
              </p:nvSpPr>
              <p:spPr>
                <a:xfrm>
                  <a:off x="5598716" y="3332801"/>
                  <a:ext cx="12631" cy="43073"/>
                </a:xfrm>
                <a:custGeom>
                  <a:avLst/>
                  <a:gdLst>
                    <a:gd name="connsiteX0" fmla="*/ 0 w 12631"/>
                    <a:gd name="connsiteY0" fmla="*/ 0 h 43073"/>
                    <a:gd name="connsiteX1" fmla="*/ 0 w 12631"/>
                    <a:gd name="connsiteY1" fmla="*/ 43074 h 430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3073">
                      <a:moveTo>
                        <a:pt x="0" y="0"/>
                      </a:moveTo>
                      <a:lnTo>
                        <a:pt x="0" y="43074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19" name="Freihandform: Form 518">
                  <a:extLst>
                    <a:ext uri="{FF2B5EF4-FFF2-40B4-BE49-F238E27FC236}">
                      <a16:creationId xmlns:a16="http://schemas.microsoft.com/office/drawing/2014/main" id="{D614E7E0-8940-FE73-99E1-55F3CFAA9E8F}"/>
                    </a:ext>
                  </a:extLst>
                </p:cNvPr>
                <p:cNvSpPr/>
                <p:nvPr/>
              </p:nvSpPr>
              <p:spPr>
                <a:xfrm>
                  <a:off x="5577242" y="3354401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0" name="Grafik 17">
                <a:extLst>
                  <a:ext uri="{FF2B5EF4-FFF2-40B4-BE49-F238E27FC236}">
                    <a16:creationId xmlns:a16="http://schemas.microsoft.com/office/drawing/2014/main" id="{10D15A6C-DC58-CC96-EE7A-5EADED69259F}"/>
                  </a:ext>
                </a:extLst>
              </p:cNvPr>
              <p:cNvGrpSpPr/>
              <p:nvPr/>
            </p:nvGrpSpPr>
            <p:grpSpPr>
              <a:xfrm>
                <a:off x="5540358" y="3266611"/>
                <a:ext cx="42947" cy="42947"/>
                <a:chOff x="5540358" y="3266611"/>
                <a:chExt cx="42947" cy="42947"/>
              </a:xfrm>
            </p:grpSpPr>
            <p:sp>
              <p:nvSpPr>
                <p:cNvPr id="521" name="Freihandform: Form 520">
                  <a:extLst>
                    <a:ext uri="{FF2B5EF4-FFF2-40B4-BE49-F238E27FC236}">
                      <a16:creationId xmlns:a16="http://schemas.microsoft.com/office/drawing/2014/main" id="{58B0E4EA-955B-61C0-7C51-55FAA4981140}"/>
                    </a:ext>
                  </a:extLst>
                </p:cNvPr>
                <p:cNvSpPr/>
                <p:nvPr/>
              </p:nvSpPr>
              <p:spPr>
                <a:xfrm>
                  <a:off x="5561831" y="3266611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22" name="Freihandform: Form 521">
                  <a:extLst>
                    <a:ext uri="{FF2B5EF4-FFF2-40B4-BE49-F238E27FC236}">
                      <a16:creationId xmlns:a16="http://schemas.microsoft.com/office/drawing/2014/main" id="{C6B90A04-065A-6354-1051-D9B3713A6B33}"/>
                    </a:ext>
                  </a:extLst>
                </p:cNvPr>
                <p:cNvSpPr/>
                <p:nvPr/>
              </p:nvSpPr>
              <p:spPr>
                <a:xfrm>
                  <a:off x="5540358" y="3288085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3" name="Grafik 17">
                <a:extLst>
                  <a:ext uri="{FF2B5EF4-FFF2-40B4-BE49-F238E27FC236}">
                    <a16:creationId xmlns:a16="http://schemas.microsoft.com/office/drawing/2014/main" id="{3DFA2B32-2157-327C-12D5-259FB774EC8E}"/>
                  </a:ext>
                </a:extLst>
              </p:cNvPr>
              <p:cNvGrpSpPr/>
              <p:nvPr/>
            </p:nvGrpSpPr>
            <p:grpSpPr>
              <a:xfrm>
                <a:off x="5527600" y="3230738"/>
                <a:ext cx="42947" cy="42947"/>
                <a:chOff x="5527600" y="3230738"/>
                <a:chExt cx="42947" cy="42947"/>
              </a:xfrm>
            </p:grpSpPr>
            <p:sp>
              <p:nvSpPr>
                <p:cNvPr id="524" name="Freihandform: Form 523">
                  <a:extLst>
                    <a:ext uri="{FF2B5EF4-FFF2-40B4-BE49-F238E27FC236}">
                      <a16:creationId xmlns:a16="http://schemas.microsoft.com/office/drawing/2014/main" id="{82F68F54-612E-0B36-B271-E6137CF353BB}"/>
                    </a:ext>
                  </a:extLst>
                </p:cNvPr>
                <p:cNvSpPr/>
                <p:nvPr/>
              </p:nvSpPr>
              <p:spPr>
                <a:xfrm>
                  <a:off x="5549074" y="3230738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25" name="Freihandform: Form 524">
                  <a:extLst>
                    <a:ext uri="{FF2B5EF4-FFF2-40B4-BE49-F238E27FC236}">
                      <a16:creationId xmlns:a16="http://schemas.microsoft.com/office/drawing/2014/main" id="{8A58B550-804B-9E97-EE6D-59D2970FBF2E}"/>
                    </a:ext>
                  </a:extLst>
                </p:cNvPr>
                <p:cNvSpPr/>
                <p:nvPr/>
              </p:nvSpPr>
              <p:spPr>
                <a:xfrm>
                  <a:off x="5527600" y="3252211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6" name="Grafik 17">
                <a:extLst>
                  <a:ext uri="{FF2B5EF4-FFF2-40B4-BE49-F238E27FC236}">
                    <a16:creationId xmlns:a16="http://schemas.microsoft.com/office/drawing/2014/main" id="{CA2AFF41-7F91-138C-3118-D1AE26807191}"/>
                  </a:ext>
                </a:extLst>
              </p:cNvPr>
              <p:cNvGrpSpPr/>
              <p:nvPr/>
            </p:nvGrpSpPr>
            <p:grpSpPr>
              <a:xfrm>
                <a:off x="5517242" y="3193853"/>
                <a:ext cx="42947" cy="42947"/>
                <a:chOff x="5517242" y="3193853"/>
                <a:chExt cx="42947" cy="42947"/>
              </a:xfrm>
            </p:grpSpPr>
            <p:sp>
              <p:nvSpPr>
                <p:cNvPr id="527" name="Freihandform: Form 526">
                  <a:extLst>
                    <a:ext uri="{FF2B5EF4-FFF2-40B4-BE49-F238E27FC236}">
                      <a16:creationId xmlns:a16="http://schemas.microsoft.com/office/drawing/2014/main" id="{BC421026-65A0-4506-4CCD-5809AA0DC254}"/>
                    </a:ext>
                  </a:extLst>
                </p:cNvPr>
                <p:cNvSpPr/>
                <p:nvPr/>
              </p:nvSpPr>
              <p:spPr>
                <a:xfrm>
                  <a:off x="5538716" y="3193853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28" name="Freihandform: Form 527">
                  <a:extLst>
                    <a:ext uri="{FF2B5EF4-FFF2-40B4-BE49-F238E27FC236}">
                      <a16:creationId xmlns:a16="http://schemas.microsoft.com/office/drawing/2014/main" id="{68AB54DE-DF36-8519-5D75-BE70753A8E50}"/>
                    </a:ext>
                  </a:extLst>
                </p:cNvPr>
                <p:cNvSpPr/>
                <p:nvPr/>
              </p:nvSpPr>
              <p:spPr>
                <a:xfrm>
                  <a:off x="5517242" y="3215327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9" name="Grafik 17">
                <a:extLst>
                  <a:ext uri="{FF2B5EF4-FFF2-40B4-BE49-F238E27FC236}">
                    <a16:creationId xmlns:a16="http://schemas.microsoft.com/office/drawing/2014/main" id="{1D55F8F3-6410-08A9-CA98-B734A4587C6F}"/>
                  </a:ext>
                </a:extLst>
              </p:cNvPr>
              <p:cNvGrpSpPr/>
              <p:nvPr/>
            </p:nvGrpSpPr>
            <p:grpSpPr>
              <a:xfrm>
                <a:off x="5503979" y="3152043"/>
                <a:ext cx="42947" cy="43073"/>
                <a:chOff x="5503979" y="3152043"/>
                <a:chExt cx="42947" cy="43073"/>
              </a:xfrm>
            </p:grpSpPr>
            <p:sp>
              <p:nvSpPr>
                <p:cNvPr id="530" name="Freihandform: Form 529">
                  <a:extLst>
                    <a:ext uri="{FF2B5EF4-FFF2-40B4-BE49-F238E27FC236}">
                      <a16:creationId xmlns:a16="http://schemas.microsoft.com/office/drawing/2014/main" id="{CACE9B0A-C20C-6046-B083-EEA9D0A11F5F}"/>
                    </a:ext>
                  </a:extLst>
                </p:cNvPr>
                <p:cNvSpPr/>
                <p:nvPr/>
              </p:nvSpPr>
              <p:spPr>
                <a:xfrm>
                  <a:off x="5525452" y="3152043"/>
                  <a:ext cx="12631" cy="43073"/>
                </a:xfrm>
                <a:custGeom>
                  <a:avLst/>
                  <a:gdLst>
                    <a:gd name="connsiteX0" fmla="*/ 0 w 12631"/>
                    <a:gd name="connsiteY0" fmla="*/ 0 h 43073"/>
                    <a:gd name="connsiteX1" fmla="*/ 0 w 12631"/>
                    <a:gd name="connsiteY1" fmla="*/ 43074 h 430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3073">
                      <a:moveTo>
                        <a:pt x="0" y="0"/>
                      </a:moveTo>
                      <a:lnTo>
                        <a:pt x="0" y="43074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1" name="Freihandform: Form 530">
                  <a:extLst>
                    <a:ext uri="{FF2B5EF4-FFF2-40B4-BE49-F238E27FC236}">
                      <a16:creationId xmlns:a16="http://schemas.microsoft.com/office/drawing/2014/main" id="{C464D559-EF0A-C4BF-D9E1-C6702DA18AA3}"/>
                    </a:ext>
                  </a:extLst>
                </p:cNvPr>
                <p:cNvSpPr/>
                <p:nvPr/>
              </p:nvSpPr>
              <p:spPr>
                <a:xfrm>
                  <a:off x="5503979" y="3173643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32" name="Grafik 17">
                <a:extLst>
                  <a:ext uri="{FF2B5EF4-FFF2-40B4-BE49-F238E27FC236}">
                    <a16:creationId xmlns:a16="http://schemas.microsoft.com/office/drawing/2014/main" id="{516E6932-B2E8-3BF5-F279-370FB175055A}"/>
                  </a:ext>
                </a:extLst>
              </p:cNvPr>
              <p:cNvGrpSpPr/>
              <p:nvPr/>
            </p:nvGrpSpPr>
            <p:grpSpPr>
              <a:xfrm>
                <a:off x="5483389" y="3129559"/>
                <a:ext cx="42947" cy="42947"/>
                <a:chOff x="5483389" y="3129559"/>
                <a:chExt cx="42947" cy="42947"/>
              </a:xfrm>
            </p:grpSpPr>
            <p:sp>
              <p:nvSpPr>
                <p:cNvPr id="533" name="Freihandform: Form 532">
                  <a:extLst>
                    <a:ext uri="{FF2B5EF4-FFF2-40B4-BE49-F238E27FC236}">
                      <a16:creationId xmlns:a16="http://schemas.microsoft.com/office/drawing/2014/main" id="{FA08F2B6-FE2C-2F9A-35A8-048000B13C7E}"/>
                    </a:ext>
                  </a:extLst>
                </p:cNvPr>
                <p:cNvSpPr/>
                <p:nvPr/>
              </p:nvSpPr>
              <p:spPr>
                <a:xfrm>
                  <a:off x="5504863" y="3129559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4" name="Freihandform: Form 533">
                  <a:extLst>
                    <a:ext uri="{FF2B5EF4-FFF2-40B4-BE49-F238E27FC236}">
                      <a16:creationId xmlns:a16="http://schemas.microsoft.com/office/drawing/2014/main" id="{A1A17277-EAB1-37FE-D0E8-C25CFA747891}"/>
                    </a:ext>
                  </a:extLst>
                </p:cNvPr>
                <p:cNvSpPr/>
                <p:nvPr/>
              </p:nvSpPr>
              <p:spPr>
                <a:xfrm>
                  <a:off x="5483389" y="3151032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35" name="Grafik 17">
                <a:extLst>
                  <a:ext uri="{FF2B5EF4-FFF2-40B4-BE49-F238E27FC236}">
                    <a16:creationId xmlns:a16="http://schemas.microsoft.com/office/drawing/2014/main" id="{284D2E22-785C-8785-FBFC-96B29D6FF73F}"/>
                  </a:ext>
                </a:extLst>
              </p:cNvPr>
              <p:cNvGrpSpPr/>
              <p:nvPr/>
            </p:nvGrpSpPr>
            <p:grpSpPr>
              <a:xfrm>
                <a:off x="5486295" y="3098611"/>
                <a:ext cx="42947" cy="42947"/>
                <a:chOff x="5486295" y="3098611"/>
                <a:chExt cx="42947" cy="42947"/>
              </a:xfrm>
            </p:grpSpPr>
            <p:sp>
              <p:nvSpPr>
                <p:cNvPr id="536" name="Freihandform: Form 535">
                  <a:extLst>
                    <a:ext uri="{FF2B5EF4-FFF2-40B4-BE49-F238E27FC236}">
                      <a16:creationId xmlns:a16="http://schemas.microsoft.com/office/drawing/2014/main" id="{5BFAFD67-F428-2BE5-895A-9950BF4E5C29}"/>
                    </a:ext>
                  </a:extLst>
                </p:cNvPr>
                <p:cNvSpPr/>
                <p:nvPr/>
              </p:nvSpPr>
              <p:spPr>
                <a:xfrm>
                  <a:off x="5507768" y="3098611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7" name="Freihandform: Form 536">
                  <a:extLst>
                    <a:ext uri="{FF2B5EF4-FFF2-40B4-BE49-F238E27FC236}">
                      <a16:creationId xmlns:a16="http://schemas.microsoft.com/office/drawing/2014/main" id="{A6A10C41-6B49-7A08-7C4A-458106DFB3A1}"/>
                    </a:ext>
                  </a:extLst>
                </p:cNvPr>
                <p:cNvSpPr/>
                <p:nvPr/>
              </p:nvSpPr>
              <p:spPr>
                <a:xfrm>
                  <a:off x="5486295" y="3120085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38" name="Grafik 17">
                <a:extLst>
                  <a:ext uri="{FF2B5EF4-FFF2-40B4-BE49-F238E27FC236}">
                    <a16:creationId xmlns:a16="http://schemas.microsoft.com/office/drawing/2014/main" id="{E4CF1962-AB6F-BE20-F6C0-9BD973C4D288}"/>
                  </a:ext>
                </a:extLst>
              </p:cNvPr>
              <p:cNvGrpSpPr/>
              <p:nvPr/>
            </p:nvGrpSpPr>
            <p:grpSpPr>
              <a:xfrm>
                <a:off x="5479979" y="3070569"/>
                <a:ext cx="42947" cy="42947"/>
                <a:chOff x="5479979" y="3070569"/>
                <a:chExt cx="42947" cy="42947"/>
              </a:xfrm>
            </p:grpSpPr>
            <p:sp>
              <p:nvSpPr>
                <p:cNvPr id="539" name="Freihandform: Form 538">
                  <a:extLst>
                    <a:ext uri="{FF2B5EF4-FFF2-40B4-BE49-F238E27FC236}">
                      <a16:creationId xmlns:a16="http://schemas.microsoft.com/office/drawing/2014/main" id="{7EDB762B-24C2-A8EB-AE78-5ADC1234210D}"/>
                    </a:ext>
                  </a:extLst>
                </p:cNvPr>
                <p:cNvSpPr/>
                <p:nvPr/>
              </p:nvSpPr>
              <p:spPr>
                <a:xfrm>
                  <a:off x="5501452" y="3070569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0" name="Freihandform: Form 539">
                  <a:extLst>
                    <a:ext uri="{FF2B5EF4-FFF2-40B4-BE49-F238E27FC236}">
                      <a16:creationId xmlns:a16="http://schemas.microsoft.com/office/drawing/2014/main" id="{9394FBE1-F0AE-BAB1-EEEE-C86ECD0105A5}"/>
                    </a:ext>
                  </a:extLst>
                </p:cNvPr>
                <p:cNvSpPr/>
                <p:nvPr/>
              </p:nvSpPr>
              <p:spPr>
                <a:xfrm>
                  <a:off x="5479979" y="3092043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41" name="Grafik 17">
                <a:extLst>
                  <a:ext uri="{FF2B5EF4-FFF2-40B4-BE49-F238E27FC236}">
                    <a16:creationId xmlns:a16="http://schemas.microsoft.com/office/drawing/2014/main" id="{E834DD2A-9D81-15FA-DE75-87EEB098967C}"/>
                  </a:ext>
                </a:extLst>
              </p:cNvPr>
              <p:cNvGrpSpPr/>
              <p:nvPr/>
            </p:nvGrpSpPr>
            <p:grpSpPr>
              <a:xfrm>
                <a:off x="5472147" y="3047959"/>
                <a:ext cx="42947" cy="42947"/>
                <a:chOff x="5472147" y="3047959"/>
                <a:chExt cx="42947" cy="42947"/>
              </a:xfrm>
            </p:grpSpPr>
            <p:sp>
              <p:nvSpPr>
                <p:cNvPr id="542" name="Freihandform: Form 541">
                  <a:extLst>
                    <a:ext uri="{FF2B5EF4-FFF2-40B4-BE49-F238E27FC236}">
                      <a16:creationId xmlns:a16="http://schemas.microsoft.com/office/drawing/2014/main" id="{E60B93B7-D93D-EE31-B975-7E84F0694248}"/>
                    </a:ext>
                  </a:extLst>
                </p:cNvPr>
                <p:cNvSpPr/>
                <p:nvPr/>
              </p:nvSpPr>
              <p:spPr>
                <a:xfrm>
                  <a:off x="5493621" y="3047959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3" name="Freihandform: Form 542">
                  <a:extLst>
                    <a:ext uri="{FF2B5EF4-FFF2-40B4-BE49-F238E27FC236}">
                      <a16:creationId xmlns:a16="http://schemas.microsoft.com/office/drawing/2014/main" id="{5EE11203-A79E-6BFF-1423-17961A567698}"/>
                    </a:ext>
                  </a:extLst>
                </p:cNvPr>
                <p:cNvSpPr/>
                <p:nvPr/>
              </p:nvSpPr>
              <p:spPr>
                <a:xfrm>
                  <a:off x="5472147" y="3069432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44" name="Grafik 17">
                <a:extLst>
                  <a:ext uri="{FF2B5EF4-FFF2-40B4-BE49-F238E27FC236}">
                    <a16:creationId xmlns:a16="http://schemas.microsoft.com/office/drawing/2014/main" id="{2152E9EC-F0A0-45BC-6FD4-BEFDFBE6A5DC}"/>
                  </a:ext>
                </a:extLst>
              </p:cNvPr>
              <p:cNvGrpSpPr/>
              <p:nvPr/>
            </p:nvGrpSpPr>
            <p:grpSpPr>
              <a:xfrm>
                <a:off x="5468105" y="3008169"/>
                <a:ext cx="43073" cy="42947"/>
                <a:chOff x="5468105" y="3008169"/>
                <a:chExt cx="43073" cy="42947"/>
              </a:xfrm>
            </p:grpSpPr>
            <p:sp>
              <p:nvSpPr>
                <p:cNvPr id="545" name="Freihandform: Form 544">
                  <a:extLst>
                    <a:ext uri="{FF2B5EF4-FFF2-40B4-BE49-F238E27FC236}">
                      <a16:creationId xmlns:a16="http://schemas.microsoft.com/office/drawing/2014/main" id="{3ABAA9AE-DF41-EA55-A19E-5FB84C6DBFBA}"/>
                    </a:ext>
                  </a:extLst>
                </p:cNvPr>
                <p:cNvSpPr/>
                <p:nvPr/>
              </p:nvSpPr>
              <p:spPr>
                <a:xfrm>
                  <a:off x="5489705" y="3008169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6" name="Freihandform: Form 545">
                  <a:extLst>
                    <a:ext uri="{FF2B5EF4-FFF2-40B4-BE49-F238E27FC236}">
                      <a16:creationId xmlns:a16="http://schemas.microsoft.com/office/drawing/2014/main" id="{F59D3573-73A4-607E-53A1-AD53AE9D282C}"/>
                    </a:ext>
                  </a:extLst>
                </p:cNvPr>
                <p:cNvSpPr/>
                <p:nvPr/>
              </p:nvSpPr>
              <p:spPr>
                <a:xfrm>
                  <a:off x="5468105" y="3029643"/>
                  <a:ext cx="43073" cy="12631"/>
                </a:xfrm>
                <a:custGeom>
                  <a:avLst/>
                  <a:gdLst>
                    <a:gd name="connsiteX0" fmla="*/ 43074 w 43073"/>
                    <a:gd name="connsiteY0" fmla="*/ 0 h 12631"/>
                    <a:gd name="connsiteX1" fmla="*/ 0 w 43073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073" h="12631">
                      <a:moveTo>
                        <a:pt x="43074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47" name="Grafik 17">
                <a:extLst>
                  <a:ext uri="{FF2B5EF4-FFF2-40B4-BE49-F238E27FC236}">
                    <a16:creationId xmlns:a16="http://schemas.microsoft.com/office/drawing/2014/main" id="{B145C674-8835-CA99-98A3-21FC44D4709B}"/>
                  </a:ext>
                </a:extLst>
              </p:cNvPr>
              <p:cNvGrpSpPr/>
              <p:nvPr/>
            </p:nvGrpSpPr>
            <p:grpSpPr>
              <a:xfrm>
                <a:off x="5466716" y="2984169"/>
                <a:ext cx="42947" cy="42947"/>
                <a:chOff x="5466716" y="2984169"/>
                <a:chExt cx="42947" cy="42947"/>
              </a:xfrm>
            </p:grpSpPr>
            <p:sp>
              <p:nvSpPr>
                <p:cNvPr id="548" name="Freihandform: Form 547">
                  <a:extLst>
                    <a:ext uri="{FF2B5EF4-FFF2-40B4-BE49-F238E27FC236}">
                      <a16:creationId xmlns:a16="http://schemas.microsoft.com/office/drawing/2014/main" id="{4AE600D3-53D6-F12E-4507-06180792F02B}"/>
                    </a:ext>
                  </a:extLst>
                </p:cNvPr>
                <p:cNvSpPr/>
                <p:nvPr/>
              </p:nvSpPr>
              <p:spPr>
                <a:xfrm>
                  <a:off x="5488189" y="2984169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9" name="Freihandform: Form 548">
                  <a:extLst>
                    <a:ext uri="{FF2B5EF4-FFF2-40B4-BE49-F238E27FC236}">
                      <a16:creationId xmlns:a16="http://schemas.microsoft.com/office/drawing/2014/main" id="{5F98FDA4-0536-5353-FC4B-3ED1848A37A6}"/>
                    </a:ext>
                  </a:extLst>
                </p:cNvPr>
                <p:cNvSpPr/>
                <p:nvPr/>
              </p:nvSpPr>
              <p:spPr>
                <a:xfrm>
                  <a:off x="5466716" y="3005643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50" name="Grafik 17">
                <a:extLst>
                  <a:ext uri="{FF2B5EF4-FFF2-40B4-BE49-F238E27FC236}">
                    <a16:creationId xmlns:a16="http://schemas.microsoft.com/office/drawing/2014/main" id="{A21BAD86-BB0F-0AC6-4983-817564724060}"/>
                  </a:ext>
                </a:extLst>
              </p:cNvPr>
              <p:cNvGrpSpPr/>
              <p:nvPr/>
            </p:nvGrpSpPr>
            <p:grpSpPr>
              <a:xfrm>
                <a:off x="5449537" y="2895748"/>
                <a:ext cx="42947" cy="42947"/>
                <a:chOff x="5449537" y="2895748"/>
                <a:chExt cx="42947" cy="42947"/>
              </a:xfrm>
            </p:grpSpPr>
            <p:sp>
              <p:nvSpPr>
                <p:cNvPr id="551" name="Freihandform: Form 550">
                  <a:extLst>
                    <a:ext uri="{FF2B5EF4-FFF2-40B4-BE49-F238E27FC236}">
                      <a16:creationId xmlns:a16="http://schemas.microsoft.com/office/drawing/2014/main" id="{C1567334-DE9F-3F7C-D615-7D04F8D31096}"/>
                    </a:ext>
                  </a:extLst>
                </p:cNvPr>
                <p:cNvSpPr/>
                <p:nvPr/>
              </p:nvSpPr>
              <p:spPr>
                <a:xfrm>
                  <a:off x="5471010" y="2895748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52" name="Freihandform: Form 551">
                  <a:extLst>
                    <a:ext uri="{FF2B5EF4-FFF2-40B4-BE49-F238E27FC236}">
                      <a16:creationId xmlns:a16="http://schemas.microsoft.com/office/drawing/2014/main" id="{B8596D15-B2EE-1C7D-8F36-D3C5C0B8EA4D}"/>
                    </a:ext>
                  </a:extLst>
                </p:cNvPr>
                <p:cNvSpPr/>
                <p:nvPr/>
              </p:nvSpPr>
              <p:spPr>
                <a:xfrm>
                  <a:off x="5449537" y="2917222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53" name="Grafik 17">
                <a:extLst>
                  <a:ext uri="{FF2B5EF4-FFF2-40B4-BE49-F238E27FC236}">
                    <a16:creationId xmlns:a16="http://schemas.microsoft.com/office/drawing/2014/main" id="{E95C2FBA-3880-2768-EE8F-5A864CE9BA68}"/>
                  </a:ext>
                </a:extLst>
              </p:cNvPr>
              <p:cNvGrpSpPr/>
              <p:nvPr/>
            </p:nvGrpSpPr>
            <p:grpSpPr>
              <a:xfrm>
                <a:off x="5446000" y="2868211"/>
                <a:ext cx="43073" cy="42947"/>
                <a:chOff x="5446000" y="2868211"/>
                <a:chExt cx="43073" cy="42947"/>
              </a:xfrm>
            </p:grpSpPr>
            <p:sp>
              <p:nvSpPr>
                <p:cNvPr id="554" name="Freihandform: Form 553">
                  <a:extLst>
                    <a:ext uri="{FF2B5EF4-FFF2-40B4-BE49-F238E27FC236}">
                      <a16:creationId xmlns:a16="http://schemas.microsoft.com/office/drawing/2014/main" id="{BD783C3B-94A4-EFE2-9DC8-4D2795220BC5}"/>
                    </a:ext>
                  </a:extLst>
                </p:cNvPr>
                <p:cNvSpPr/>
                <p:nvPr/>
              </p:nvSpPr>
              <p:spPr>
                <a:xfrm>
                  <a:off x="5467600" y="2868211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55" name="Freihandform: Form 554">
                  <a:extLst>
                    <a:ext uri="{FF2B5EF4-FFF2-40B4-BE49-F238E27FC236}">
                      <a16:creationId xmlns:a16="http://schemas.microsoft.com/office/drawing/2014/main" id="{0DB6F455-6D7A-4B2B-100F-8B2FB0208448}"/>
                    </a:ext>
                  </a:extLst>
                </p:cNvPr>
                <p:cNvSpPr/>
                <p:nvPr/>
              </p:nvSpPr>
              <p:spPr>
                <a:xfrm>
                  <a:off x="5446000" y="2889685"/>
                  <a:ext cx="43073" cy="12631"/>
                </a:xfrm>
                <a:custGeom>
                  <a:avLst/>
                  <a:gdLst>
                    <a:gd name="connsiteX0" fmla="*/ 43074 w 43073"/>
                    <a:gd name="connsiteY0" fmla="*/ 0 h 12631"/>
                    <a:gd name="connsiteX1" fmla="*/ 0 w 43073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073" h="12631">
                      <a:moveTo>
                        <a:pt x="43074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56" name="Grafik 17">
                <a:extLst>
                  <a:ext uri="{FF2B5EF4-FFF2-40B4-BE49-F238E27FC236}">
                    <a16:creationId xmlns:a16="http://schemas.microsoft.com/office/drawing/2014/main" id="{00AA443E-8552-E34E-BAF5-4232DEB93A71}"/>
                  </a:ext>
                </a:extLst>
              </p:cNvPr>
              <p:cNvGrpSpPr/>
              <p:nvPr/>
            </p:nvGrpSpPr>
            <p:grpSpPr>
              <a:xfrm>
                <a:off x="5438674" y="2839159"/>
                <a:ext cx="42947" cy="43073"/>
                <a:chOff x="5438674" y="2839159"/>
                <a:chExt cx="42947" cy="43073"/>
              </a:xfrm>
            </p:grpSpPr>
            <p:sp>
              <p:nvSpPr>
                <p:cNvPr id="557" name="Freihandform: Form 556">
                  <a:extLst>
                    <a:ext uri="{FF2B5EF4-FFF2-40B4-BE49-F238E27FC236}">
                      <a16:creationId xmlns:a16="http://schemas.microsoft.com/office/drawing/2014/main" id="{1C5DD2C7-54C0-93AC-728C-06F1F7F9B165}"/>
                    </a:ext>
                  </a:extLst>
                </p:cNvPr>
                <p:cNvSpPr/>
                <p:nvPr/>
              </p:nvSpPr>
              <p:spPr>
                <a:xfrm>
                  <a:off x="5460147" y="2839159"/>
                  <a:ext cx="12631" cy="43073"/>
                </a:xfrm>
                <a:custGeom>
                  <a:avLst/>
                  <a:gdLst>
                    <a:gd name="connsiteX0" fmla="*/ 0 w 12631"/>
                    <a:gd name="connsiteY0" fmla="*/ 0 h 43073"/>
                    <a:gd name="connsiteX1" fmla="*/ 0 w 12631"/>
                    <a:gd name="connsiteY1" fmla="*/ 43074 h 430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3073">
                      <a:moveTo>
                        <a:pt x="0" y="0"/>
                      </a:moveTo>
                      <a:lnTo>
                        <a:pt x="0" y="43074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58" name="Freihandform: Form 557">
                  <a:extLst>
                    <a:ext uri="{FF2B5EF4-FFF2-40B4-BE49-F238E27FC236}">
                      <a16:creationId xmlns:a16="http://schemas.microsoft.com/office/drawing/2014/main" id="{1DCC23A1-3DEA-5D9E-4263-1EA3F127AC97}"/>
                    </a:ext>
                  </a:extLst>
                </p:cNvPr>
                <p:cNvSpPr/>
                <p:nvPr/>
              </p:nvSpPr>
              <p:spPr>
                <a:xfrm>
                  <a:off x="5438674" y="2860759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59" name="Grafik 17">
                <a:extLst>
                  <a:ext uri="{FF2B5EF4-FFF2-40B4-BE49-F238E27FC236}">
                    <a16:creationId xmlns:a16="http://schemas.microsoft.com/office/drawing/2014/main" id="{CF067BD9-4B0D-A878-C917-0DDE293B9933}"/>
                  </a:ext>
                </a:extLst>
              </p:cNvPr>
              <p:cNvGrpSpPr/>
              <p:nvPr/>
            </p:nvGrpSpPr>
            <p:grpSpPr>
              <a:xfrm>
                <a:off x="5426926" y="2796464"/>
                <a:ext cx="42947" cy="42947"/>
                <a:chOff x="5426926" y="2796464"/>
                <a:chExt cx="42947" cy="42947"/>
              </a:xfrm>
            </p:grpSpPr>
            <p:sp>
              <p:nvSpPr>
                <p:cNvPr id="560" name="Freihandform: Form 559">
                  <a:extLst>
                    <a:ext uri="{FF2B5EF4-FFF2-40B4-BE49-F238E27FC236}">
                      <a16:creationId xmlns:a16="http://schemas.microsoft.com/office/drawing/2014/main" id="{C025D4A4-974B-6E97-AC31-A1B158BE451C}"/>
                    </a:ext>
                  </a:extLst>
                </p:cNvPr>
                <p:cNvSpPr/>
                <p:nvPr/>
              </p:nvSpPr>
              <p:spPr>
                <a:xfrm>
                  <a:off x="5448400" y="2796464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1" name="Freihandform: Form 560">
                  <a:extLst>
                    <a:ext uri="{FF2B5EF4-FFF2-40B4-BE49-F238E27FC236}">
                      <a16:creationId xmlns:a16="http://schemas.microsoft.com/office/drawing/2014/main" id="{AFEC7049-7DEF-4A08-052C-9F0678D36E8C}"/>
                    </a:ext>
                  </a:extLst>
                </p:cNvPr>
                <p:cNvSpPr/>
                <p:nvPr/>
              </p:nvSpPr>
              <p:spPr>
                <a:xfrm>
                  <a:off x="5426926" y="2817938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62" name="Grafik 17">
                <a:extLst>
                  <a:ext uri="{FF2B5EF4-FFF2-40B4-BE49-F238E27FC236}">
                    <a16:creationId xmlns:a16="http://schemas.microsoft.com/office/drawing/2014/main" id="{6C650E60-76CB-75FA-8D9E-474A12A36F9D}"/>
                  </a:ext>
                </a:extLst>
              </p:cNvPr>
              <p:cNvGrpSpPr/>
              <p:nvPr/>
            </p:nvGrpSpPr>
            <p:grpSpPr>
              <a:xfrm>
                <a:off x="5414547" y="2728885"/>
                <a:ext cx="42947" cy="42947"/>
                <a:chOff x="5414547" y="2728885"/>
                <a:chExt cx="42947" cy="42947"/>
              </a:xfrm>
            </p:grpSpPr>
            <p:sp>
              <p:nvSpPr>
                <p:cNvPr id="563" name="Freihandform: Form 562">
                  <a:extLst>
                    <a:ext uri="{FF2B5EF4-FFF2-40B4-BE49-F238E27FC236}">
                      <a16:creationId xmlns:a16="http://schemas.microsoft.com/office/drawing/2014/main" id="{3844C8B4-E04D-E9E6-492B-D35E3B504FE2}"/>
                    </a:ext>
                  </a:extLst>
                </p:cNvPr>
                <p:cNvSpPr/>
                <p:nvPr/>
              </p:nvSpPr>
              <p:spPr>
                <a:xfrm>
                  <a:off x="5436021" y="2728885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4" name="Freihandform: Form 563">
                  <a:extLst>
                    <a:ext uri="{FF2B5EF4-FFF2-40B4-BE49-F238E27FC236}">
                      <a16:creationId xmlns:a16="http://schemas.microsoft.com/office/drawing/2014/main" id="{2DA85DC8-4128-1B26-1650-803BA793F2C6}"/>
                    </a:ext>
                  </a:extLst>
                </p:cNvPr>
                <p:cNvSpPr/>
                <p:nvPr/>
              </p:nvSpPr>
              <p:spPr>
                <a:xfrm>
                  <a:off x="5414547" y="2750359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65" name="Grafik 17">
                <a:extLst>
                  <a:ext uri="{FF2B5EF4-FFF2-40B4-BE49-F238E27FC236}">
                    <a16:creationId xmlns:a16="http://schemas.microsoft.com/office/drawing/2014/main" id="{8FB358FD-D732-3988-C2C7-DB0678061283}"/>
                  </a:ext>
                </a:extLst>
              </p:cNvPr>
              <p:cNvGrpSpPr/>
              <p:nvPr/>
            </p:nvGrpSpPr>
            <p:grpSpPr>
              <a:xfrm>
                <a:off x="5413158" y="2705643"/>
                <a:ext cx="42947" cy="42947"/>
                <a:chOff x="5413158" y="2705643"/>
                <a:chExt cx="42947" cy="42947"/>
              </a:xfrm>
            </p:grpSpPr>
            <p:sp>
              <p:nvSpPr>
                <p:cNvPr id="566" name="Freihandform: Form 565">
                  <a:extLst>
                    <a:ext uri="{FF2B5EF4-FFF2-40B4-BE49-F238E27FC236}">
                      <a16:creationId xmlns:a16="http://schemas.microsoft.com/office/drawing/2014/main" id="{469C1198-CCE9-1693-5A5D-4DA8AABD5012}"/>
                    </a:ext>
                  </a:extLst>
                </p:cNvPr>
                <p:cNvSpPr/>
                <p:nvPr/>
              </p:nvSpPr>
              <p:spPr>
                <a:xfrm>
                  <a:off x="5434631" y="2705643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7" name="Freihandform: Form 566">
                  <a:extLst>
                    <a:ext uri="{FF2B5EF4-FFF2-40B4-BE49-F238E27FC236}">
                      <a16:creationId xmlns:a16="http://schemas.microsoft.com/office/drawing/2014/main" id="{980DCCDF-27E8-56E0-022E-B182094DADC6}"/>
                    </a:ext>
                  </a:extLst>
                </p:cNvPr>
                <p:cNvSpPr/>
                <p:nvPr/>
              </p:nvSpPr>
              <p:spPr>
                <a:xfrm>
                  <a:off x="5413158" y="2727117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68" name="Grafik 17">
                <a:extLst>
                  <a:ext uri="{FF2B5EF4-FFF2-40B4-BE49-F238E27FC236}">
                    <a16:creationId xmlns:a16="http://schemas.microsoft.com/office/drawing/2014/main" id="{94711323-B287-C5B5-3DD2-9180BB502364}"/>
                  </a:ext>
                </a:extLst>
              </p:cNvPr>
              <p:cNvGrpSpPr/>
              <p:nvPr/>
            </p:nvGrpSpPr>
            <p:grpSpPr>
              <a:xfrm>
                <a:off x="5405326" y="2677096"/>
                <a:ext cx="42947" cy="42947"/>
                <a:chOff x="5405326" y="2677096"/>
                <a:chExt cx="42947" cy="42947"/>
              </a:xfrm>
            </p:grpSpPr>
            <p:sp>
              <p:nvSpPr>
                <p:cNvPr id="569" name="Freihandform: Form 568">
                  <a:extLst>
                    <a:ext uri="{FF2B5EF4-FFF2-40B4-BE49-F238E27FC236}">
                      <a16:creationId xmlns:a16="http://schemas.microsoft.com/office/drawing/2014/main" id="{4E5EBE59-F3BB-A6CD-739D-DBDC12A5EA26}"/>
                    </a:ext>
                  </a:extLst>
                </p:cNvPr>
                <p:cNvSpPr/>
                <p:nvPr/>
              </p:nvSpPr>
              <p:spPr>
                <a:xfrm>
                  <a:off x="5426800" y="2677096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70" name="Freihandform: Form 569">
                  <a:extLst>
                    <a:ext uri="{FF2B5EF4-FFF2-40B4-BE49-F238E27FC236}">
                      <a16:creationId xmlns:a16="http://schemas.microsoft.com/office/drawing/2014/main" id="{366D9B8A-41F1-A5B8-265E-250A2018404C}"/>
                    </a:ext>
                  </a:extLst>
                </p:cNvPr>
                <p:cNvSpPr/>
                <p:nvPr/>
              </p:nvSpPr>
              <p:spPr>
                <a:xfrm>
                  <a:off x="5405326" y="2698569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71" name="Grafik 17">
                <a:extLst>
                  <a:ext uri="{FF2B5EF4-FFF2-40B4-BE49-F238E27FC236}">
                    <a16:creationId xmlns:a16="http://schemas.microsoft.com/office/drawing/2014/main" id="{407EBCD5-6E39-A2CB-E200-B0968EE7B872}"/>
                  </a:ext>
                </a:extLst>
              </p:cNvPr>
              <p:cNvGrpSpPr/>
              <p:nvPr/>
            </p:nvGrpSpPr>
            <p:grpSpPr>
              <a:xfrm>
                <a:off x="5401410" y="2651075"/>
                <a:ext cx="42947" cy="42947"/>
                <a:chOff x="5401410" y="2651075"/>
                <a:chExt cx="42947" cy="42947"/>
              </a:xfrm>
            </p:grpSpPr>
            <p:sp>
              <p:nvSpPr>
                <p:cNvPr id="572" name="Freihandform: Form 571">
                  <a:extLst>
                    <a:ext uri="{FF2B5EF4-FFF2-40B4-BE49-F238E27FC236}">
                      <a16:creationId xmlns:a16="http://schemas.microsoft.com/office/drawing/2014/main" id="{E89DACBB-8950-7EBF-1011-E575395F1B73}"/>
                    </a:ext>
                  </a:extLst>
                </p:cNvPr>
                <p:cNvSpPr/>
                <p:nvPr/>
              </p:nvSpPr>
              <p:spPr>
                <a:xfrm>
                  <a:off x="5422884" y="2651075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73" name="Freihandform: Form 572">
                  <a:extLst>
                    <a:ext uri="{FF2B5EF4-FFF2-40B4-BE49-F238E27FC236}">
                      <a16:creationId xmlns:a16="http://schemas.microsoft.com/office/drawing/2014/main" id="{058FB843-88CD-747B-1CC5-2D022CC8DD0F}"/>
                    </a:ext>
                  </a:extLst>
                </p:cNvPr>
                <p:cNvSpPr/>
                <p:nvPr/>
              </p:nvSpPr>
              <p:spPr>
                <a:xfrm>
                  <a:off x="5401410" y="2672548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74" name="Grafik 17">
                <a:extLst>
                  <a:ext uri="{FF2B5EF4-FFF2-40B4-BE49-F238E27FC236}">
                    <a16:creationId xmlns:a16="http://schemas.microsoft.com/office/drawing/2014/main" id="{129B723E-C3B0-F93D-3A99-51CA9CE6B685}"/>
                  </a:ext>
                </a:extLst>
              </p:cNvPr>
              <p:cNvGrpSpPr/>
              <p:nvPr/>
            </p:nvGrpSpPr>
            <p:grpSpPr>
              <a:xfrm>
                <a:off x="5383221" y="2529811"/>
                <a:ext cx="42947" cy="42947"/>
                <a:chOff x="5383221" y="2529811"/>
                <a:chExt cx="42947" cy="42947"/>
              </a:xfrm>
            </p:grpSpPr>
            <p:sp>
              <p:nvSpPr>
                <p:cNvPr id="575" name="Freihandform: Form 574">
                  <a:extLst>
                    <a:ext uri="{FF2B5EF4-FFF2-40B4-BE49-F238E27FC236}">
                      <a16:creationId xmlns:a16="http://schemas.microsoft.com/office/drawing/2014/main" id="{B63307B3-1026-E678-78C3-5768402672FA}"/>
                    </a:ext>
                  </a:extLst>
                </p:cNvPr>
                <p:cNvSpPr/>
                <p:nvPr/>
              </p:nvSpPr>
              <p:spPr>
                <a:xfrm>
                  <a:off x="5404695" y="2529811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76" name="Freihandform: Form 575">
                  <a:extLst>
                    <a:ext uri="{FF2B5EF4-FFF2-40B4-BE49-F238E27FC236}">
                      <a16:creationId xmlns:a16="http://schemas.microsoft.com/office/drawing/2014/main" id="{F8594E13-88B4-0A84-F41F-2B04CCD51498}"/>
                    </a:ext>
                  </a:extLst>
                </p:cNvPr>
                <p:cNvSpPr/>
                <p:nvPr/>
              </p:nvSpPr>
              <p:spPr>
                <a:xfrm>
                  <a:off x="5383221" y="2551285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77" name="Grafik 17">
                <a:extLst>
                  <a:ext uri="{FF2B5EF4-FFF2-40B4-BE49-F238E27FC236}">
                    <a16:creationId xmlns:a16="http://schemas.microsoft.com/office/drawing/2014/main" id="{5994D498-C706-8AAD-ED2C-875BE385B4A3}"/>
                  </a:ext>
                </a:extLst>
              </p:cNvPr>
              <p:cNvGrpSpPr/>
              <p:nvPr/>
            </p:nvGrpSpPr>
            <p:grpSpPr>
              <a:xfrm>
                <a:off x="5360610" y="2398190"/>
                <a:ext cx="42947" cy="42947"/>
                <a:chOff x="5360610" y="2398190"/>
                <a:chExt cx="42947" cy="42947"/>
              </a:xfrm>
            </p:grpSpPr>
            <p:sp>
              <p:nvSpPr>
                <p:cNvPr id="578" name="Freihandform: Form 577">
                  <a:extLst>
                    <a:ext uri="{FF2B5EF4-FFF2-40B4-BE49-F238E27FC236}">
                      <a16:creationId xmlns:a16="http://schemas.microsoft.com/office/drawing/2014/main" id="{540F94F9-3A66-25E7-80E7-3D27E4B842E2}"/>
                    </a:ext>
                  </a:extLst>
                </p:cNvPr>
                <p:cNvSpPr/>
                <p:nvPr/>
              </p:nvSpPr>
              <p:spPr>
                <a:xfrm>
                  <a:off x="5382084" y="2398190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79" name="Freihandform: Form 578">
                  <a:extLst>
                    <a:ext uri="{FF2B5EF4-FFF2-40B4-BE49-F238E27FC236}">
                      <a16:creationId xmlns:a16="http://schemas.microsoft.com/office/drawing/2014/main" id="{9B31C251-FAF5-15C3-A60C-87CD591C0880}"/>
                    </a:ext>
                  </a:extLst>
                </p:cNvPr>
                <p:cNvSpPr/>
                <p:nvPr/>
              </p:nvSpPr>
              <p:spPr>
                <a:xfrm>
                  <a:off x="5360610" y="2419664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80" name="Grafik 17">
                <a:extLst>
                  <a:ext uri="{FF2B5EF4-FFF2-40B4-BE49-F238E27FC236}">
                    <a16:creationId xmlns:a16="http://schemas.microsoft.com/office/drawing/2014/main" id="{B60BD9DE-0F46-C9EA-152B-F81B72A579EF}"/>
                  </a:ext>
                </a:extLst>
              </p:cNvPr>
              <p:cNvGrpSpPr/>
              <p:nvPr/>
            </p:nvGrpSpPr>
            <p:grpSpPr>
              <a:xfrm>
                <a:off x="5358084" y="2383411"/>
                <a:ext cx="43073" cy="42947"/>
                <a:chOff x="5358084" y="2383411"/>
                <a:chExt cx="43073" cy="42947"/>
              </a:xfrm>
            </p:grpSpPr>
            <p:sp>
              <p:nvSpPr>
                <p:cNvPr id="581" name="Freihandform: Form 580">
                  <a:extLst>
                    <a:ext uri="{FF2B5EF4-FFF2-40B4-BE49-F238E27FC236}">
                      <a16:creationId xmlns:a16="http://schemas.microsoft.com/office/drawing/2014/main" id="{FC67D21E-9C63-EC43-30AE-F36DAAB35310}"/>
                    </a:ext>
                  </a:extLst>
                </p:cNvPr>
                <p:cNvSpPr/>
                <p:nvPr/>
              </p:nvSpPr>
              <p:spPr>
                <a:xfrm>
                  <a:off x="5379558" y="2383411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2" name="Freihandform: Form 581">
                  <a:extLst>
                    <a:ext uri="{FF2B5EF4-FFF2-40B4-BE49-F238E27FC236}">
                      <a16:creationId xmlns:a16="http://schemas.microsoft.com/office/drawing/2014/main" id="{DFB86716-CCD9-9CC5-6C95-DFB8A7DF05A5}"/>
                    </a:ext>
                  </a:extLst>
                </p:cNvPr>
                <p:cNvSpPr/>
                <p:nvPr/>
              </p:nvSpPr>
              <p:spPr>
                <a:xfrm>
                  <a:off x="5358084" y="2404885"/>
                  <a:ext cx="43073" cy="12631"/>
                </a:xfrm>
                <a:custGeom>
                  <a:avLst/>
                  <a:gdLst>
                    <a:gd name="connsiteX0" fmla="*/ 43074 w 43073"/>
                    <a:gd name="connsiteY0" fmla="*/ 0 h 12631"/>
                    <a:gd name="connsiteX1" fmla="*/ 0 w 43073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073" h="12631">
                      <a:moveTo>
                        <a:pt x="43074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83" name="Grafik 17">
                <a:extLst>
                  <a:ext uri="{FF2B5EF4-FFF2-40B4-BE49-F238E27FC236}">
                    <a16:creationId xmlns:a16="http://schemas.microsoft.com/office/drawing/2014/main" id="{E4774682-F9E4-CA47-7297-59886E693CB5}"/>
                  </a:ext>
                </a:extLst>
              </p:cNvPr>
              <p:cNvGrpSpPr/>
              <p:nvPr/>
            </p:nvGrpSpPr>
            <p:grpSpPr>
              <a:xfrm>
                <a:off x="5355684" y="2368632"/>
                <a:ext cx="42947" cy="42947"/>
                <a:chOff x="5355684" y="2368632"/>
                <a:chExt cx="42947" cy="42947"/>
              </a:xfrm>
            </p:grpSpPr>
            <p:sp>
              <p:nvSpPr>
                <p:cNvPr id="584" name="Freihandform: Form 583">
                  <a:extLst>
                    <a:ext uri="{FF2B5EF4-FFF2-40B4-BE49-F238E27FC236}">
                      <a16:creationId xmlns:a16="http://schemas.microsoft.com/office/drawing/2014/main" id="{C0969C91-A2A8-E9FE-3638-93B5EC144567}"/>
                    </a:ext>
                  </a:extLst>
                </p:cNvPr>
                <p:cNvSpPr/>
                <p:nvPr/>
              </p:nvSpPr>
              <p:spPr>
                <a:xfrm>
                  <a:off x="5377158" y="2368632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5" name="Freihandform: Form 584">
                  <a:extLst>
                    <a:ext uri="{FF2B5EF4-FFF2-40B4-BE49-F238E27FC236}">
                      <a16:creationId xmlns:a16="http://schemas.microsoft.com/office/drawing/2014/main" id="{6EED0E2D-B4BF-4B22-856A-CA7E42357074}"/>
                    </a:ext>
                  </a:extLst>
                </p:cNvPr>
                <p:cNvSpPr/>
                <p:nvPr/>
              </p:nvSpPr>
              <p:spPr>
                <a:xfrm>
                  <a:off x="5355684" y="2390106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86" name="Grafik 17">
                <a:extLst>
                  <a:ext uri="{FF2B5EF4-FFF2-40B4-BE49-F238E27FC236}">
                    <a16:creationId xmlns:a16="http://schemas.microsoft.com/office/drawing/2014/main" id="{4F3A16D7-C2B4-62A4-6ED6-E09436E66A9D}"/>
                  </a:ext>
                </a:extLst>
              </p:cNvPr>
              <p:cNvGrpSpPr/>
              <p:nvPr/>
            </p:nvGrpSpPr>
            <p:grpSpPr>
              <a:xfrm>
                <a:off x="5354168" y="2297896"/>
                <a:ext cx="42947" cy="42947"/>
                <a:chOff x="5354168" y="2297896"/>
                <a:chExt cx="42947" cy="42947"/>
              </a:xfrm>
            </p:grpSpPr>
            <p:sp>
              <p:nvSpPr>
                <p:cNvPr id="587" name="Freihandform: Form 586">
                  <a:extLst>
                    <a:ext uri="{FF2B5EF4-FFF2-40B4-BE49-F238E27FC236}">
                      <a16:creationId xmlns:a16="http://schemas.microsoft.com/office/drawing/2014/main" id="{934C353F-A7B4-2EE5-788F-186F80E79E12}"/>
                    </a:ext>
                  </a:extLst>
                </p:cNvPr>
                <p:cNvSpPr/>
                <p:nvPr/>
              </p:nvSpPr>
              <p:spPr>
                <a:xfrm>
                  <a:off x="5375642" y="2297896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8" name="Freihandform: Form 587">
                  <a:extLst>
                    <a:ext uri="{FF2B5EF4-FFF2-40B4-BE49-F238E27FC236}">
                      <a16:creationId xmlns:a16="http://schemas.microsoft.com/office/drawing/2014/main" id="{2CC331FD-F0AC-474F-20A9-2D7DEFC9A685}"/>
                    </a:ext>
                  </a:extLst>
                </p:cNvPr>
                <p:cNvSpPr/>
                <p:nvPr/>
              </p:nvSpPr>
              <p:spPr>
                <a:xfrm>
                  <a:off x="5354168" y="2319369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89" name="Grafik 17">
                <a:extLst>
                  <a:ext uri="{FF2B5EF4-FFF2-40B4-BE49-F238E27FC236}">
                    <a16:creationId xmlns:a16="http://schemas.microsoft.com/office/drawing/2014/main" id="{999DCB68-93B8-4933-7DBA-81F09F52F26A}"/>
                  </a:ext>
                </a:extLst>
              </p:cNvPr>
              <p:cNvGrpSpPr/>
              <p:nvPr/>
            </p:nvGrpSpPr>
            <p:grpSpPr>
              <a:xfrm>
                <a:off x="5349747" y="2272885"/>
                <a:ext cx="42947" cy="42947"/>
                <a:chOff x="5349747" y="2272885"/>
                <a:chExt cx="42947" cy="42947"/>
              </a:xfrm>
            </p:grpSpPr>
            <p:sp>
              <p:nvSpPr>
                <p:cNvPr id="590" name="Freihandform: Form 589">
                  <a:extLst>
                    <a:ext uri="{FF2B5EF4-FFF2-40B4-BE49-F238E27FC236}">
                      <a16:creationId xmlns:a16="http://schemas.microsoft.com/office/drawing/2014/main" id="{32FADFBE-9654-9B40-3BDC-287F9D07AF9E}"/>
                    </a:ext>
                  </a:extLst>
                </p:cNvPr>
                <p:cNvSpPr/>
                <p:nvPr/>
              </p:nvSpPr>
              <p:spPr>
                <a:xfrm>
                  <a:off x="5371221" y="2272885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91" name="Freihandform: Form 590">
                  <a:extLst>
                    <a:ext uri="{FF2B5EF4-FFF2-40B4-BE49-F238E27FC236}">
                      <a16:creationId xmlns:a16="http://schemas.microsoft.com/office/drawing/2014/main" id="{EBA2C2A9-DB1F-00BE-D62A-D075194BB22B}"/>
                    </a:ext>
                  </a:extLst>
                </p:cNvPr>
                <p:cNvSpPr/>
                <p:nvPr/>
              </p:nvSpPr>
              <p:spPr>
                <a:xfrm>
                  <a:off x="5349747" y="2294359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92" name="Grafik 17">
                <a:extLst>
                  <a:ext uri="{FF2B5EF4-FFF2-40B4-BE49-F238E27FC236}">
                    <a16:creationId xmlns:a16="http://schemas.microsoft.com/office/drawing/2014/main" id="{EA9FFB59-5C65-0334-05FD-C2D026AA0655}"/>
                  </a:ext>
                </a:extLst>
              </p:cNvPr>
              <p:cNvGrpSpPr/>
              <p:nvPr/>
            </p:nvGrpSpPr>
            <p:grpSpPr>
              <a:xfrm>
                <a:off x="5340021" y="2231075"/>
                <a:ext cx="42947" cy="43073"/>
                <a:chOff x="5340021" y="2231075"/>
                <a:chExt cx="42947" cy="43073"/>
              </a:xfrm>
            </p:grpSpPr>
            <p:sp>
              <p:nvSpPr>
                <p:cNvPr id="593" name="Freihandform: Form 592">
                  <a:extLst>
                    <a:ext uri="{FF2B5EF4-FFF2-40B4-BE49-F238E27FC236}">
                      <a16:creationId xmlns:a16="http://schemas.microsoft.com/office/drawing/2014/main" id="{0D347D39-12C1-937A-2157-623D82CEC375}"/>
                    </a:ext>
                  </a:extLst>
                </p:cNvPr>
                <p:cNvSpPr/>
                <p:nvPr/>
              </p:nvSpPr>
              <p:spPr>
                <a:xfrm>
                  <a:off x="5361495" y="2231075"/>
                  <a:ext cx="12631" cy="43073"/>
                </a:xfrm>
                <a:custGeom>
                  <a:avLst/>
                  <a:gdLst>
                    <a:gd name="connsiteX0" fmla="*/ 0 w 12631"/>
                    <a:gd name="connsiteY0" fmla="*/ 0 h 43073"/>
                    <a:gd name="connsiteX1" fmla="*/ 0 w 12631"/>
                    <a:gd name="connsiteY1" fmla="*/ 43074 h 430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3073">
                      <a:moveTo>
                        <a:pt x="0" y="0"/>
                      </a:moveTo>
                      <a:lnTo>
                        <a:pt x="0" y="43074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94" name="Freihandform: Form 593">
                  <a:extLst>
                    <a:ext uri="{FF2B5EF4-FFF2-40B4-BE49-F238E27FC236}">
                      <a16:creationId xmlns:a16="http://schemas.microsoft.com/office/drawing/2014/main" id="{BF75CD5D-BE1F-803A-A77C-AB69E8A6BCAC}"/>
                    </a:ext>
                  </a:extLst>
                </p:cNvPr>
                <p:cNvSpPr/>
                <p:nvPr/>
              </p:nvSpPr>
              <p:spPr>
                <a:xfrm>
                  <a:off x="5340021" y="2252675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95" name="Grafik 17">
                <a:extLst>
                  <a:ext uri="{FF2B5EF4-FFF2-40B4-BE49-F238E27FC236}">
                    <a16:creationId xmlns:a16="http://schemas.microsoft.com/office/drawing/2014/main" id="{4B3D7210-0370-9BB7-076B-C5D54748BE67}"/>
                  </a:ext>
                </a:extLst>
              </p:cNvPr>
              <p:cNvGrpSpPr/>
              <p:nvPr/>
            </p:nvGrpSpPr>
            <p:grpSpPr>
              <a:xfrm>
                <a:off x="5340021" y="2208969"/>
                <a:ext cx="42947" cy="43073"/>
                <a:chOff x="5340021" y="2208969"/>
                <a:chExt cx="42947" cy="43073"/>
              </a:xfrm>
            </p:grpSpPr>
            <p:sp>
              <p:nvSpPr>
                <p:cNvPr id="596" name="Freihandform: Form 595">
                  <a:extLst>
                    <a:ext uri="{FF2B5EF4-FFF2-40B4-BE49-F238E27FC236}">
                      <a16:creationId xmlns:a16="http://schemas.microsoft.com/office/drawing/2014/main" id="{BA9B55F1-CB38-5629-D6F4-5B6889227FB4}"/>
                    </a:ext>
                  </a:extLst>
                </p:cNvPr>
                <p:cNvSpPr/>
                <p:nvPr/>
              </p:nvSpPr>
              <p:spPr>
                <a:xfrm>
                  <a:off x="5361495" y="2208969"/>
                  <a:ext cx="12631" cy="43073"/>
                </a:xfrm>
                <a:custGeom>
                  <a:avLst/>
                  <a:gdLst>
                    <a:gd name="connsiteX0" fmla="*/ 0 w 12631"/>
                    <a:gd name="connsiteY0" fmla="*/ 0 h 43073"/>
                    <a:gd name="connsiteX1" fmla="*/ 0 w 12631"/>
                    <a:gd name="connsiteY1" fmla="*/ 43074 h 430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3073">
                      <a:moveTo>
                        <a:pt x="0" y="0"/>
                      </a:moveTo>
                      <a:lnTo>
                        <a:pt x="0" y="43074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97" name="Freihandform: Form 596">
                  <a:extLst>
                    <a:ext uri="{FF2B5EF4-FFF2-40B4-BE49-F238E27FC236}">
                      <a16:creationId xmlns:a16="http://schemas.microsoft.com/office/drawing/2014/main" id="{686899C9-398F-C47C-0D86-23C175B52171}"/>
                    </a:ext>
                  </a:extLst>
                </p:cNvPr>
                <p:cNvSpPr/>
                <p:nvPr/>
              </p:nvSpPr>
              <p:spPr>
                <a:xfrm>
                  <a:off x="5340021" y="2230569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98" name="Grafik 17">
                <a:extLst>
                  <a:ext uri="{FF2B5EF4-FFF2-40B4-BE49-F238E27FC236}">
                    <a16:creationId xmlns:a16="http://schemas.microsoft.com/office/drawing/2014/main" id="{2A6B835F-F7E9-1A2A-3A9E-BA49B4D01496}"/>
                  </a:ext>
                </a:extLst>
              </p:cNvPr>
              <p:cNvGrpSpPr/>
              <p:nvPr/>
            </p:nvGrpSpPr>
            <p:grpSpPr>
              <a:xfrm>
                <a:off x="5338000" y="2188885"/>
                <a:ext cx="42947" cy="42947"/>
                <a:chOff x="5338000" y="2188885"/>
                <a:chExt cx="42947" cy="42947"/>
              </a:xfrm>
            </p:grpSpPr>
            <p:sp>
              <p:nvSpPr>
                <p:cNvPr id="599" name="Freihandform: Form 598">
                  <a:extLst>
                    <a:ext uri="{FF2B5EF4-FFF2-40B4-BE49-F238E27FC236}">
                      <a16:creationId xmlns:a16="http://schemas.microsoft.com/office/drawing/2014/main" id="{244F1960-96C2-C7E7-A2D3-C5370A20A83B}"/>
                    </a:ext>
                  </a:extLst>
                </p:cNvPr>
                <p:cNvSpPr/>
                <p:nvPr/>
              </p:nvSpPr>
              <p:spPr>
                <a:xfrm>
                  <a:off x="5359474" y="2188885"/>
                  <a:ext cx="12631" cy="42947"/>
                </a:xfrm>
                <a:custGeom>
                  <a:avLst/>
                  <a:gdLst>
                    <a:gd name="connsiteX0" fmla="*/ 0 w 12631"/>
                    <a:gd name="connsiteY0" fmla="*/ 0 h 42947"/>
                    <a:gd name="connsiteX1" fmla="*/ 0 w 12631"/>
                    <a:gd name="connsiteY1" fmla="*/ 42947 h 42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31" h="42947">
                      <a:moveTo>
                        <a:pt x="0" y="0"/>
                      </a:moveTo>
                      <a:lnTo>
                        <a:pt x="0" y="42947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00" name="Freihandform: Form 599">
                  <a:extLst>
                    <a:ext uri="{FF2B5EF4-FFF2-40B4-BE49-F238E27FC236}">
                      <a16:creationId xmlns:a16="http://schemas.microsoft.com/office/drawing/2014/main" id="{CF6757EB-FAFF-440B-0BDA-1042AF991974}"/>
                    </a:ext>
                  </a:extLst>
                </p:cNvPr>
                <p:cNvSpPr/>
                <p:nvPr/>
              </p:nvSpPr>
              <p:spPr>
                <a:xfrm>
                  <a:off x="5338000" y="2210359"/>
                  <a:ext cx="42947" cy="12631"/>
                </a:xfrm>
                <a:custGeom>
                  <a:avLst/>
                  <a:gdLst>
                    <a:gd name="connsiteX0" fmla="*/ 42947 w 42947"/>
                    <a:gd name="connsiteY0" fmla="*/ 0 h 12631"/>
                    <a:gd name="connsiteX1" fmla="*/ 0 w 42947"/>
                    <a:gd name="connsiteY1" fmla="*/ 0 h 1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47" h="12631">
                      <a:moveTo>
                        <a:pt x="42947" y="0"/>
                      </a:moveTo>
                      <a:lnTo>
                        <a:pt x="0" y="0"/>
                      </a:lnTo>
                    </a:path>
                  </a:pathLst>
                </a:custGeom>
                <a:ln w="12622" cap="flat">
                  <a:solidFill>
                    <a:srgbClr val="FF585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601" name="Freihandform: Form 600">
              <a:extLst>
                <a:ext uri="{FF2B5EF4-FFF2-40B4-BE49-F238E27FC236}">
                  <a16:creationId xmlns:a16="http://schemas.microsoft.com/office/drawing/2014/main" id="{D4083895-E63A-3E1B-9BA9-16ED4ED3C1B8}"/>
                </a:ext>
              </a:extLst>
            </p:cNvPr>
            <p:cNvSpPr/>
            <p:nvPr/>
          </p:nvSpPr>
          <p:spPr>
            <a:xfrm>
              <a:off x="5489452" y="3031917"/>
              <a:ext cx="2856505" cy="952673"/>
            </a:xfrm>
            <a:custGeom>
              <a:avLst/>
              <a:gdLst>
                <a:gd name="connsiteX0" fmla="*/ 2856253 w 2856505"/>
                <a:gd name="connsiteY0" fmla="*/ 952295 h 952673"/>
                <a:gd name="connsiteX1" fmla="*/ 2856253 w 2856505"/>
                <a:gd name="connsiteY1" fmla="*/ 827116 h 952673"/>
                <a:gd name="connsiteX2" fmla="*/ 2572800 w 2856505"/>
                <a:gd name="connsiteY2" fmla="*/ 827116 h 952673"/>
                <a:gd name="connsiteX3" fmla="*/ 2572800 w 2856505"/>
                <a:gd name="connsiteY3" fmla="*/ 818021 h 952673"/>
                <a:gd name="connsiteX4" fmla="*/ 2048969 w 2856505"/>
                <a:gd name="connsiteY4" fmla="*/ 818021 h 952673"/>
                <a:gd name="connsiteX5" fmla="*/ 2048969 w 2856505"/>
                <a:gd name="connsiteY5" fmla="*/ 812211 h 952673"/>
                <a:gd name="connsiteX6" fmla="*/ 1925432 w 2856505"/>
                <a:gd name="connsiteY6" fmla="*/ 812211 h 952673"/>
                <a:gd name="connsiteX7" fmla="*/ 1925432 w 2856505"/>
                <a:gd name="connsiteY7" fmla="*/ 803874 h 952673"/>
                <a:gd name="connsiteX8" fmla="*/ 1599663 w 2856505"/>
                <a:gd name="connsiteY8" fmla="*/ 803874 h 952673"/>
                <a:gd name="connsiteX9" fmla="*/ 1599663 w 2856505"/>
                <a:gd name="connsiteY9" fmla="*/ 793137 h 952673"/>
                <a:gd name="connsiteX10" fmla="*/ 1568969 w 2856505"/>
                <a:gd name="connsiteY10" fmla="*/ 793137 h 952673"/>
                <a:gd name="connsiteX11" fmla="*/ 1568969 w 2856505"/>
                <a:gd name="connsiteY11" fmla="*/ 776589 h 952673"/>
                <a:gd name="connsiteX12" fmla="*/ 1548253 w 2856505"/>
                <a:gd name="connsiteY12" fmla="*/ 776589 h 952673"/>
                <a:gd name="connsiteX13" fmla="*/ 1548253 w 2856505"/>
                <a:gd name="connsiteY13" fmla="*/ 758400 h 952673"/>
                <a:gd name="connsiteX14" fmla="*/ 1445432 w 2856505"/>
                <a:gd name="connsiteY14" fmla="*/ 758400 h 952673"/>
                <a:gd name="connsiteX15" fmla="*/ 1445432 w 2856505"/>
                <a:gd name="connsiteY15" fmla="*/ 741853 h 952673"/>
                <a:gd name="connsiteX16" fmla="*/ 1412337 w 2856505"/>
                <a:gd name="connsiteY16" fmla="*/ 741853 h 952673"/>
                <a:gd name="connsiteX17" fmla="*/ 1412337 w 2856505"/>
                <a:gd name="connsiteY17" fmla="*/ 732758 h 952673"/>
                <a:gd name="connsiteX18" fmla="*/ 1340211 w 2856505"/>
                <a:gd name="connsiteY18" fmla="*/ 732758 h 952673"/>
                <a:gd name="connsiteX19" fmla="*/ 1340211 w 2856505"/>
                <a:gd name="connsiteY19" fmla="*/ 724421 h 952673"/>
                <a:gd name="connsiteX20" fmla="*/ 1244842 w 2856505"/>
                <a:gd name="connsiteY20" fmla="*/ 724421 h 952673"/>
                <a:gd name="connsiteX21" fmla="*/ 1244842 w 2856505"/>
                <a:gd name="connsiteY21" fmla="*/ 714442 h 952673"/>
                <a:gd name="connsiteX22" fmla="*/ 1119663 w 2856505"/>
                <a:gd name="connsiteY22" fmla="*/ 714442 h 952673"/>
                <a:gd name="connsiteX23" fmla="*/ 1119663 w 2856505"/>
                <a:gd name="connsiteY23" fmla="*/ 706990 h 952673"/>
                <a:gd name="connsiteX24" fmla="*/ 1074063 w 2856505"/>
                <a:gd name="connsiteY24" fmla="*/ 706990 h 952673"/>
                <a:gd name="connsiteX25" fmla="*/ 1074063 w 2856505"/>
                <a:gd name="connsiteY25" fmla="*/ 695368 h 952673"/>
                <a:gd name="connsiteX26" fmla="*/ 1038442 w 2856505"/>
                <a:gd name="connsiteY26" fmla="*/ 695368 h 952673"/>
                <a:gd name="connsiteX27" fmla="*/ 1038442 w 2856505"/>
                <a:gd name="connsiteY27" fmla="*/ 682105 h 952673"/>
                <a:gd name="connsiteX28" fmla="*/ 994484 w 2856505"/>
                <a:gd name="connsiteY28" fmla="*/ 682105 h 952673"/>
                <a:gd name="connsiteX29" fmla="*/ 994484 w 2856505"/>
                <a:gd name="connsiteY29" fmla="*/ 666316 h 952673"/>
                <a:gd name="connsiteX30" fmla="*/ 942316 w 2856505"/>
                <a:gd name="connsiteY30" fmla="*/ 666316 h 952673"/>
                <a:gd name="connsiteX31" fmla="*/ 942316 w 2856505"/>
                <a:gd name="connsiteY31" fmla="*/ 653937 h 952673"/>
                <a:gd name="connsiteX32" fmla="*/ 883453 w 2856505"/>
                <a:gd name="connsiteY32" fmla="*/ 653937 h 952673"/>
                <a:gd name="connsiteX33" fmla="*/ 883453 w 2856505"/>
                <a:gd name="connsiteY33" fmla="*/ 636505 h 952673"/>
                <a:gd name="connsiteX34" fmla="*/ 833684 w 2856505"/>
                <a:gd name="connsiteY34" fmla="*/ 636505 h 952673"/>
                <a:gd name="connsiteX35" fmla="*/ 833684 w 2856505"/>
                <a:gd name="connsiteY35" fmla="*/ 627411 h 952673"/>
                <a:gd name="connsiteX36" fmla="*/ 774063 w 2856505"/>
                <a:gd name="connsiteY36" fmla="*/ 627411 h 952673"/>
                <a:gd name="connsiteX37" fmla="*/ 774063 w 2856505"/>
                <a:gd name="connsiteY37" fmla="*/ 612505 h 952673"/>
                <a:gd name="connsiteX38" fmla="*/ 698653 w 2856505"/>
                <a:gd name="connsiteY38" fmla="*/ 612505 h 952673"/>
                <a:gd name="connsiteX39" fmla="*/ 698653 w 2856505"/>
                <a:gd name="connsiteY39" fmla="*/ 602526 h 952673"/>
                <a:gd name="connsiteX40" fmla="*/ 675411 w 2856505"/>
                <a:gd name="connsiteY40" fmla="*/ 602526 h 952673"/>
                <a:gd name="connsiteX41" fmla="*/ 675411 w 2856505"/>
                <a:gd name="connsiteY41" fmla="*/ 582695 h 952673"/>
                <a:gd name="connsiteX42" fmla="*/ 618190 w 2856505"/>
                <a:gd name="connsiteY42" fmla="*/ 582695 h 952673"/>
                <a:gd name="connsiteX43" fmla="*/ 618190 w 2856505"/>
                <a:gd name="connsiteY43" fmla="*/ 561979 h 952673"/>
                <a:gd name="connsiteX44" fmla="*/ 565137 w 2856505"/>
                <a:gd name="connsiteY44" fmla="*/ 561979 h 952673"/>
                <a:gd name="connsiteX45" fmla="*/ 565137 w 2856505"/>
                <a:gd name="connsiteY45" fmla="*/ 550358 h 952673"/>
                <a:gd name="connsiteX46" fmla="*/ 517895 w 2856505"/>
                <a:gd name="connsiteY46" fmla="*/ 550358 h 952673"/>
                <a:gd name="connsiteX47" fmla="*/ 517895 w 2856505"/>
                <a:gd name="connsiteY47" fmla="*/ 528758 h 952673"/>
                <a:gd name="connsiteX48" fmla="*/ 456505 w 2856505"/>
                <a:gd name="connsiteY48" fmla="*/ 528758 h 952673"/>
                <a:gd name="connsiteX49" fmla="*/ 456505 w 2856505"/>
                <a:gd name="connsiteY49" fmla="*/ 517137 h 952673"/>
                <a:gd name="connsiteX50" fmla="*/ 406737 w 2856505"/>
                <a:gd name="connsiteY50" fmla="*/ 517137 h 952673"/>
                <a:gd name="connsiteX51" fmla="*/ 406737 w 2856505"/>
                <a:gd name="connsiteY51" fmla="*/ 502232 h 952673"/>
                <a:gd name="connsiteX52" fmla="*/ 393474 w 2856505"/>
                <a:gd name="connsiteY52" fmla="*/ 502232 h 952673"/>
                <a:gd name="connsiteX53" fmla="*/ 393474 w 2856505"/>
                <a:gd name="connsiteY53" fmla="*/ 493895 h 952673"/>
                <a:gd name="connsiteX54" fmla="*/ 369474 w 2856505"/>
                <a:gd name="connsiteY54" fmla="*/ 493895 h 952673"/>
                <a:gd name="connsiteX55" fmla="*/ 369474 w 2856505"/>
                <a:gd name="connsiteY55" fmla="*/ 474821 h 952673"/>
                <a:gd name="connsiteX56" fmla="*/ 345474 w 2856505"/>
                <a:gd name="connsiteY56" fmla="*/ 474821 h 952673"/>
                <a:gd name="connsiteX57" fmla="*/ 345474 w 2856505"/>
                <a:gd name="connsiteY57" fmla="*/ 459916 h 952673"/>
                <a:gd name="connsiteX58" fmla="*/ 334737 w 2856505"/>
                <a:gd name="connsiteY58" fmla="*/ 459916 h 952673"/>
                <a:gd name="connsiteX59" fmla="*/ 334737 w 2856505"/>
                <a:gd name="connsiteY59" fmla="*/ 442484 h 952673"/>
                <a:gd name="connsiteX60" fmla="*/ 310737 w 2856505"/>
                <a:gd name="connsiteY60" fmla="*/ 442484 h 952673"/>
                <a:gd name="connsiteX61" fmla="*/ 310737 w 2856505"/>
                <a:gd name="connsiteY61" fmla="*/ 431747 h 952673"/>
                <a:gd name="connsiteX62" fmla="*/ 295832 w 2856505"/>
                <a:gd name="connsiteY62" fmla="*/ 431747 h 952673"/>
                <a:gd name="connsiteX63" fmla="*/ 295832 w 2856505"/>
                <a:gd name="connsiteY63" fmla="*/ 415200 h 952673"/>
                <a:gd name="connsiteX64" fmla="*/ 278400 w 2856505"/>
                <a:gd name="connsiteY64" fmla="*/ 415200 h 952673"/>
                <a:gd name="connsiteX65" fmla="*/ 278400 w 2856505"/>
                <a:gd name="connsiteY65" fmla="*/ 399410 h 952673"/>
                <a:gd name="connsiteX66" fmla="*/ 256042 w 2856505"/>
                <a:gd name="connsiteY66" fmla="*/ 399410 h 952673"/>
                <a:gd name="connsiteX67" fmla="*/ 256042 w 2856505"/>
                <a:gd name="connsiteY67" fmla="*/ 387789 h 952673"/>
                <a:gd name="connsiteX68" fmla="*/ 240253 w 2856505"/>
                <a:gd name="connsiteY68" fmla="*/ 387789 h 952673"/>
                <a:gd name="connsiteX69" fmla="*/ 240253 w 2856505"/>
                <a:gd name="connsiteY69" fmla="*/ 367958 h 952673"/>
                <a:gd name="connsiteX70" fmla="*/ 227874 w 2856505"/>
                <a:gd name="connsiteY70" fmla="*/ 367958 h 952673"/>
                <a:gd name="connsiteX71" fmla="*/ 227874 w 2856505"/>
                <a:gd name="connsiteY71" fmla="*/ 352168 h 952673"/>
                <a:gd name="connsiteX72" fmla="*/ 211326 w 2856505"/>
                <a:gd name="connsiteY72" fmla="*/ 352168 h 952673"/>
                <a:gd name="connsiteX73" fmla="*/ 211326 w 2856505"/>
                <a:gd name="connsiteY73" fmla="*/ 333979 h 952673"/>
                <a:gd name="connsiteX74" fmla="*/ 198947 w 2856505"/>
                <a:gd name="connsiteY74" fmla="*/ 333979 h 952673"/>
                <a:gd name="connsiteX75" fmla="*/ 198947 w 2856505"/>
                <a:gd name="connsiteY75" fmla="*/ 315789 h 952673"/>
                <a:gd name="connsiteX76" fmla="*/ 179874 w 2856505"/>
                <a:gd name="connsiteY76" fmla="*/ 315789 h 952673"/>
                <a:gd name="connsiteX77" fmla="*/ 179874 w 2856505"/>
                <a:gd name="connsiteY77" fmla="*/ 287621 h 952673"/>
                <a:gd name="connsiteX78" fmla="*/ 161684 w 2856505"/>
                <a:gd name="connsiteY78" fmla="*/ 287621 h 952673"/>
                <a:gd name="connsiteX79" fmla="*/ 161684 w 2856505"/>
                <a:gd name="connsiteY79" fmla="*/ 271832 h 952673"/>
                <a:gd name="connsiteX80" fmla="*/ 130990 w 2856505"/>
                <a:gd name="connsiteY80" fmla="*/ 271832 h 952673"/>
                <a:gd name="connsiteX81" fmla="*/ 130990 w 2856505"/>
                <a:gd name="connsiteY81" fmla="*/ 252000 h 952673"/>
                <a:gd name="connsiteX82" fmla="*/ 111916 w 2856505"/>
                <a:gd name="connsiteY82" fmla="*/ 252000 h 952673"/>
                <a:gd name="connsiteX83" fmla="*/ 111916 w 2856505"/>
                <a:gd name="connsiteY83" fmla="*/ 229642 h 952673"/>
                <a:gd name="connsiteX84" fmla="*/ 98653 w 2856505"/>
                <a:gd name="connsiteY84" fmla="*/ 229642 h 952673"/>
                <a:gd name="connsiteX85" fmla="*/ 98653 w 2856505"/>
                <a:gd name="connsiteY85" fmla="*/ 204000 h 952673"/>
                <a:gd name="connsiteX86" fmla="*/ 79579 w 2856505"/>
                <a:gd name="connsiteY86" fmla="*/ 204000 h 952673"/>
                <a:gd name="connsiteX87" fmla="*/ 79579 w 2856505"/>
                <a:gd name="connsiteY87" fmla="*/ 161684 h 952673"/>
                <a:gd name="connsiteX88" fmla="*/ 62147 w 2856505"/>
                <a:gd name="connsiteY88" fmla="*/ 161684 h 952673"/>
                <a:gd name="connsiteX89" fmla="*/ 62147 w 2856505"/>
                <a:gd name="connsiteY89" fmla="*/ 128589 h 952673"/>
                <a:gd name="connsiteX90" fmla="*/ 54695 w 2856505"/>
                <a:gd name="connsiteY90" fmla="*/ 128589 h 952673"/>
                <a:gd name="connsiteX91" fmla="*/ 54695 w 2856505"/>
                <a:gd name="connsiteY91" fmla="*/ 97895 h 952673"/>
                <a:gd name="connsiteX92" fmla="*/ 39789 w 2856505"/>
                <a:gd name="connsiteY92" fmla="*/ 97895 h 952673"/>
                <a:gd name="connsiteX93" fmla="*/ 39789 w 2856505"/>
                <a:gd name="connsiteY93" fmla="*/ 48126 h 952673"/>
                <a:gd name="connsiteX94" fmla="*/ 16547 w 2856505"/>
                <a:gd name="connsiteY94" fmla="*/ 48126 h 952673"/>
                <a:gd name="connsiteX95" fmla="*/ 16547 w 2856505"/>
                <a:gd name="connsiteY95" fmla="*/ 0 h 952673"/>
                <a:gd name="connsiteX96" fmla="*/ 0 w 2856505"/>
                <a:gd name="connsiteY96" fmla="*/ 0 h 952673"/>
                <a:gd name="connsiteX97" fmla="*/ 0 w 2856505"/>
                <a:gd name="connsiteY97" fmla="*/ 62147 h 952673"/>
                <a:gd name="connsiteX98" fmla="*/ 11621 w 2856505"/>
                <a:gd name="connsiteY98" fmla="*/ 62147 h 952673"/>
                <a:gd name="connsiteX99" fmla="*/ 11621 w 2856505"/>
                <a:gd name="connsiteY99" fmla="*/ 96126 h 952673"/>
                <a:gd name="connsiteX100" fmla="*/ 21600 w 2856505"/>
                <a:gd name="connsiteY100" fmla="*/ 96126 h 952673"/>
                <a:gd name="connsiteX101" fmla="*/ 21600 w 2856505"/>
                <a:gd name="connsiteY101" fmla="*/ 173179 h 952673"/>
                <a:gd name="connsiteX102" fmla="*/ 31579 w 2856505"/>
                <a:gd name="connsiteY102" fmla="*/ 173179 h 952673"/>
                <a:gd name="connsiteX103" fmla="*/ 31579 w 2856505"/>
                <a:gd name="connsiteY103" fmla="*/ 222947 h 952673"/>
                <a:gd name="connsiteX104" fmla="*/ 39916 w 2856505"/>
                <a:gd name="connsiteY104" fmla="*/ 222947 h 952673"/>
                <a:gd name="connsiteX105" fmla="*/ 39916 w 2856505"/>
                <a:gd name="connsiteY105" fmla="*/ 244547 h 952673"/>
                <a:gd name="connsiteX106" fmla="*/ 51537 w 2856505"/>
                <a:gd name="connsiteY106" fmla="*/ 244547 h 952673"/>
                <a:gd name="connsiteX107" fmla="*/ 51537 w 2856505"/>
                <a:gd name="connsiteY107" fmla="*/ 271074 h 952673"/>
                <a:gd name="connsiteX108" fmla="*/ 63158 w 2856505"/>
                <a:gd name="connsiteY108" fmla="*/ 271074 h 952673"/>
                <a:gd name="connsiteX109" fmla="*/ 63158 w 2856505"/>
                <a:gd name="connsiteY109" fmla="*/ 305937 h 952673"/>
                <a:gd name="connsiteX110" fmla="*/ 71495 w 2856505"/>
                <a:gd name="connsiteY110" fmla="*/ 305937 h 952673"/>
                <a:gd name="connsiteX111" fmla="*/ 71495 w 2856505"/>
                <a:gd name="connsiteY111" fmla="*/ 334989 h 952673"/>
                <a:gd name="connsiteX112" fmla="*/ 81474 w 2856505"/>
                <a:gd name="connsiteY112" fmla="*/ 334989 h 952673"/>
                <a:gd name="connsiteX113" fmla="*/ 81474 w 2856505"/>
                <a:gd name="connsiteY113" fmla="*/ 358989 h 952673"/>
                <a:gd name="connsiteX114" fmla="*/ 89811 w 2856505"/>
                <a:gd name="connsiteY114" fmla="*/ 358989 h 952673"/>
                <a:gd name="connsiteX115" fmla="*/ 89811 w 2856505"/>
                <a:gd name="connsiteY115" fmla="*/ 386400 h 952673"/>
                <a:gd name="connsiteX116" fmla="*/ 108000 w 2856505"/>
                <a:gd name="connsiteY116" fmla="*/ 386400 h 952673"/>
                <a:gd name="connsiteX117" fmla="*/ 108000 w 2856505"/>
                <a:gd name="connsiteY117" fmla="*/ 408758 h 952673"/>
                <a:gd name="connsiteX118" fmla="*/ 123790 w 2856505"/>
                <a:gd name="connsiteY118" fmla="*/ 408758 h 952673"/>
                <a:gd name="connsiteX119" fmla="*/ 123790 w 2856505"/>
                <a:gd name="connsiteY119" fmla="*/ 427832 h 952673"/>
                <a:gd name="connsiteX120" fmla="*/ 143621 w 2856505"/>
                <a:gd name="connsiteY120" fmla="*/ 427832 h 952673"/>
                <a:gd name="connsiteX121" fmla="*/ 143621 w 2856505"/>
                <a:gd name="connsiteY121" fmla="*/ 439453 h 952673"/>
                <a:gd name="connsiteX122" fmla="*/ 163453 w 2856505"/>
                <a:gd name="connsiteY122" fmla="*/ 439453 h 952673"/>
                <a:gd name="connsiteX123" fmla="*/ 163453 w 2856505"/>
                <a:gd name="connsiteY123" fmla="*/ 456000 h 952673"/>
                <a:gd name="connsiteX124" fmla="*/ 189979 w 2856505"/>
                <a:gd name="connsiteY124" fmla="*/ 456000 h 952673"/>
                <a:gd name="connsiteX125" fmla="*/ 189979 w 2856505"/>
                <a:gd name="connsiteY125" fmla="*/ 470147 h 952673"/>
                <a:gd name="connsiteX126" fmla="*/ 199958 w 2856505"/>
                <a:gd name="connsiteY126" fmla="*/ 470147 h 952673"/>
                <a:gd name="connsiteX127" fmla="*/ 199958 w 2856505"/>
                <a:gd name="connsiteY127" fmla="*/ 478484 h 952673"/>
                <a:gd name="connsiteX128" fmla="*/ 211579 w 2856505"/>
                <a:gd name="connsiteY128" fmla="*/ 478484 h 952673"/>
                <a:gd name="connsiteX129" fmla="*/ 211579 w 2856505"/>
                <a:gd name="connsiteY129" fmla="*/ 488463 h 952673"/>
                <a:gd name="connsiteX130" fmla="*/ 218147 w 2856505"/>
                <a:gd name="connsiteY130" fmla="*/ 488463 h 952673"/>
                <a:gd name="connsiteX131" fmla="*/ 218147 w 2856505"/>
                <a:gd name="connsiteY131" fmla="*/ 504253 h 952673"/>
                <a:gd name="connsiteX132" fmla="*/ 232295 w 2856505"/>
                <a:gd name="connsiteY132" fmla="*/ 504253 h 952673"/>
                <a:gd name="connsiteX133" fmla="*/ 232295 w 2856505"/>
                <a:gd name="connsiteY133" fmla="*/ 535705 h 952673"/>
                <a:gd name="connsiteX134" fmla="*/ 240632 w 2856505"/>
                <a:gd name="connsiteY134" fmla="*/ 535705 h 952673"/>
                <a:gd name="connsiteX135" fmla="*/ 240632 w 2856505"/>
                <a:gd name="connsiteY135" fmla="*/ 542274 h 952673"/>
                <a:gd name="connsiteX136" fmla="*/ 260463 w 2856505"/>
                <a:gd name="connsiteY136" fmla="*/ 542274 h 952673"/>
                <a:gd name="connsiteX137" fmla="*/ 260463 w 2856505"/>
                <a:gd name="connsiteY137" fmla="*/ 556421 h 952673"/>
                <a:gd name="connsiteX138" fmla="*/ 271200 w 2856505"/>
                <a:gd name="connsiteY138" fmla="*/ 556421 h 952673"/>
                <a:gd name="connsiteX139" fmla="*/ 271200 w 2856505"/>
                <a:gd name="connsiteY139" fmla="*/ 562990 h 952673"/>
                <a:gd name="connsiteX140" fmla="*/ 293558 w 2856505"/>
                <a:gd name="connsiteY140" fmla="*/ 562990 h 952673"/>
                <a:gd name="connsiteX141" fmla="*/ 293558 w 2856505"/>
                <a:gd name="connsiteY141" fmla="*/ 577895 h 952673"/>
                <a:gd name="connsiteX142" fmla="*/ 305937 w 2856505"/>
                <a:gd name="connsiteY142" fmla="*/ 577895 h 952673"/>
                <a:gd name="connsiteX143" fmla="*/ 305937 w 2856505"/>
                <a:gd name="connsiteY143" fmla="*/ 591158 h 952673"/>
                <a:gd name="connsiteX144" fmla="*/ 321726 w 2856505"/>
                <a:gd name="connsiteY144" fmla="*/ 591158 h 952673"/>
                <a:gd name="connsiteX145" fmla="*/ 321726 w 2856505"/>
                <a:gd name="connsiteY145" fmla="*/ 605305 h 952673"/>
                <a:gd name="connsiteX146" fmla="*/ 342442 w 2856505"/>
                <a:gd name="connsiteY146" fmla="*/ 605305 h 952673"/>
                <a:gd name="connsiteX147" fmla="*/ 342442 w 2856505"/>
                <a:gd name="connsiteY147" fmla="*/ 621095 h 952673"/>
                <a:gd name="connsiteX148" fmla="*/ 362274 w 2856505"/>
                <a:gd name="connsiteY148" fmla="*/ 621095 h 952673"/>
                <a:gd name="connsiteX149" fmla="*/ 362274 w 2856505"/>
                <a:gd name="connsiteY149" fmla="*/ 630189 h 952673"/>
                <a:gd name="connsiteX150" fmla="*/ 374653 w 2856505"/>
                <a:gd name="connsiteY150" fmla="*/ 630189 h 952673"/>
                <a:gd name="connsiteX151" fmla="*/ 374653 w 2856505"/>
                <a:gd name="connsiteY151" fmla="*/ 646737 h 952673"/>
                <a:gd name="connsiteX152" fmla="*/ 410274 w 2856505"/>
                <a:gd name="connsiteY152" fmla="*/ 646737 h 952673"/>
                <a:gd name="connsiteX153" fmla="*/ 410274 w 2856505"/>
                <a:gd name="connsiteY153" fmla="*/ 660884 h 952673"/>
                <a:gd name="connsiteX154" fmla="*/ 444253 w 2856505"/>
                <a:gd name="connsiteY154" fmla="*/ 660884 h 952673"/>
                <a:gd name="connsiteX155" fmla="*/ 444253 w 2856505"/>
                <a:gd name="connsiteY155" fmla="*/ 674147 h 952673"/>
                <a:gd name="connsiteX156" fmla="*/ 508042 w 2856505"/>
                <a:gd name="connsiteY156" fmla="*/ 674147 h 952673"/>
                <a:gd name="connsiteX157" fmla="*/ 508042 w 2856505"/>
                <a:gd name="connsiteY157" fmla="*/ 692337 h 952673"/>
                <a:gd name="connsiteX158" fmla="*/ 549474 w 2856505"/>
                <a:gd name="connsiteY158" fmla="*/ 692337 h 952673"/>
                <a:gd name="connsiteX159" fmla="*/ 549474 w 2856505"/>
                <a:gd name="connsiteY159" fmla="*/ 702316 h 952673"/>
                <a:gd name="connsiteX160" fmla="*/ 585979 w 2856505"/>
                <a:gd name="connsiteY160" fmla="*/ 702316 h 952673"/>
                <a:gd name="connsiteX161" fmla="*/ 585979 w 2856505"/>
                <a:gd name="connsiteY161" fmla="*/ 711410 h 952673"/>
                <a:gd name="connsiteX162" fmla="*/ 635747 w 2856505"/>
                <a:gd name="connsiteY162" fmla="*/ 711410 h 952673"/>
                <a:gd name="connsiteX163" fmla="*/ 635747 w 2856505"/>
                <a:gd name="connsiteY163" fmla="*/ 722147 h 952673"/>
                <a:gd name="connsiteX164" fmla="*/ 683874 w 2856505"/>
                <a:gd name="connsiteY164" fmla="*/ 722147 h 952673"/>
                <a:gd name="connsiteX165" fmla="*/ 683874 w 2856505"/>
                <a:gd name="connsiteY165" fmla="*/ 738695 h 952673"/>
                <a:gd name="connsiteX166" fmla="*/ 692969 w 2856505"/>
                <a:gd name="connsiteY166" fmla="*/ 738695 h 952673"/>
                <a:gd name="connsiteX167" fmla="*/ 692969 w 2856505"/>
                <a:gd name="connsiteY167" fmla="*/ 749432 h 952673"/>
                <a:gd name="connsiteX168" fmla="*/ 764211 w 2856505"/>
                <a:gd name="connsiteY168" fmla="*/ 749432 h 952673"/>
                <a:gd name="connsiteX169" fmla="*/ 764211 w 2856505"/>
                <a:gd name="connsiteY169" fmla="*/ 763579 h 952673"/>
                <a:gd name="connsiteX170" fmla="*/ 802358 w 2856505"/>
                <a:gd name="connsiteY170" fmla="*/ 763579 h 952673"/>
                <a:gd name="connsiteX171" fmla="*/ 802358 w 2856505"/>
                <a:gd name="connsiteY171" fmla="*/ 775200 h 952673"/>
                <a:gd name="connsiteX172" fmla="*/ 843032 w 2856505"/>
                <a:gd name="connsiteY172" fmla="*/ 775200 h 952673"/>
                <a:gd name="connsiteX173" fmla="*/ 843032 w 2856505"/>
                <a:gd name="connsiteY173" fmla="*/ 786821 h 952673"/>
                <a:gd name="connsiteX174" fmla="*/ 915916 w 2856505"/>
                <a:gd name="connsiteY174" fmla="*/ 786821 h 952673"/>
                <a:gd name="connsiteX175" fmla="*/ 915916 w 2856505"/>
                <a:gd name="connsiteY175" fmla="*/ 804253 h 952673"/>
                <a:gd name="connsiteX176" fmla="*/ 991326 w 2856505"/>
                <a:gd name="connsiteY176" fmla="*/ 804253 h 952673"/>
                <a:gd name="connsiteX177" fmla="*/ 991326 w 2856505"/>
                <a:gd name="connsiteY177" fmla="*/ 820042 h 952673"/>
                <a:gd name="connsiteX178" fmla="*/ 1035284 w 2856505"/>
                <a:gd name="connsiteY178" fmla="*/ 820042 h 952673"/>
                <a:gd name="connsiteX179" fmla="*/ 1035284 w 2856505"/>
                <a:gd name="connsiteY179" fmla="*/ 829137 h 952673"/>
                <a:gd name="connsiteX180" fmla="*/ 1078358 w 2856505"/>
                <a:gd name="connsiteY180" fmla="*/ 829137 h 952673"/>
                <a:gd name="connsiteX181" fmla="*/ 1078358 w 2856505"/>
                <a:gd name="connsiteY181" fmla="*/ 848210 h 952673"/>
                <a:gd name="connsiteX182" fmla="*/ 1128127 w 2856505"/>
                <a:gd name="connsiteY182" fmla="*/ 848210 h 952673"/>
                <a:gd name="connsiteX183" fmla="*/ 1135200 w 2856505"/>
                <a:gd name="connsiteY183" fmla="*/ 855284 h 952673"/>
                <a:gd name="connsiteX184" fmla="*/ 1327958 w 2856505"/>
                <a:gd name="connsiteY184" fmla="*/ 855284 h 952673"/>
                <a:gd name="connsiteX185" fmla="*/ 1327958 w 2856505"/>
                <a:gd name="connsiteY185" fmla="*/ 876379 h 952673"/>
                <a:gd name="connsiteX186" fmla="*/ 1429895 w 2856505"/>
                <a:gd name="connsiteY186" fmla="*/ 876379 h 952673"/>
                <a:gd name="connsiteX187" fmla="*/ 1429895 w 2856505"/>
                <a:gd name="connsiteY187" fmla="*/ 882189 h 952673"/>
                <a:gd name="connsiteX188" fmla="*/ 1532716 w 2856505"/>
                <a:gd name="connsiteY188" fmla="*/ 882189 h 952673"/>
                <a:gd name="connsiteX189" fmla="*/ 1532716 w 2856505"/>
                <a:gd name="connsiteY189" fmla="*/ 900379 h 952673"/>
                <a:gd name="connsiteX190" fmla="*/ 1558358 w 2856505"/>
                <a:gd name="connsiteY190" fmla="*/ 900379 h 952673"/>
                <a:gd name="connsiteX191" fmla="*/ 1558358 w 2856505"/>
                <a:gd name="connsiteY191" fmla="*/ 908716 h 952673"/>
                <a:gd name="connsiteX192" fmla="*/ 1586526 w 2856505"/>
                <a:gd name="connsiteY192" fmla="*/ 908716 h 952673"/>
                <a:gd name="connsiteX193" fmla="*/ 1586526 w 2856505"/>
                <a:gd name="connsiteY193" fmla="*/ 925263 h 952673"/>
                <a:gd name="connsiteX194" fmla="*/ 1605600 w 2856505"/>
                <a:gd name="connsiteY194" fmla="*/ 925263 h 952673"/>
                <a:gd name="connsiteX195" fmla="*/ 1605600 w 2856505"/>
                <a:gd name="connsiteY195" fmla="*/ 929432 h 952673"/>
                <a:gd name="connsiteX196" fmla="*/ 1938063 w 2856505"/>
                <a:gd name="connsiteY196" fmla="*/ 929432 h 952673"/>
                <a:gd name="connsiteX197" fmla="*/ 1938063 w 2856505"/>
                <a:gd name="connsiteY197" fmla="*/ 936000 h 952673"/>
                <a:gd name="connsiteX198" fmla="*/ 2048337 w 2856505"/>
                <a:gd name="connsiteY198" fmla="*/ 936000 h 952673"/>
                <a:gd name="connsiteX199" fmla="*/ 2048337 w 2856505"/>
                <a:gd name="connsiteY199" fmla="*/ 943453 h 952673"/>
                <a:gd name="connsiteX200" fmla="*/ 2571411 w 2856505"/>
                <a:gd name="connsiteY200" fmla="*/ 943453 h 952673"/>
                <a:gd name="connsiteX201" fmla="*/ 2571411 w 2856505"/>
                <a:gd name="connsiteY201" fmla="*/ 951789 h 952673"/>
                <a:gd name="connsiteX202" fmla="*/ 2856506 w 2856505"/>
                <a:gd name="connsiteY202" fmla="*/ 952674 h 952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</a:cxnLst>
              <a:rect l="l" t="t" r="r" b="b"/>
              <a:pathLst>
                <a:path w="2856505" h="952673">
                  <a:moveTo>
                    <a:pt x="2856253" y="952295"/>
                  </a:moveTo>
                  <a:lnTo>
                    <a:pt x="2856253" y="827116"/>
                  </a:lnTo>
                  <a:lnTo>
                    <a:pt x="2572800" y="827116"/>
                  </a:lnTo>
                  <a:lnTo>
                    <a:pt x="2572800" y="818021"/>
                  </a:lnTo>
                  <a:lnTo>
                    <a:pt x="2048969" y="818021"/>
                  </a:lnTo>
                  <a:lnTo>
                    <a:pt x="2048969" y="812211"/>
                  </a:lnTo>
                  <a:lnTo>
                    <a:pt x="1925432" y="812211"/>
                  </a:lnTo>
                  <a:lnTo>
                    <a:pt x="1925432" y="803874"/>
                  </a:lnTo>
                  <a:lnTo>
                    <a:pt x="1599663" y="803874"/>
                  </a:lnTo>
                  <a:lnTo>
                    <a:pt x="1599663" y="793137"/>
                  </a:lnTo>
                  <a:lnTo>
                    <a:pt x="1568969" y="793137"/>
                  </a:lnTo>
                  <a:lnTo>
                    <a:pt x="1568969" y="776589"/>
                  </a:lnTo>
                  <a:lnTo>
                    <a:pt x="1548253" y="776589"/>
                  </a:lnTo>
                  <a:lnTo>
                    <a:pt x="1548253" y="758400"/>
                  </a:lnTo>
                  <a:lnTo>
                    <a:pt x="1445432" y="758400"/>
                  </a:lnTo>
                  <a:lnTo>
                    <a:pt x="1445432" y="741853"/>
                  </a:lnTo>
                  <a:lnTo>
                    <a:pt x="1412337" y="741853"/>
                  </a:lnTo>
                  <a:lnTo>
                    <a:pt x="1412337" y="732758"/>
                  </a:lnTo>
                  <a:lnTo>
                    <a:pt x="1340211" y="732758"/>
                  </a:lnTo>
                  <a:lnTo>
                    <a:pt x="1340211" y="724421"/>
                  </a:lnTo>
                  <a:lnTo>
                    <a:pt x="1244842" y="724421"/>
                  </a:lnTo>
                  <a:lnTo>
                    <a:pt x="1244842" y="714442"/>
                  </a:lnTo>
                  <a:lnTo>
                    <a:pt x="1119663" y="714442"/>
                  </a:lnTo>
                  <a:lnTo>
                    <a:pt x="1119663" y="706990"/>
                  </a:lnTo>
                  <a:lnTo>
                    <a:pt x="1074063" y="706990"/>
                  </a:lnTo>
                  <a:lnTo>
                    <a:pt x="1074063" y="695368"/>
                  </a:lnTo>
                  <a:lnTo>
                    <a:pt x="1038442" y="695368"/>
                  </a:lnTo>
                  <a:lnTo>
                    <a:pt x="1038442" y="682105"/>
                  </a:lnTo>
                  <a:lnTo>
                    <a:pt x="994484" y="682105"/>
                  </a:lnTo>
                  <a:cubicBezTo>
                    <a:pt x="994484" y="682105"/>
                    <a:pt x="997769" y="666316"/>
                    <a:pt x="994484" y="666316"/>
                  </a:cubicBezTo>
                  <a:lnTo>
                    <a:pt x="942316" y="666316"/>
                  </a:lnTo>
                  <a:lnTo>
                    <a:pt x="942316" y="653937"/>
                  </a:lnTo>
                  <a:lnTo>
                    <a:pt x="883453" y="653937"/>
                  </a:lnTo>
                  <a:lnTo>
                    <a:pt x="883453" y="636505"/>
                  </a:lnTo>
                  <a:lnTo>
                    <a:pt x="833684" y="636505"/>
                  </a:lnTo>
                  <a:lnTo>
                    <a:pt x="833684" y="627411"/>
                  </a:lnTo>
                  <a:lnTo>
                    <a:pt x="774063" y="627411"/>
                  </a:lnTo>
                  <a:lnTo>
                    <a:pt x="774063" y="612505"/>
                  </a:lnTo>
                  <a:lnTo>
                    <a:pt x="698653" y="612505"/>
                  </a:lnTo>
                  <a:lnTo>
                    <a:pt x="698653" y="602526"/>
                  </a:lnTo>
                  <a:lnTo>
                    <a:pt x="675411" y="602526"/>
                  </a:lnTo>
                  <a:lnTo>
                    <a:pt x="675411" y="582695"/>
                  </a:lnTo>
                  <a:lnTo>
                    <a:pt x="618190" y="582695"/>
                  </a:lnTo>
                  <a:lnTo>
                    <a:pt x="618190" y="561979"/>
                  </a:lnTo>
                  <a:lnTo>
                    <a:pt x="565137" y="561979"/>
                  </a:lnTo>
                  <a:lnTo>
                    <a:pt x="565137" y="550358"/>
                  </a:lnTo>
                  <a:lnTo>
                    <a:pt x="517895" y="550358"/>
                  </a:lnTo>
                  <a:lnTo>
                    <a:pt x="517895" y="528758"/>
                  </a:lnTo>
                  <a:lnTo>
                    <a:pt x="456505" y="528758"/>
                  </a:lnTo>
                  <a:lnTo>
                    <a:pt x="456505" y="517137"/>
                  </a:lnTo>
                  <a:lnTo>
                    <a:pt x="406737" y="517137"/>
                  </a:lnTo>
                  <a:lnTo>
                    <a:pt x="406737" y="502232"/>
                  </a:lnTo>
                  <a:lnTo>
                    <a:pt x="393474" y="502232"/>
                  </a:lnTo>
                  <a:lnTo>
                    <a:pt x="393474" y="493895"/>
                  </a:lnTo>
                  <a:lnTo>
                    <a:pt x="369474" y="493895"/>
                  </a:lnTo>
                  <a:lnTo>
                    <a:pt x="369474" y="474821"/>
                  </a:lnTo>
                  <a:lnTo>
                    <a:pt x="345474" y="474821"/>
                  </a:lnTo>
                  <a:lnTo>
                    <a:pt x="345474" y="459916"/>
                  </a:lnTo>
                  <a:lnTo>
                    <a:pt x="334737" y="459916"/>
                  </a:lnTo>
                  <a:lnTo>
                    <a:pt x="334737" y="442484"/>
                  </a:lnTo>
                  <a:lnTo>
                    <a:pt x="310737" y="442484"/>
                  </a:lnTo>
                  <a:lnTo>
                    <a:pt x="310737" y="431747"/>
                  </a:lnTo>
                  <a:lnTo>
                    <a:pt x="295832" y="431747"/>
                  </a:lnTo>
                  <a:lnTo>
                    <a:pt x="295832" y="415200"/>
                  </a:lnTo>
                  <a:lnTo>
                    <a:pt x="278400" y="415200"/>
                  </a:lnTo>
                  <a:lnTo>
                    <a:pt x="278400" y="399410"/>
                  </a:lnTo>
                  <a:lnTo>
                    <a:pt x="256042" y="399410"/>
                  </a:lnTo>
                  <a:lnTo>
                    <a:pt x="256042" y="387789"/>
                  </a:lnTo>
                  <a:lnTo>
                    <a:pt x="240253" y="387789"/>
                  </a:lnTo>
                  <a:lnTo>
                    <a:pt x="240253" y="367958"/>
                  </a:lnTo>
                  <a:lnTo>
                    <a:pt x="227874" y="367958"/>
                  </a:lnTo>
                  <a:lnTo>
                    <a:pt x="227874" y="352168"/>
                  </a:lnTo>
                  <a:lnTo>
                    <a:pt x="211326" y="352168"/>
                  </a:lnTo>
                  <a:lnTo>
                    <a:pt x="211326" y="333979"/>
                  </a:lnTo>
                  <a:lnTo>
                    <a:pt x="198947" y="333979"/>
                  </a:lnTo>
                  <a:lnTo>
                    <a:pt x="198947" y="315789"/>
                  </a:lnTo>
                  <a:lnTo>
                    <a:pt x="179874" y="315789"/>
                  </a:lnTo>
                  <a:lnTo>
                    <a:pt x="179874" y="287621"/>
                  </a:lnTo>
                  <a:lnTo>
                    <a:pt x="161684" y="287621"/>
                  </a:lnTo>
                  <a:lnTo>
                    <a:pt x="161684" y="271832"/>
                  </a:lnTo>
                  <a:lnTo>
                    <a:pt x="130990" y="271832"/>
                  </a:lnTo>
                  <a:lnTo>
                    <a:pt x="130990" y="252000"/>
                  </a:lnTo>
                  <a:lnTo>
                    <a:pt x="111916" y="252000"/>
                  </a:lnTo>
                  <a:lnTo>
                    <a:pt x="111916" y="229642"/>
                  </a:lnTo>
                  <a:lnTo>
                    <a:pt x="98653" y="229642"/>
                  </a:lnTo>
                  <a:lnTo>
                    <a:pt x="98653" y="204000"/>
                  </a:lnTo>
                  <a:lnTo>
                    <a:pt x="79579" y="204000"/>
                  </a:lnTo>
                  <a:lnTo>
                    <a:pt x="79579" y="161684"/>
                  </a:lnTo>
                  <a:lnTo>
                    <a:pt x="62147" y="161684"/>
                  </a:lnTo>
                  <a:lnTo>
                    <a:pt x="62147" y="128589"/>
                  </a:lnTo>
                  <a:lnTo>
                    <a:pt x="54695" y="128589"/>
                  </a:lnTo>
                  <a:lnTo>
                    <a:pt x="54695" y="97895"/>
                  </a:lnTo>
                  <a:lnTo>
                    <a:pt x="39789" y="97895"/>
                  </a:lnTo>
                  <a:lnTo>
                    <a:pt x="39789" y="48126"/>
                  </a:lnTo>
                  <a:lnTo>
                    <a:pt x="16547" y="48126"/>
                  </a:lnTo>
                  <a:lnTo>
                    <a:pt x="16547" y="0"/>
                  </a:lnTo>
                  <a:lnTo>
                    <a:pt x="0" y="0"/>
                  </a:lnTo>
                  <a:lnTo>
                    <a:pt x="0" y="62147"/>
                  </a:lnTo>
                  <a:lnTo>
                    <a:pt x="11621" y="62147"/>
                  </a:lnTo>
                  <a:lnTo>
                    <a:pt x="11621" y="96126"/>
                  </a:lnTo>
                  <a:lnTo>
                    <a:pt x="21600" y="96126"/>
                  </a:lnTo>
                  <a:lnTo>
                    <a:pt x="21600" y="173179"/>
                  </a:lnTo>
                  <a:lnTo>
                    <a:pt x="31579" y="173179"/>
                  </a:lnTo>
                  <a:lnTo>
                    <a:pt x="31579" y="222947"/>
                  </a:lnTo>
                  <a:lnTo>
                    <a:pt x="39916" y="222947"/>
                  </a:lnTo>
                  <a:lnTo>
                    <a:pt x="39916" y="244547"/>
                  </a:lnTo>
                  <a:lnTo>
                    <a:pt x="51537" y="244547"/>
                  </a:lnTo>
                  <a:lnTo>
                    <a:pt x="51537" y="271074"/>
                  </a:lnTo>
                  <a:lnTo>
                    <a:pt x="63158" y="271074"/>
                  </a:lnTo>
                  <a:lnTo>
                    <a:pt x="63158" y="305937"/>
                  </a:lnTo>
                  <a:lnTo>
                    <a:pt x="71495" y="305937"/>
                  </a:lnTo>
                  <a:lnTo>
                    <a:pt x="71495" y="334989"/>
                  </a:lnTo>
                  <a:lnTo>
                    <a:pt x="81474" y="334989"/>
                  </a:lnTo>
                  <a:lnTo>
                    <a:pt x="81474" y="358989"/>
                  </a:lnTo>
                  <a:lnTo>
                    <a:pt x="89811" y="358989"/>
                  </a:lnTo>
                  <a:lnTo>
                    <a:pt x="89811" y="386400"/>
                  </a:lnTo>
                  <a:lnTo>
                    <a:pt x="108000" y="386400"/>
                  </a:lnTo>
                  <a:lnTo>
                    <a:pt x="108000" y="408758"/>
                  </a:lnTo>
                  <a:lnTo>
                    <a:pt x="123790" y="408758"/>
                  </a:lnTo>
                  <a:lnTo>
                    <a:pt x="123790" y="427832"/>
                  </a:lnTo>
                  <a:lnTo>
                    <a:pt x="143621" y="427832"/>
                  </a:lnTo>
                  <a:lnTo>
                    <a:pt x="143621" y="439453"/>
                  </a:lnTo>
                  <a:lnTo>
                    <a:pt x="163453" y="439453"/>
                  </a:lnTo>
                  <a:lnTo>
                    <a:pt x="163453" y="456000"/>
                  </a:lnTo>
                  <a:lnTo>
                    <a:pt x="189979" y="456000"/>
                  </a:lnTo>
                  <a:lnTo>
                    <a:pt x="189979" y="470147"/>
                  </a:lnTo>
                  <a:lnTo>
                    <a:pt x="199958" y="470147"/>
                  </a:lnTo>
                  <a:lnTo>
                    <a:pt x="199958" y="478484"/>
                  </a:lnTo>
                  <a:lnTo>
                    <a:pt x="211579" y="478484"/>
                  </a:lnTo>
                  <a:lnTo>
                    <a:pt x="211579" y="488463"/>
                  </a:lnTo>
                  <a:lnTo>
                    <a:pt x="218147" y="488463"/>
                  </a:lnTo>
                  <a:lnTo>
                    <a:pt x="218147" y="504253"/>
                  </a:lnTo>
                  <a:lnTo>
                    <a:pt x="232295" y="504253"/>
                  </a:lnTo>
                  <a:lnTo>
                    <a:pt x="232295" y="535705"/>
                  </a:lnTo>
                  <a:lnTo>
                    <a:pt x="240632" y="535705"/>
                  </a:lnTo>
                  <a:lnTo>
                    <a:pt x="240632" y="542274"/>
                  </a:lnTo>
                  <a:lnTo>
                    <a:pt x="260463" y="542274"/>
                  </a:lnTo>
                  <a:lnTo>
                    <a:pt x="260463" y="556421"/>
                  </a:lnTo>
                  <a:lnTo>
                    <a:pt x="271200" y="556421"/>
                  </a:lnTo>
                  <a:lnTo>
                    <a:pt x="271200" y="562990"/>
                  </a:lnTo>
                  <a:lnTo>
                    <a:pt x="293558" y="562990"/>
                  </a:lnTo>
                  <a:lnTo>
                    <a:pt x="293558" y="577895"/>
                  </a:lnTo>
                  <a:lnTo>
                    <a:pt x="305937" y="577895"/>
                  </a:lnTo>
                  <a:lnTo>
                    <a:pt x="305937" y="591158"/>
                  </a:lnTo>
                  <a:lnTo>
                    <a:pt x="321726" y="591158"/>
                  </a:lnTo>
                  <a:lnTo>
                    <a:pt x="321726" y="605305"/>
                  </a:lnTo>
                  <a:lnTo>
                    <a:pt x="342442" y="605305"/>
                  </a:lnTo>
                  <a:lnTo>
                    <a:pt x="342442" y="621095"/>
                  </a:lnTo>
                  <a:lnTo>
                    <a:pt x="362274" y="621095"/>
                  </a:lnTo>
                  <a:lnTo>
                    <a:pt x="362274" y="630189"/>
                  </a:lnTo>
                  <a:lnTo>
                    <a:pt x="374653" y="630189"/>
                  </a:lnTo>
                  <a:lnTo>
                    <a:pt x="374653" y="646737"/>
                  </a:lnTo>
                  <a:lnTo>
                    <a:pt x="410274" y="646737"/>
                  </a:lnTo>
                  <a:lnTo>
                    <a:pt x="410274" y="660884"/>
                  </a:lnTo>
                  <a:lnTo>
                    <a:pt x="444253" y="660884"/>
                  </a:lnTo>
                  <a:lnTo>
                    <a:pt x="444253" y="674147"/>
                  </a:lnTo>
                  <a:lnTo>
                    <a:pt x="508042" y="674147"/>
                  </a:lnTo>
                  <a:lnTo>
                    <a:pt x="508042" y="692337"/>
                  </a:lnTo>
                  <a:lnTo>
                    <a:pt x="549474" y="692337"/>
                  </a:lnTo>
                  <a:cubicBezTo>
                    <a:pt x="549474" y="692337"/>
                    <a:pt x="545305" y="702316"/>
                    <a:pt x="549474" y="702316"/>
                  </a:cubicBezTo>
                  <a:lnTo>
                    <a:pt x="585979" y="702316"/>
                  </a:lnTo>
                  <a:lnTo>
                    <a:pt x="585979" y="711410"/>
                  </a:lnTo>
                  <a:lnTo>
                    <a:pt x="635747" y="711410"/>
                  </a:lnTo>
                  <a:lnTo>
                    <a:pt x="635747" y="722147"/>
                  </a:lnTo>
                  <a:lnTo>
                    <a:pt x="683874" y="722147"/>
                  </a:lnTo>
                  <a:lnTo>
                    <a:pt x="683874" y="738695"/>
                  </a:lnTo>
                  <a:lnTo>
                    <a:pt x="692969" y="738695"/>
                  </a:lnTo>
                  <a:lnTo>
                    <a:pt x="692969" y="749432"/>
                  </a:lnTo>
                  <a:lnTo>
                    <a:pt x="764211" y="749432"/>
                  </a:lnTo>
                  <a:lnTo>
                    <a:pt x="764211" y="763579"/>
                  </a:lnTo>
                  <a:lnTo>
                    <a:pt x="802358" y="763579"/>
                  </a:lnTo>
                  <a:lnTo>
                    <a:pt x="802358" y="775200"/>
                  </a:lnTo>
                  <a:lnTo>
                    <a:pt x="843032" y="775200"/>
                  </a:lnTo>
                  <a:lnTo>
                    <a:pt x="843032" y="786821"/>
                  </a:lnTo>
                  <a:lnTo>
                    <a:pt x="915916" y="786821"/>
                  </a:lnTo>
                  <a:lnTo>
                    <a:pt x="915916" y="804253"/>
                  </a:lnTo>
                  <a:lnTo>
                    <a:pt x="991326" y="804253"/>
                  </a:lnTo>
                  <a:lnTo>
                    <a:pt x="991326" y="820042"/>
                  </a:lnTo>
                  <a:lnTo>
                    <a:pt x="1035284" y="820042"/>
                  </a:lnTo>
                  <a:cubicBezTo>
                    <a:pt x="1035284" y="820042"/>
                    <a:pt x="1030358" y="829137"/>
                    <a:pt x="1035284" y="829137"/>
                  </a:cubicBezTo>
                  <a:lnTo>
                    <a:pt x="1078358" y="829137"/>
                  </a:lnTo>
                  <a:lnTo>
                    <a:pt x="1078358" y="848210"/>
                  </a:lnTo>
                  <a:lnTo>
                    <a:pt x="1128127" y="848210"/>
                  </a:lnTo>
                  <a:lnTo>
                    <a:pt x="1135200" y="855284"/>
                  </a:lnTo>
                  <a:lnTo>
                    <a:pt x="1327958" y="855284"/>
                  </a:lnTo>
                  <a:lnTo>
                    <a:pt x="1327958" y="876379"/>
                  </a:lnTo>
                  <a:lnTo>
                    <a:pt x="1429895" y="876379"/>
                  </a:lnTo>
                  <a:lnTo>
                    <a:pt x="1429895" y="882189"/>
                  </a:lnTo>
                  <a:lnTo>
                    <a:pt x="1532716" y="882189"/>
                  </a:lnTo>
                  <a:lnTo>
                    <a:pt x="1532716" y="900379"/>
                  </a:lnTo>
                  <a:lnTo>
                    <a:pt x="1558358" y="900379"/>
                  </a:lnTo>
                  <a:lnTo>
                    <a:pt x="1558358" y="908716"/>
                  </a:lnTo>
                  <a:lnTo>
                    <a:pt x="1586526" y="908716"/>
                  </a:lnTo>
                  <a:lnTo>
                    <a:pt x="1586526" y="925263"/>
                  </a:lnTo>
                  <a:lnTo>
                    <a:pt x="1605600" y="925263"/>
                  </a:lnTo>
                  <a:lnTo>
                    <a:pt x="1605600" y="929432"/>
                  </a:lnTo>
                  <a:lnTo>
                    <a:pt x="1938063" y="929432"/>
                  </a:lnTo>
                  <a:lnTo>
                    <a:pt x="1938063" y="936000"/>
                  </a:lnTo>
                  <a:lnTo>
                    <a:pt x="2048337" y="936000"/>
                  </a:lnTo>
                  <a:lnTo>
                    <a:pt x="2048337" y="943453"/>
                  </a:lnTo>
                  <a:lnTo>
                    <a:pt x="2571411" y="943453"/>
                  </a:lnTo>
                  <a:lnTo>
                    <a:pt x="2571411" y="951789"/>
                  </a:lnTo>
                  <a:lnTo>
                    <a:pt x="2856506" y="952674"/>
                  </a:lnTo>
                  <a:close/>
                </a:path>
              </a:pathLst>
            </a:custGeom>
            <a:solidFill>
              <a:srgbClr val="FF585D">
                <a:alpha val="30000"/>
              </a:srgbClr>
            </a:solidFill>
            <a:ln w="1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2" name="Freihandform: Form 601">
              <a:extLst>
                <a:ext uri="{FF2B5EF4-FFF2-40B4-BE49-F238E27FC236}">
                  <a16:creationId xmlns:a16="http://schemas.microsoft.com/office/drawing/2014/main" id="{46797014-F659-F8C0-500F-B0E3E1DADD26}"/>
                </a:ext>
              </a:extLst>
            </p:cNvPr>
            <p:cNvSpPr/>
            <p:nvPr/>
          </p:nvSpPr>
          <p:spPr>
            <a:xfrm>
              <a:off x="5366168" y="2133306"/>
              <a:ext cx="2977768" cy="1613810"/>
            </a:xfrm>
            <a:custGeom>
              <a:avLst/>
              <a:gdLst>
                <a:gd name="connsiteX0" fmla="*/ 2977769 w 2977768"/>
                <a:gd name="connsiteY0" fmla="*/ 1206821 h 1613810"/>
                <a:gd name="connsiteX1" fmla="*/ 2977769 w 2977768"/>
                <a:gd name="connsiteY1" fmla="*/ 1613811 h 1613810"/>
                <a:gd name="connsiteX2" fmla="*/ 1953221 w 2977768"/>
                <a:gd name="connsiteY2" fmla="*/ 1613811 h 1613810"/>
                <a:gd name="connsiteX3" fmla="*/ 1953221 w 2977768"/>
                <a:gd name="connsiteY3" fmla="*/ 1578190 h 1613810"/>
                <a:gd name="connsiteX4" fmla="*/ 1130905 w 2977768"/>
                <a:gd name="connsiteY4" fmla="*/ 1578190 h 1613810"/>
                <a:gd name="connsiteX5" fmla="*/ 1130905 w 2977768"/>
                <a:gd name="connsiteY5" fmla="*/ 1549137 h 1613810"/>
                <a:gd name="connsiteX6" fmla="*/ 907074 w 2977768"/>
                <a:gd name="connsiteY6" fmla="*/ 1549137 h 1613810"/>
                <a:gd name="connsiteX7" fmla="*/ 907074 w 2977768"/>
                <a:gd name="connsiteY7" fmla="*/ 1533347 h 1613810"/>
                <a:gd name="connsiteX8" fmla="*/ 869811 w 2977768"/>
                <a:gd name="connsiteY8" fmla="*/ 1533347 h 1613810"/>
                <a:gd name="connsiteX9" fmla="*/ 869811 w 2977768"/>
                <a:gd name="connsiteY9" fmla="*/ 1522611 h 1613810"/>
                <a:gd name="connsiteX10" fmla="*/ 834948 w 2977768"/>
                <a:gd name="connsiteY10" fmla="*/ 1522611 h 1613810"/>
                <a:gd name="connsiteX11" fmla="*/ 834948 w 2977768"/>
                <a:gd name="connsiteY11" fmla="*/ 1510232 h 1613810"/>
                <a:gd name="connsiteX12" fmla="*/ 740463 w 2977768"/>
                <a:gd name="connsiteY12" fmla="*/ 1510232 h 1613810"/>
                <a:gd name="connsiteX13" fmla="*/ 740463 w 2977768"/>
                <a:gd name="connsiteY13" fmla="*/ 1493684 h 1613810"/>
                <a:gd name="connsiteX14" fmla="*/ 702316 w 2977768"/>
                <a:gd name="connsiteY14" fmla="*/ 1493684 h 1613810"/>
                <a:gd name="connsiteX15" fmla="*/ 702316 w 2977768"/>
                <a:gd name="connsiteY15" fmla="*/ 1485347 h 1613810"/>
                <a:gd name="connsiteX16" fmla="*/ 661642 w 2977768"/>
                <a:gd name="connsiteY16" fmla="*/ 1485347 h 1613810"/>
                <a:gd name="connsiteX17" fmla="*/ 661642 w 2977768"/>
                <a:gd name="connsiteY17" fmla="*/ 1472084 h 1613810"/>
                <a:gd name="connsiteX18" fmla="*/ 637642 w 2977768"/>
                <a:gd name="connsiteY18" fmla="*/ 1472084 h 1613810"/>
                <a:gd name="connsiteX19" fmla="*/ 637642 w 2977768"/>
                <a:gd name="connsiteY19" fmla="*/ 1453011 h 1613810"/>
                <a:gd name="connsiteX20" fmla="*/ 614400 w 2977768"/>
                <a:gd name="connsiteY20" fmla="*/ 1453011 h 1613810"/>
                <a:gd name="connsiteX21" fmla="*/ 614400 w 2977768"/>
                <a:gd name="connsiteY21" fmla="*/ 1385053 h 1613810"/>
                <a:gd name="connsiteX22" fmla="*/ 527369 w 2977768"/>
                <a:gd name="connsiteY22" fmla="*/ 1385053 h 1613810"/>
                <a:gd name="connsiteX23" fmla="*/ 527369 w 2977768"/>
                <a:gd name="connsiteY23" fmla="*/ 1357642 h 1613810"/>
                <a:gd name="connsiteX24" fmla="*/ 498316 w 2977768"/>
                <a:gd name="connsiteY24" fmla="*/ 1357642 h 1613810"/>
                <a:gd name="connsiteX25" fmla="*/ 498316 w 2977768"/>
                <a:gd name="connsiteY25" fmla="*/ 1332000 h 1613810"/>
                <a:gd name="connsiteX26" fmla="*/ 451074 w 2977768"/>
                <a:gd name="connsiteY26" fmla="*/ 1332000 h 1613810"/>
                <a:gd name="connsiteX27" fmla="*/ 451074 w 2977768"/>
                <a:gd name="connsiteY27" fmla="*/ 1294737 h 1613810"/>
                <a:gd name="connsiteX28" fmla="*/ 363158 w 2977768"/>
                <a:gd name="connsiteY28" fmla="*/ 1294737 h 1613810"/>
                <a:gd name="connsiteX29" fmla="*/ 363158 w 2977768"/>
                <a:gd name="connsiteY29" fmla="*/ 1243326 h 1613810"/>
                <a:gd name="connsiteX30" fmla="*/ 314274 w 2977768"/>
                <a:gd name="connsiteY30" fmla="*/ 1243326 h 1613810"/>
                <a:gd name="connsiteX31" fmla="*/ 314274 w 2977768"/>
                <a:gd name="connsiteY31" fmla="*/ 1207705 h 1613810"/>
                <a:gd name="connsiteX32" fmla="*/ 288632 w 2977768"/>
                <a:gd name="connsiteY32" fmla="*/ 1207705 h 1613810"/>
                <a:gd name="connsiteX33" fmla="*/ 288632 w 2977768"/>
                <a:gd name="connsiteY33" fmla="*/ 1170442 h 1613810"/>
                <a:gd name="connsiteX34" fmla="*/ 272842 w 2977768"/>
                <a:gd name="connsiteY34" fmla="*/ 1170442 h 1613810"/>
                <a:gd name="connsiteX35" fmla="*/ 272842 w 2977768"/>
                <a:gd name="connsiteY35" fmla="*/ 1138105 h 1613810"/>
                <a:gd name="connsiteX36" fmla="*/ 244674 w 2977768"/>
                <a:gd name="connsiteY36" fmla="*/ 1138105 h 1613810"/>
                <a:gd name="connsiteX37" fmla="*/ 244674 w 2977768"/>
                <a:gd name="connsiteY37" fmla="*/ 1112463 h 1613810"/>
                <a:gd name="connsiteX38" fmla="*/ 230526 w 2977768"/>
                <a:gd name="connsiteY38" fmla="*/ 1112463 h 1613810"/>
                <a:gd name="connsiteX39" fmla="*/ 230526 w 2977768"/>
                <a:gd name="connsiteY39" fmla="*/ 1034526 h 1613810"/>
                <a:gd name="connsiteX40" fmla="*/ 218905 w 2977768"/>
                <a:gd name="connsiteY40" fmla="*/ 1034526 h 1613810"/>
                <a:gd name="connsiteX41" fmla="*/ 218905 w 2977768"/>
                <a:gd name="connsiteY41" fmla="*/ 982358 h 1613810"/>
                <a:gd name="connsiteX42" fmla="*/ 210568 w 2977768"/>
                <a:gd name="connsiteY42" fmla="*/ 982358 h 1613810"/>
                <a:gd name="connsiteX43" fmla="*/ 210568 w 2977768"/>
                <a:gd name="connsiteY43" fmla="*/ 940926 h 1613810"/>
                <a:gd name="connsiteX44" fmla="*/ 194779 w 2977768"/>
                <a:gd name="connsiteY44" fmla="*/ 940926 h 1613810"/>
                <a:gd name="connsiteX45" fmla="*/ 194779 w 2977768"/>
                <a:gd name="connsiteY45" fmla="*/ 902779 h 1613810"/>
                <a:gd name="connsiteX46" fmla="*/ 172421 w 2977768"/>
                <a:gd name="connsiteY46" fmla="*/ 902779 h 1613810"/>
                <a:gd name="connsiteX47" fmla="*/ 172421 w 2977768"/>
                <a:gd name="connsiteY47" fmla="*/ 848842 h 1613810"/>
                <a:gd name="connsiteX48" fmla="*/ 156632 w 2977768"/>
                <a:gd name="connsiteY48" fmla="*/ 848842 h 1613810"/>
                <a:gd name="connsiteX49" fmla="*/ 156632 w 2977768"/>
                <a:gd name="connsiteY49" fmla="*/ 791621 h 1613810"/>
                <a:gd name="connsiteX50" fmla="*/ 132632 w 2977768"/>
                <a:gd name="connsiteY50" fmla="*/ 791621 h 1613810"/>
                <a:gd name="connsiteX51" fmla="*/ 132632 w 2977768"/>
                <a:gd name="connsiteY51" fmla="*/ 745263 h 1613810"/>
                <a:gd name="connsiteX52" fmla="*/ 124295 w 2977768"/>
                <a:gd name="connsiteY52" fmla="*/ 745263 h 1613810"/>
                <a:gd name="connsiteX53" fmla="*/ 124295 w 2977768"/>
                <a:gd name="connsiteY53" fmla="*/ 698905 h 1613810"/>
                <a:gd name="connsiteX54" fmla="*/ 106863 w 2977768"/>
                <a:gd name="connsiteY54" fmla="*/ 698905 h 1613810"/>
                <a:gd name="connsiteX55" fmla="*/ 106863 w 2977768"/>
                <a:gd name="connsiteY55" fmla="*/ 594442 h 1613810"/>
                <a:gd name="connsiteX56" fmla="*/ 94484 w 2977768"/>
                <a:gd name="connsiteY56" fmla="*/ 594442 h 1613810"/>
                <a:gd name="connsiteX57" fmla="*/ 94484 w 2977768"/>
                <a:gd name="connsiteY57" fmla="*/ 540505 h 1613810"/>
                <a:gd name="connsiteX58" fmla="*/ 83747 w 2977768"/>
                <a:gd name="connsiteY58" fmla="*/ 540505 h 1613810"/>
                <a:gd name="connsiteX59" fmla="*/ 83747 w 2977768"/>
                <a:gd name="connsiteY59" fmla="*/ 483284 h 1613810"/>
                <a:gd name="connsiteX60" fmla="*/ 64674 w 2977768"/>
                <a:gd name="connsiteY60" fmla="*/ 483284 h 1613810"/>
                <a:gd name="connsiteX61" fmla="*/ 64674 w 2977768"/>
                <a:gd name="connsiteY61" fmla="*/ 368084 h 1613810"/>
                <a:gd name="connsiteX62" fmla="*/ 43958 w 2977768"/>
                <a:gd name="connsiteY62" fmla="*/ 368084 h 1613810"/>
                <a:gd name="connsiteX63" fmla="*/ 43958 w 2977768"/>
                <a:gd name="connsiteY63" fmla="*/ 262863 h 1613810"/>
                <a:gd name="connsiteX64" fmla="*/ 23242 w 2977768"/>
                <a:gd name="connsiteY64" fmla="*/ 262863 h 1613810"/>
                <a:gd name="connsiteX65" fmla="*/ 23242 w 2977768"/>
                <a:gd name="connsiteY65" fmla="*/ 151832 h 1613810"/>
                <a:gd name="connsiteX66" fmla="*/ 0 w 2977768"/>
                <a:gd name="connsiteY66" fmla="*/ 151832 h 1613810"/>
                <a:gd name="connsiteX67" fmla="*/ 0 w 2977768"/>
                <a:gd name="connsiteY67" fmla="*/ 0 h 1613810"/>
                <a:gd name="connsiteX68" fmla="*/ 20716 w 2977768"/>
                <a:gd name="connsiteY68" fmla="*/ 0 h 1613810"/>
                <a:gd name="connsiteX69" fmla="*/ 20716 w 2977768"/>
                <a:gd name="connsiteY69" fmla="*/ 28421 h 1613810"/>
                <a:gd name="connsiteX70" fmla="*/ 32337 w 2977768"/>
                <a:gd name="connsiteY70" fmla="*/ 28421 h 1613810"/>
                <a:gd name="connsiteX71" fmla="*/ 32337 w 2977768"/>
                <a:gd name="connsiteY71" fmla="*/ 87032 h 1613810"/>
                <a:gd name="connsiteX72" fmla="*/ 53053 w 2977768"/>
                <a:gd name="connsiteY72" fmla="*/ 87032 h 1613810"/>
                <a:gd name="connsiteX73" fmla="*/ 53053 w 2977768"/>
                <a:gd name="connsiteY73" fmla="*/ 150821 h 1613810"/>
                <a:gd name="connsiteX74" fmla="*/ 67958 w 2977768"/>
                <a:gd name="connsiteY74" fmla="*/ 150821 h 1613810"/>
                <a:gd name="connsiteX75" fmla="*/ 67958 w 2977768"/>
                <a:gd name="connsiteY75" fmla="*/ 183158 h 1613810"/>
                <a:gd name="connsiteX76" fmla="*/ 81221 w 2977768"/>
                <a:gd name="connsiteY76" fmla="*/ 183158 h 1613810"/>
                <a:gd name="connsiteX77" fmla="*/ 81221 w 2977768"/>
                <a:gd name="connsiteY77" fmla="*/ 216253 h 1613810"/>
                <a:gd name="connsiteX78" fmla="*/ 100295 w 2977768"/>
                <a:gd name="connsiteY78" fmla="*/ 216253 h 1613810"/>
                <a:gd name="connsiteX79" fmla="*/ 100295 w 2977768"/>
                <a:gd name="connsiteY79" fmla="*/ 259326 h 1613810"/>
                <a:gd name="connsiteX80" fmla="*/ 110274 w 2977768"/>
                <a:gd name="connsiteY80" fmla="*/ 259326 h 1613810"/>
                <a:gd name="connsiteX81" fmla="*/ 110274 w 2977768"/>
                <a:gd name="connsiteY81" fmla="*/ 337263 h 1613810"/>
                <a:gd name="connsiteX82" fmla="*/ 121895 w 2977768"/>
                <a:gd name="connsiteY82" fmla="*/ 337263 h 1613810"/>
                <a:gd name="connsiteX83" fmla="*/ 121895 w 2977768"/>
                <a:gd name="connsiteY83" fmla="*/ 348000 h 1613810"/>
                <a:gd name="connsiteX84" fmla="*/ 143495 w 2977768"/>
                <a:gd name="connsiteY84" fmla="*/ 348000 h 1613810"/>
                <a:gd name="connsiteX85" fmla="*/ 143495 w 2977768"/>
                <a:gd name="connsiteY85" fmla="*/ 415200 h 1613810"/>
                <a:gd name="connsiteX86" fmla="*/ 155116 w 2977768"/>
                <a:gd name="connsiteY86" fmla="*/ 415200 h 1613810"/>
                <a:gd name="connsiteX87" fmla="*/ 155116 w 2977768"/>
                <a:gd name="connsiteY87" fmla="*/ 445895 h 1613810"/>
                <a:gd name="connsiteX88" fmla="*/ 167495 w 2977768"/>
                <a:gd name="connsiteY88" fmla="*/ 445895 h 1613810"/>
                <a:gd name="connsiteX89" fmla="*/ 167495 w 2977768"/>
                <a:gd name="connsiteY89" fmla="*/ 491495 h 1613810"/>
                <a:gd name="connsiteX90" fmla="*/ 186568 w 2977768"/>
                <a:gd name="connsiteY90" fmla="*/ 491495 h 1613810"/>
                <a:gd name="connsiteX91" fmla="*/ 186568 w 2977768"/>
                <a:gd name="connsiteY91" fmla="*/ 529642 h 1613810"/>
                <a:gd name="connsiteX92" fmla="*/ 201474 w 2977768"/>
                <a:gd name="connsiteY92" fmla="*/ 529642 h 1613810"/>
                <a:gd name="connsiteX93" fmla="*/ 201474 w 2977768"/>
                <a:gd name="connsiteY93" fmla="*/ 592674 h 1613810"/>
                <a:gd name="connsiteX94" fmla="*/ 218021 w 2977768"/>
                <a:gd name="connsiteY94" fmla="*/ 592674 h 1613810"/>
                <a:gd name="connsiteX95" fmla="*/ 218021 w 2977768"/>
                <a:gd name="connsiteY95" fmla="*/ 613390 h 1613810"/>
                <a:gd name="connsiteX96" fmla="*/ 229642 w 2977768"/>
                <a:gd name="connsiteY96" fmla="*/ 613390 h 1613810"/>
                <a:gd name="connsiteX97" fmla="*/ 229642 w 2977768"/>
                <a:gd name="connsiteY97" fmla="*/ 681347 h 1613810"/>
                <a:gd name="connsiteX98" fmla="*/ 242905 w 2977768"/>
                <a:gd name="connsiteY98" fmla="*/ 681347 h 1613810"/>
                <a:gd name="connsiteX99" fmla="*/ 242905 w 2977768"/>
                <a:gd name="connsiteY99" fmla="*/ 706990 h 1613810"/>
                <a:gd name="connsiteX100" fmla="*/ 256168 w 2977768"/>
                <a:gd name="connsiteY100" fmla="*/ 706990 h 1613810"/>
                <a:gd name="connsiteX101" fmla="*/ 256168 w 2977768"/>
                <a:gd name="connsiteY101" fmla="*/ 735158 h 1613810"/>
                <a:gd name="connsiteX102" fmla="*/ 281811 w 2977768"/>
                <a:gd name="connsiteY102" fmla="*/ 735158 h 1613810"/>
                <a:gd name="connsiteX103" fmla="*/ 281811 w 2977768"/>
                <a:gd name="connsiteY103" fmla="*/ 774947 h 1613810"/>
                <a:gd name="connsiteX104" fmla="*/ 304168 w 2977768"/>
                <a:gd name="connsiteY104" fmla="*/ 774947 h 1613810"/>
                <a:gd name="connsiteX105" fmla="*/ 304168 w 2977768"/>
                <a:gd name="connsiteY105" fmla="*/ 805642 h 1613810"/>
                <a:gd name="connsiteX106" fmla="*/ 319958 w 2977768"/>
                <a:gd name="connsiteY106" fmla="*/ 805642 h 1613810"/>
                <a:gd name="connsiteX107" fmla="*/ 319958 w 2977768"/>
                <a:gd name="connsiteY107" fmla="*/ 830526 h 1613810"/>
                <a:gd name="connsiteX108" fmla="*/ 330695 w 2977768"/>
                <a:gd name="connsiteY108" fmla="*/ 830526 h 1613810"/>
                <a:gd name="connsiteX109" fmla="*/ 330695 w 2977768"/>
                <a:gd name="connsiteY109" fmla="*/ 861221 h 1613810"/>
                <a:gd name="connsiteX110" fmla="*/ 348884 w 2977768"/>
                <a:gd name="connsiteY110" fmla="*/ 861221 h 1613810"/>
                <a:gd name="connsiteX111" fmla="*/ 348884 w 2977768"/>
                <a:gd name="connsiteY111" fmla="*/ 873600 h 1613810"/>
                <a:gd name="connsiteX112" fmla="*/ 394484 w 2977768"/>
                <a:gd name="connsiteY112" fmla="*/ 873600 h 1613810"/>
                <a:gd name="connsiteX113" fmla="*/ 394484 w 2977768"/>
                <a:gd name="connsiteY113" fmla="*/ 883579 h 1613810"/>
                <a:gd name="connsiteX114" fmla="*/ 468253 w 2977768"/>
                <a:gd name="connsiteY114" fmla="*/ 883579 h 1613810"/>
                <a:gd name="connsiteX115" fmla="*/ 468253 w 2977768"/>
                <a:gd name="connsiteY115" fmla="*/ 918442 h 1613810"/>
                <a:gd name="connsiteX116" fmla="*/ 510569 w 2977768"/>
                <a:gd name="connsiteY116" fmla="*/ 918442 h 1613810"/>
                <a:gd name="connsiteX117" fmla="*/ 510569 w 2977768"/>
                <a:gd name="connsiteY117" fmla="*/ 944084 h 1613810"/>
                <a:gd name="connsiteX118" fmla="*/ 522947 w 2977768"/>
                <a:gd name="connsiteY118" fmla="*/ 944084 h 1613810"/>
                <a:gd name="connsiteX119" fmla="*/ 522947 w 2977768"/>
                <a:gd name="connsiteY119" fmla="*/ 971495 h 1613810"/>
                <a:gd name="connsiteX120" fmla="*/ 610863 w 2977768"/>
                <a:gd name="connsiteY120" fmla="*/ 971495 h 1613810"/>
                <a:gd name="connsiteX121" fmla="*/ 610863 w 2977768"/>
                <a:gd name="connsiteY121" fmla="*/ 1065221 h 1613810"/>
                <a:gd name="connsiteX122" fmla="*/ 686274 w 2977768"/>
                <a:gd name="connsiteY122" fmla="*/ 1065221 h 1613810"/>
                <a:gd name="connsiteX123" fmla="*/ 686274 w 2977768"/>
                <a:gd name="connsiteY123" fmla="*/ 1084295 h 1613810"/>
                <a:gd name="connsiteX124" fmla="*/ 758400 w 2977768"/>
                <a:gd name="connsiteY124" fmla="*/ 1084295 h 1613810"/>
                <a:gd name="connsiteX125" fmla="*/ 758400 w 2977768"/>
                <a:gd name="connsiteY125" fmla="*/ 1111705 h 1613810"/>
                <a:gd name="connsiteX126" fmla="*/ 865390 w 2977768"/>
                <a:gd name="connsiteY126" fmla="*/ 1111705 h 1613810"/>
                <a:gd name="connsiteX127" fmla="*/ 865390 w 2977768"/>
                <a:gd name="connsiteY127" fmla="*/ 1144800 h 1613810"/>
                <a:gd name="connsiteX128" fmla="*/ 1124842 w 2977768"/>
                <a:gd name="connsiteY128" fmla="*/ 1144800 h 1613810"/>
                <a:gd name="connsiteX129" fmla="*/ 1124842 w 2977768"/>
                <a:gd name="connsiteY129" fmla="*/ 1166400 h 1613810"/>
                <a:gd name="connsiteX130" fmla="*/ 1943874 w 2977768"/>
                <a:gd name="connsiteY130" fmla="*/ 1166400 h 1613810"/>
                <a:gd name="connsiteX131" fmla="*/ 1943874 w 2977768"/>
                <a:gd name="connsiteY131" fmla="*/ 1206190 h 1613810"/>
                <a:gd name="connsiteX132" fmla="*/ 2977516 w 2977768"/>
                <a:gd name="connsiteY132" fmla="*/ 1207074 h 1613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</a:cxnLst>
              <a:rect l="l" t="t" r="r" b="b"/>
              <a:pathLst>
                <a:path w="2977768" h="1613810">
                  <a:moveTo>
                    <a:pt x="2977769" y="1206821"/>
                  </a:moveTo>
                  <a:lnTo>
                    <a:pt x="2977769" y="1613811"/>
                  </a:lnTo>
                  <a:lnTo>
                    <a:pt x="1953221" y="1613811"/>
                  </a:lnTo>
                  <a:lnTo>
                    <a:pt x="1953221" y="1578190"/>
                  </a:lnTo>
                  <a:lnTo>
                    <a:pt x="1130905" y="1578190"/>
                  </a:lnTo>
                  <a:lnTo>
                    <a:pt x="1130905" y="1549137"/>
                  </a:lnTo>
                  <a:lnTo>
                    <a:pt x="907074" y="1549137"/>
                  </a:lnTo>
                  <a:lnTo>
                    <a:pt x="907074" y="1533347"/>
                  </a:lnTo>
                  <a:lnTo>
                    <a:pt x="869811" y="1533347"/>
                  </a:lnTo>
                  <a:lnTo>
                    <a:pt x="869811" y="1522611"/>
                  </a:lnTo>
                  <a:lnTo>
                    <a:pt x="834948" y="1522611"/>
                  </a:lnTo>
                  <a:lnTo>
                    <a:pt x="834948" y="1510232"/>
                  </a:lnTo>
                  <a:lnTo>
                    <a:pt x="740463" y="1510232"/>
                  </a:lnTo>
                  <a:lnTo>
                    <a:pt x="740463" y="1493684"/>
                  </a:lnTo>
                  <a:lnTo>
                    <a:pt x="702316" y="1493684"/>
                  </a:lnTo>
                  <a:lnTo>
                    <a:pt x="702316" y="1485347"/>
                  </a:lnTo>
                  <a:lnTo>
                    <a:pt x="661642" y="1485347"/>
                  </a:lnTo>
                  <a:lnTo>
                    <a:pt x="661642" y="1472084"/>
                  </a:lnTo>
                  <a:lnTo>
                    <a:pt x="637642" y="1472084"/>
                  </a:lnTo>
                  <a:lnTo>
                    <a:pt x="637642" y="1453011"/>
                  </a:lnTo>
                  <a:lnTo>
                    <a:pt x="614400" y="1453011"/>
                  </a:lnTo>
                  <a:lnTo>
                    <a:pt x="614400" y="1385053"/>
                  </a:lnTo>
                  <a:lnTo>
                    <a:pt x="527369" y="1385053"/>
                  </a:lnTo>
                  <a:lnTo>
                    <a:pt x="527369" y="1357642"/>
                  </a:lnTo>
                  <a:lnTo>
                    <a:pt x="498316" y="1357642"/>
                  </a:lnTo>
                  <a:lnTo>
                    <a:pt x="498316" y="1332000"/>
                  </a:lnTo>
                  <a:lnTo>
                    <a:pt x="451074" y="1332000"/>
                  </a:lnTo>
                  <a:lnTo>
                    <a:pt x="451074" y="1294737"/>
                  </a:lnTo>
                  <a:lnTo>
                    <a:pt x="363158" y="1294737"/>
                  </a:lnTo>
                  <a:lnTo>
                    <a:pt x="363158" y="1243326"/>
                  </a:lnTo>
                  <a:lnTo>
                    <a:pt x="314274" y="1243326"/>
                  </a:lnTo>
                  <a:lnTo>
                    <a:pt x="314274" y="1207705"/>
                  </a:lnTo>
                  <a:lnTo>
                    <a:pt x="288632" y="1207705"/>
                  </a:lnTo>
                  <a:lnTo>
                    <a:pt x="288632" y="1170442"/>
                  </a:lnTo>
                  <a:lnTo>
                    <a:pt x="272842" y="1170442"/>
                  </a:lnTo>
                  <a:lnTo>
                    <a:pt x="272842" y="1138105"/>
                  </a:lnTo>
                  <a:lnTo>
                    <a:pt x="244674" y="1138105"/>
                  </a:lnTo>
                  <a:lnTo>
                    <a:pt x="244674" y="1112463"/>
                  </a:lnTo>
                  <a:lnTo>
                    <a:pt x="230526" y="1112463"/>
                  </a:lnTo>
                  <a:lnTo>
                    <a:pt x="230526" y="1034526"/>
                  </a:lnTo>
                  <a:lnTo>
                    <a:pt x="218905" y="1034526"/>
                  </a:lnTo>
                  <a:lnTo>
                    <a:pt x="218905" y="982358"/>
                  </a:lnTo>
                  <a:lnTo>
                    <a:pt x="210568" y="982358"/>
                  </a:lnTo>
                  <a:lnTo>
                    <a:pt x="210568" y="940926"/>
                  </a:lnTo>
                  <a:lnTo>
                    <a:pt x="194779" y="940926"/>
                  </a:lnTo>
                  <a:lnTo>
                    <a:pt x="194779" y="902779"/>
                  </a:lnTo>
                  <a:lnTo>
                    <a:pt x="172421" y="902779"/>
                  </a:lnTo>
                  <a:lnTo>
                    <a:pt x="172421" y="848842"/>
                  </a:lnTo>
                  <a:lnTo>
                    <a:pt x="156632" y="848842"/>
                  </a:lnTo>
                  <a:lnTo>
                    <a:pt x="156632" y="791621"/>
                  </a:lnTo>
                  <a:lnTo>
                    <a:pt x="132632" y="791621"/>
                  </a:lnTo>
                  <a:lnTo>
                    <a:pt x="132632" y="745263"/>
                  </a:lnTo>
                  <a:lnTo>
                    <a:pt x="124295" y="745263"/>
                  </a:lnTo>
                  <a:lnTo>
                    <a:pt x="124295" y="698905"/>
                  </a:lnTo>
                  <a:lnTo>
                    <a:pt x="106863" y="698905"/>
                  </a:lnTo>
                  <a:lnTo>
                    <a:pt x="106863" y="594442"/>
                  </a:lnTo>
                  <a:lnTo>
                    <a:pt x="94484" y="594442"/>
                  </a:lnTo>
                  <a:lnTo>
                    <a:pt x="94484" y="540505"/>
                  </a:lnTo>
                  <a:lnTo>
                    <a:pt x="83747" y="540505"/>
                  </a:lnTo>
                  <a:lnTo>
                    <a:pt x="83747" y="483284"/>
                  </a:lnTo>
                  <a:lnTo>
                    <a:pt x="64674" y="483284"/>
                  </a:lnTo>
                  <a:lnTo>
                    <a:pt x="64674" y="368084"/>
                  </a:lnTo>
                  <a:lnTo>
                    <a:pt x="43958" y="368084"/>
                  </a:lnTo>
                  <a:lnTo>
                    <a:pt x="43958" y="262863"/>
                  </a:lnTo>
                  <a:lnTo>
                    <a:pt x="23242" y="262863"/>
                  </a:lnTo>
                  <a:lnTo>
                    <a:pt x="23242" y="151832"/>
                  </a:lnTo>
                  <a:lnTo>
                    <a:pt x="0" y="151832"/>
                  </a:lnTo>
                  <a:lnTo>
                    <a:pt x="0" y="0"/>
                  </a:lnTo>
                  <a:lnTo>
                    <a:pt x="20716" y="0"/>
                  </a:lnTo>
                  <a:lnTo>
                    <a:pt x="20716" y="28421"/>
                  </a:lnTo>
                  <a:lnTo>
                    <a:pt x="32337" y="28421"/>
                  </a:lnTo>
                  <a:lnTo>
                    <a:pt x="32337" y="87032"/>
                  </a:lnTo>
                  <a:lnTo>
                    <a:pt x="53053" y="87032"/>
                  </a:lnTo>
                  <a:lnTo>
                    <a:pt x="53053" y="150821"/>
                  </a:lnTo>
                  <a:lnTo>
                    <a:pt x="67958" y="150821"/>
                  </a:lnTo>
                  <a:lnTo>
                    <a:pt x="67958" y="183158"/>
                  </a:lnTo>
                  <a:lnTo>
                    <a:pt x="81221" y="183158"/>
                  </a:lnTo>
                  <a:lnTo>
                    <a:pt x="81221" y="216253"/>
                  </a:lnTo>
                  <a:lnTo>
                    <a:pt x="100295" y="216253"/>
                  </a:lnTo>
                  <a:cubicBezTo>
                    <a:pt x="100295" y="216253"/>
                    <a:pt x="97768" y="259326"/>
                    <a:pt x="100295" y="259326"/>
                  </a:cubicBezTo>
                  <a:lnTo>
                    <a:pt x="110274" y="259326"/>
                  </a:lnTo>
                  <a:lnTo>
                    <a:pt x="110274" y="337263"/>
                  </a:lnTo>
                  <a:lnTo>
                    <a:pt x="121895" y="337263"/>
                  </a:lnTo>
                  <a:lnTo>
                    <a:pt x="121895" y="348000"/>
                  </a:lnTo>
                  <a:lnTo>
                    <a:pt x="143495" y="348000"/>
                  </a:lnTo>
                  <a:lnTo>
                    <a:pt x="143495" y="415200"/>
                  </a:lnTo>
                  <a:lnTo>
                    <a:pt x="155116" y="415200"/>
                  </a:lnTo>
                  <a:lnTo>
                    <a:pt x="155116" y="445895"/>
                  </a:lnTo>
                  <a:lnTo>
                    <a:pt x="167495" y="445895"/>
                  </a:lnTo>
                  <a:lnTo>
                    <a:pt x="167495" y="491495"/>
                  </a:lnTo>
                  <a:lnTo>
                    <a:pt x="186568" y="491495"/>
                  </a:lnTo>
                  <a:lnTo>
                    <a:pt x="186568" y="529642"/>
                  </a:lnTo>
                  <a:lnTo>
                    <a:pt x="201474" y="529642"/>
                  </a:lnTo>
                  <a:lnTo>
                    <a:pt x="201474" y="592674"/>
                  </a:lnTo>
                  <a:lnTo>
                    <a:pt x="218021" y="592674"/>
                  </a:lnTo>
                  <a:lnTo>
                    <a:pt x="218021" y="613390"/>
                  </a:lnTo>
                  <a:lnTo>
                    <a:pt x="229642" y="613390"/>
                  </a:lnTo>
                  <a:lnTo>
                    <a:pt x="229642" y="681347"/>
                  </a:lnTo>
                  <a:lnTo>
                    <a:pt x="242905" y="681347"/>
                  </a:lnTo>
                  <a:lnTo>
                    <a:pt x="242905" y="706990"/>
                  </a:lnTo>
                  <a:lnTo>
                    <a:pt x="256168" y="706990"/>
                  </a:lnTo>
                  <a:lnTo>
                    <a:pt x="256168" y="735158"/>
                  </a:lnTo>
                  <a:lnTo>
                    <a:pt x="281811" y="735158"/>
                  </a:lnTo>
                  <a:lnTo>
                    <a:pt x="281811" y="774947"/>
                  </a:lnTo>
                  <a:lnTo>
                    <a:pt x="304168" y="774947"/>
                  </a:lnTo>
                  <a:lnTo>
                    <a:pt x="304168" y="805642"/>
                  </a:lnTo>
                  <a:lnTo>
                    <a:pt x="319958" y="805642"/>
                  </a:lnTo>
                  <a:lnTo>
                    <a:pt x="319958" y="830526"/>
                  </a:lnTo>
                  <a:lnTo>
                    <a:pt x="330695" y="830526"/>
                  </a:lnTo>
                  <a:lnTo>
                    <a:pt x="330695" y="861221"/>
                  </a:lnTo>
                  <a:lnTo>
                    <a:pt x="348884" y="861221"/>
                  </a:lnTo>
                  <a:lnTo>
                    <a:pt x="348884" y="873600"/>
                  </a:lnTo>
                  <a:lnTo>
                    <a:pt x="394484" y="873600"/>
                  </a:lnTo>
                  <a:lnTo>
                    <a:pt x="394484" y="883579"/>
                  </a:lnTo>
                  <a:lnTo>
                    <a:pt x="468253" y="883579"/>
                  </a:lnTo>
                  <a:lnTo>
                    <a:pt x="468253" y="918442"/>
                  </a:lnTo>
                  <a:lnTo>
                    <a:pt x="510569" y="918442"/>
                  </a:lnTo>
                  <a:lnTo>
                    <a:pt x="510569" y="944084"/>
                  </a:lnTo>
                  <a:lnTo>
                    <a:pt x="522947" y="944084"/>
                  </a:lnTo>
                  <a:lnTo>
                    <a:pt x="522947" y="971495"/>
                  </a:lnTo>
                  <a:lnTo>
                    <a:pt x="610863" y="971495"/>
                  </a:lnTo>
                  <a:lnTo>
                    <a:pt x="610863" y="1065221"/>
                  </a:lnTo>
                  <a:lnTo>
                    <a:pt x="686274" y="1065221"/>
                  </a:lnTo>
                  <a:lnTo>
                    <a:pt x="686274" y="1084295"/>
                  </a:lnTo>
                  <a:lnTo>
                    <a:pt x="758400" y="1084295"/>
                  </a:lnTo>
                  <a:lnTo>
                    <a:pt x="758400" y="1111705"/>
                  </a:lnTo>
                  <a:lnTo>
                    <a:pt x="865390" y="1111705"/>
                  </a:lnTo>
                  <a:lnTo>
                    <a:pt x="865390" y="1144800"/>
                  </a:lnTo>
                  <a:lnTo>
                    <a:pt x="1124842" y="1144800"/>
                  </a:lnTo>
                  <a:lnTo>
                    <a:pt x="1124842" y="1166400"/>
                  </a:lnTo>
                  <a:lnTo>
                    <a:pt x="1943874" y="1166400"/>
                  </a:lnTo>
                  <a:lnTo>
                    <a:pt x="1943874" y="1206190"/>
                  </a:lnTo>
                  <a:lnTo>
                    <a:pt x="2977516" y="1207074"/>
                  </a:lnTo>
                  <a:close/>
                </a:path>
              </a:pathLst>
            </a:custGeom>
            <a:solidFill>
              <a:srgbClr val="0460A9">
                <a:alpha val="30000"/>
              </a:srgbClr>
            </a:solidFill>
            <a:ln w="1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603" name="Grafik 17">
            <a:extLst>
              <a:ext uri="{FF2B5EF4-FFF2-40B4-BE49-F238E27FC236}">
                <a16:creationId xmlns:a16="http://schemas.microsoft.com/office/drawing/2014/main" id="{0DA2DDC9-1175-8EAA-78B6-866A34240E9D}"/>
              </a:ext>
            </a:extLst>
          </p:cNvPr>
          <p:cNvGrpSpPr/>
          <p:nvPr/>
        </p:nvGrpSpPr>
        <p:grpSpPr>
          <a:xfrm>
            <a:off x="5287474" y="2087075"/>
            <a:ext cx="3065810" cy="2161136"/>
            <a:chOff x="5287474" y="2087075"/>
            <a:chExt cx="3065810" cy="2161136"/>
          </a:xfrm>
          <a:noFill/>
        </p:grpSpPr>
        <p:sp>
          <p:nvSpPr>
            <p:cNvPr id="604" name="Freihandform: Form 603">
              <a:extLst>
                <a:ext uri="{FF2B5EF4-FFF2-40B4-BE49-F238E27FC236}">
                  <a16:creationId xmlns:a16="http://schemas.microsoft.com/office/drawing/2014/main" id="{1BD2CAE2-FB24-FB1C-9992-F91C75B08E7E}"/>
                </a:ext>
              </a:extLst>
            </p:cNvPr>
            <p:cNvSpPr/>
            <p:nvPr/>
          </p:nvSpPr>
          <p:spPr>
            <a:xfrm>
              <a:off x="5335474" y="2087075"/>
              <a:ext cx="3017810" cy="2114273"/>
            </a:xfrm>
            <a:custGeom>
              <a:avLst/>
              <a:gdLst>
                <a:gd name="connsiteX0" fmla="*/ 0 w 3017810"/>
                <a:gd name="connsiteY0" fmla="*/ 0 h 2114273"/>
                <a:gd name="connsiteX1" fmla="*/ 0 w 3017810"/>
                <a:gd name="connsiteY1" fmla="*/ 2114274 h 2114273"/>
                <a:gd name="connsiteX2" fmla="*/ 3017811 w 3017810"/>
                <a:gd name="connsiteY2" fmla="*/ 2114274 h 2114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17810" h="2114273">
                  <a:moveTo>
                    <a:pt x="0" y="0"/>
                  </a:moveTo>
                  <a:lnTo>
                    <a:pt x="0" y="2114274"/>
                  </a:lnTo>
                  <a:lnTo>
                    <a:pt x="3017811" y="2114274"/>
                  </a:lnTo>
                </a:path>
              </a:pathLst>
            </a:custGeom>
            <a:noFill/>
            <a:ln w="10160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605" name="Grafik 17">
              <a:extLst>
                <a:ext uri="{FF2B5EF4-FFF2-40B4-BE49-F238E27FC236}">
                  <a16:creationId xmlns:a16="http://schemas.microsoft.com/office/drawing/2014/main" id="{EE163797-7EA8-14F6-9817-EE35A8F693BC}"/>
                </a:ext>
              </a:extLst>
            </p:cNvPr>
            <p:cNvGrpSpPr/>
            <p:nvPr/>
          </p:nvGrpSpPr>
          <p:grpSpPr>
            <a:xfrm>
              <a:off x="5287474" y="2092127"/>
              <a:ext cx="48000" cy="2110610"/>
              <a:chOff x="5287474" y="2092127"/>
              <a:chExt cx="48000" cy="2110610"/>
            </a:xfrm>
          </p:grpSpPr>
          <p:sp>
            <p:nvSpPr>
              <p:cNvPr id="606" name="Freihandform: Form 605">
                <a:extLst>
                  <a:ext uri="{FF2B5EF4-FFF2-40B4-BE49-F238E27FC236}">
                    <a16:creationId xmlns:a16="http://schemas.microsoft.com/office/drawing/2014/main" id="{DCB3CFE4-97CF-220B-129C-9B18D0E553D2}"/>
                  </a:ext>
                </a:extLst>
              </p:cNvPr>
              <p:cNvSpPr/>
              <p:nvPr/>
            </p:nvSpPr>
            <p:spPr>
              <a:xfrm>
                <a:off x="5287474" y="2092127"/>
                <a:ext cx="48000" cy="12631"/>
              </a:xfrm>
              <a:custGeom>
                <a:avLst/>
                <a:gdLst>
                  <a:gd name="connsiteX0" fmla="*/ 0 w 48000"/>
                  <a:gd name="connsiteY0" fmla="*/ 0 h 12631"/>
                  <a:gd name="connsiteX1" fmla="*/ 48000 w 48000"/>
                  <a:gd name="connsiteY1" fmla="*/ 0 h 12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00" h="12631">
                    <a:moveTo>
                      <a:pt x="0" y="0"/>
                    </a:moveTo>
                    <a:lnTo>
                      <a:pt x="48000" y="0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7" name="Freihandform: Form 606">
                <a:extLst>
                  <a:ext uri="{FF2B5EF4-FFF2-40B4-BE49-F238E27FC236}">
                    <a16:creationId xmlns:a16="http://schemas.microsoft.com/office/drawing/2014/main" id="{5AE24DD5-D375-C0EE-65F9-3F838D1F01FB}"/>
                  </a:ext>
                </a:extLst>
              </p:cNvPr>
              <p:cNvSpPr/>
              <p:nvPr/>
            </p:nvSpPr>
            <p:spPr>
              <a:xfrm>
                <a:off x="5287474" y="2303201"/>
                <a:ext cx="48000" cy="12631"/>
              </a:xfrm>
              <a:custGeom>
                <a:avLst/>
                <a:gdLst>
                  <a:gd name="connsiteX0" fmla="*/ 0 w 48000"/>
                  <a:gd name="connsiteY0" fmla="*/ 0 h 12631"/>
                  <a:gd name="connsiteX1" fmla="*/ 48000 w 48000"/>
                  <a:gd name="connsiteY1" fmla="*/ 0 h 12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00" h="12631">
                    <a:moveTo>
                      <a:pt x="0" y="0"/>
                    </a:moveTo>
                    <a:lnTo>
                      <a:pt x="48000" y="0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8" name="Freihandform: Form 607">
                <a:extLst>
                  <a:ext uri="{FF2B5EF4-FFF2-40B4-BE49-F238E27FC236}">
                    <a16:creationId xmlns:a16="http://schemas.microsoft.com/office/drawing/2014/main" id="{19BB6811-371D-1ACC-999D-BC944DE785D7}"/>
                  </a:ext>
                </a:extLst>
              </p:cNvPr>
              <p:cNvSpPr/>
              <p:nvPr/>
            </p:nvSpPr>
            <p:spPr>
              <a:xfrm>
                <a:off x="5287474" y="2514275"/>
                <a:ext cx="48000" cy="12631"/>
              </a:xfrm>
              <a:custGeom>
                <a:avLst/>
                <a:gdLst>
                  <a:gd name="connsiteX0" fmla="*/ 0 w 48000"/>
                  <a:gd name="connsiteY0" fmla="*/ 0 h 12631"/>
                  <a:gd name="connsiteX1" fmla="*/ 48000 w 48000"/>
                  <a:gd name="connsiteY1" fmla="*/ 0 h 12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00" h="12631">
                    <a:moveTo>
                      <a:pt x="0" y="0"/>
                    </a:moveTo>
                    <a:lnTo>
                      <a:pt x="48000" y="0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9" name="Freihandform: Form 608">
                <a:extLst>
                  <a:ext uri="{FF2B5EF4-FFF2-40B4-BE49-F238E27FC236}">
                    <a16:creationId xmlns:a16="http://schemas.microsoft.com/office/drawing/2014/main" id="{AA66D297-3AC1-DD21-1C67-2E06AA3B46B2}"/>
                  </a:ext>
                </a:extLst>
              </p:cNvPr>
              <p:cNvSpPr/>
              <p:nvPr/>
            </p:nvSpPr>
            <p:spPr>
              <a:xfrm>
                <a:off x="5287474" y="2725348"/>
                <a:ext cx="48000" cy="12631"/>
              </a:xfrm>
              <a:custGeom>
                <a:avLst/>
                <a:gdLst>
                  <a:gd name="connsiteX0" fmla="*/ 0 w 48000"/>
                  <a:gd name="connsiteY0" fmla="*/ 0 h 12631"/>
                  <a:gd name="connsiteX1" fmla="*/ 48000 w 48000"/>
                  <a:gd name="connsiteY1" fmla="*/ 0 h 12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00" h="12631">
                    <a:moveTo>
                      <a:pt x="0" y="0"/>
                    </a:moveTo>
                    <a:lnTo>
                      <a:pt x="48000" y="0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0" name="Freihandform: Form 609">
                <a:extLst>
                  <a:ext uri="{FF2B5EF4-FFF2-40B4-BE49-F238E27FC236}">
                    <a16:creationId xmlns:a16="http://schemas.microsoft.com/office/drawing/2014/main" id="{917AD203-22CB-AD3C-9551-BF001E3D31B6}"/>
                  </a:ext>
                </a:extLst>
              </p:cNvPr>
              <p:cNvSpPr/>
              <p:nvPr/>
            </p:nvSpPr>
            <p:spPr>
              <a:xfrm>
                <a:off x="5287474" y="2936422"/>
                <a:ext cx="48000" cy="12631"/>
              </a:xfrm>
              <a:custGeom>
                <a:avLst/>
                <a:gdLst>
                  <a:gd name="connsiteX0" fmla="*/ 0 w 48000"/>
                  <a:gd name="connsiteY0" fmla="*/ 0 h 12631"/>
                  <a:gd name="connsiteX1" fmla="*/ 48000 w 48000"/>
                  <a:gd name="connsiteY1" fmla="*/ 0 h 12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00" h="12631">
                    <a:moveTo>
                      <a:pt x="0" y="0"/>
                    </a:moveTo>
                    <a:lnTo>
                      <a:pt x="48000" y="0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1" name="Freihandform: Form 610">
                <a:extLst>
                  <a:ext uri="{FF2B5EF4-FFF2-40B4-BE49-F238E27FC236}">
                    <a16:creationId xmlns:a16="http://schemas.microsoft.com/office/drawing/2014/main" id="{62E222AD-4C0F-5FA6-D6D2-807BE478F597}"/>
                  </a:ext>
                </a:extLst>
              </p:cNvPr>
              <p:cNvSpPr/>
              <p:nvPr/>
            </p:nvSpPr>
            <p:spPr>
              <a:xfrm>
                <a:off x="5287474" y="3147496"/>
                <a:ext cx="48000" cy="12631"/>
              </a:xfrm>
              <a:custGeom>
                <a:avLst/>
                <a:gdLst>
                  <a:gd name="connsiteX0" fmla="*/ 0 w 48000"/>
                  <a:gd name="connsiteY0" fmla="*/ 0 h 12631"/>
                  <a:gd name="connsiteX1" fmla="*/ 48000 w 48000"/>
                  <a:gd name="connsiteY1" fmla="*/ 0 h 12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00" h="12631">
                    <a:moveTo>
                      <a:pt x="0" y="0"/>
                    </a:moveTo>
                    <a:lnTo>
                      <a:pt x="48000" y="0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2" name="Freihandform: Form 611">
                <a:extLst>
                  <a:ext uri="{FF2B5EF4-FFF2-40B4-BE49-F238E27FC236}">
                    <a16:creationId xmlns:a16="http://schemas.microsoft.com/office/drawing/2014/main" id="{ABF63F7D-8800-29D0-B410-F6E3AC80F4E7}"/>
                  </a:ext>
                </a:extLst>
              </p:cNvPr>
              <p:cNvSpPr/>
              <p:nvPr/>
            </p:nvSpPr>
            <p:spPr>
              <a:xfrm>
                <a:off x="5287474" y="3358569"/>
                <a:ext cx="48000" cy="12631"/>
              </a:xfrm>
              <a:custGeom>
                <a:avLst/>
                <a:gdLst>
                  <a:gd name="connsiteX0" fmla="*/ 0 w 48000"/>
                  <a:gd name="connsiteY0" fmla="*/ 0 h 12631"/>
                  <a:gd name="connsiteX1" fmla="*/ 48000 w 48000"/>
                  <a:gd name="connsiteY1" fmla="*/ 0 h 12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00" h="12631">
                    <a:moveTo>
                      <a:pt x="0" y="0"/>
                    </a:moveTo>
                    <a:lnTo>
                      <a:pt x="48000" y="0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3" name="Freihandform: Form 612">
                <a:extLst>
                  <a:ext uri="{FF2B5EF4-FFF2-40B4-BE49-F238E27FC236}">
                    <a16:creationId xmlns:a16="http://schemas.microsoft.com/office/drawing/2014/main" id="{C3CFFCEB-8BFC-C5A0-4B1D-88522D974AA0}"/>
                  </a:ext>
                </a:extLst>
              </p:cNvPr>
              <p:cNvSpPr/>
              <p:nvPr/>
            </p:nvSpPr>
            <p:spPr>
              <a:xfrm>
                <a:off x="5287474" y="3569517"/>
                <a:ext cx="48000" cy="12631"/>
              </a:xfrm>
              <a:custGeom>
                <a:avLst/>
                <a:gdLst>
                  <a:gd name="connsiteX0" fmla="*/ 0 w 48000"/>
                  <a:gd name="connsiteY0" fmla="*/ 0 h 12631"/>
                  <a:gd name="connsiteX1" fmla="*/ 48000 w 48000"/>
                  <a:gd name="connsiteY1" fmla="*/ 0 h 12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00" h="12631">
                    <a:moveTo>
                      <a:pt x="0" y="0"/>
                    </a:moveTo>
                    <a:lnTo>
                      <a:pt x="48000" y="0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4" name="Freihandform: Form 613">
                <a:extLst>
                  <a:ext uri="{FF2B5EF4-FFF2-40B4-BE49-F238E27FC236}">
                    <a16:creationId xmlns:a16="http://schemas.microsoft.com/office/drawing/2014/main" id="{B63BEBBD-9E5D-EFB1-FE24-F3747BB5F761}"/>
                  </a:ext>
                </a:extLst>
              </p:cNvPr>
              <p:cNvSpPr/>
              <p:nvPr/>
            </p:nvSpPr>
            <p:spPr>
              <a:xfrm>
                <a:off x="5287474" y="3780590"/>
                <a:ext cx="48000" cy="12631"/>
              </a:xfrm>
              <a:custGeom>
                <a:avLst/>
                <a:gdLst>
                  <a:gd name="connsiteX0" fmla="*/ 0 w 48000"/>
                  <a:gd name="connsiteY0" fmla="*/ 0 h 12631"/>
                  <a:gd name="connsiteX1" fmla="*/ 48000 w 48000"/>
                  <a:gd name="connsiteY1" fmla="*/ 0 h 12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00" h="12631">
                    <a:moveTo>
                      <a:pt x="0" y="0"/>
                    </a:moveTo>
                    <a:lnTo>
                      <a:pt x="48000" y="0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5" name="Freihandform: Form 614">
                <a:extLst>
                  <a:ext uri="{FF2B5EF4-FFF2-40B4-BE49-F238E27FC236}">
                    <a16:creationId xmlns:a16="http://schemas.microsoft.com/office/drawing/2014/main" id="{D5D0D3B8-AA6A-AA16-9429-3E1ED8AD3F1B}"/>
                  </a:ext>
                </a:extLst>
              </p:cNvPr>
              <p:cNvSpPr/>
              <p:nvPr/>
            </p:nvSpPr>
            <p:spPr>
              <a:xfrm>
                <a:off x="5287474" y="3991664"/>
                <a:ext cx="48000" cy="12631"/>
              </a:xfrm>
              <a:custGeom>
                <a:avLst/>
                <a:gdLst>
                  <a:gd name="connsiteX0" fmla="*/ 0 w 48000"/>
                  <a:gd name="connsiteY0" fmla="*/ 0 h 12631"/>
                  <a:gd name="connsiteX1" fmla="*/ 48000 w 48000"/>
                  <a:gd name="connsiteY1" fmla="*/ 0 h 12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00" h="12631">
                    <a:moveTo>
                      <a:pt x="0" y="0"/>
                    </a:moveTo>
                    <a:lnTo>
                      <a:pt x="48000" y="0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6" name="Freihandform: Form 615">
                <a:extLst>
                  <a:ext uri="{FF2B5EF4-FFF2-40B4-BE49-F238E27FC236}">
                    <a16:creationId xmlns:a16="http://schemas.microsoft.com/office/drawing/2014/main" id="{CB6F7812-1AE7-8765-F1BC-ACEB1BBF34CD}"/>
                  </a:ext>
                </a:extLst>
              </p:cNvPr>
              <p:cNvSpPr/>
              <p:nvPr/>
            </p:nvSpPr>
            <p:spPr>
              <a:xfrm>
                <a:off x="5287474" y="4202738"/>
                <a:ext cx="48000" cy="12631"/>
              </a:xfrm>
              <a:custGeom>
                <a:avLst/>
                <a:gdLst>
                  <a:gd name="connsiteX0" fmla="*/ 0 w 48000"/>
                  <a:gd name="connsiteY0" fmla="*/ 0 h 12631"/>
                  <a:gd name="connsiteX1" fmla="*/ 48000 w 48000"/>
                  <a:gd name="connsiteY1" fmla="*/ 0 h 12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00" h="12631">
                    <a:moveTo>
                      <a:pt x="0" y="0"/>
                    </a:moveTo>
                    <a:lnTo>
                      <a:pt x="48000" y="0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17" name="Grafik 17">
              <a:extLst>
                <a:ext uri="{FF2B5EF4-FFF2-40B4-BE49-F238E27FC236}">
                  <a16:creationId xmlns:a16="http://schemas.microsoft.com/office/drawing/2014/main" id="{9B70ED9F-F489-8A0D-E841-8B6D8D492C7D}"/>
                </a:ext>
              </a:extLst>
            </p:cNvPr>
            <p:cNvGrpSpPr/>
            <p:nvPr/>
          </p:nvGrpSpPr>
          <p:grpSpPr>
            <a:xfrm>
              <a:off x="5335474" y="4201348"/>
              <a:ext cx="3012505" cy="46863"/>
              <a:chOff x="5335474" y="4201348"/>
              <a:chExt cx="3012505" cy="46863"/>
            </a:xfrm>
          </p:grpSpPr>
          <p:sp>
            <p:nvSpPr>
              <p:cNvPr id="618" name="Freihandform: Form 617">
                <a:extLst>
                  <a:ext uri="{FF2B5EF4-FFF2-40B4-BE49-F238E27FC236}">
                    <a16:creationId xmlns:a16="http://schemas.microsoft.com/office/drawing/2014/main" id="{E80D9BB4-B224-0BAB-437A-DD256A7796A4}"/>
                  </a:ext>
                </a:extLst>
              </p:cNvPr>
              <p:cNvSpPr/>
              <p:nvPr/>
            </p:nvSpPr>
            <p:spPr>
              <a:xfrm>
                <a:off x="5335474" y="4201348"/>
                <a:ext cx="12631" cy="46863"/>
              </a:xfrm>
              <a:custGeom>
                <a:avLst/>
                <a:gdLst>
                  <a:gd name="connsiteX0" fmla="*/ 0 w 12631"/>
                  <a:gd name="connsiteY0" fmla="*/ 0 h 46863"/>
                  <a:gd name="connsiteX1" fmla="*/ 0 w 12631"/>
                  <a:gd name="connsiteY1" fmla="*/ 46863 h 46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631" h="46863">
                    <a:moveTo>
                      <a:pt x="0" y="0"/>
                    </a:moveTo>
                    <a:lnTo>
                      <a:pt x="0" y="46863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9" name="Freihandform: Form 618">
                <a:extLst>
                  <a:ext uri="{FF2B5EF4-FFF2-40B4-BE49-F238E27FC236}">
                    <a16:creationId xmlns:a16="http://schemas.microsoft.com/office/drawing/2014/main" id="{6D5FE68C-BBBC-51F9-EFA5-71C2CD84E1A8}"/>
                  </a:ext>
                </a:extLst>
              </p:cNvPr>
              <p:cNvSpPr/>
              <p:nvPr/>
            </p:nvSpPr>
            <p:spPr>
              <a:xfrm>
                <a:off x="5523684" y="4201348"/>
                <a:ext cx="12631" cy="46863"/>
              </a:xfrm>
              <a:custGeom>
                <a:avLst/>
                <a:gdLst>
                  <a:gd name="connsiteX0" fmla="*/ 0 w 12631"/>
                  <a:gd name="connsiteY0" fmla="*/ 0 h 46863"/>
                  <a:gd name="connsiteX1" fmla="*/ 0 w 12631"/>
                  <a:gd name="connsiteY1" fmla="*/ 46863 h 46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631" h="46863">
                    <a:moveTo>
                      <a:pt x="0" y="0"/>
                    </a:moveTo>
                    <a:lnTo>
                      <a:pt x="0" y="46863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0" name="Freihandform: Form 619">
                <a:extLst>
                  <a:ext uri="{FF2B5EF4-FFF2-40B4-BE49-F238E27FC236}">
                    <a16:creationId xmlns:a16="http://schemas.microsoft.com/office/drawing/2014/main" id="{6D3534E3-AB16-FF27-4970-2D95E7E6AFEE}"/>
                  </a:ext>
                </a:extLst>
              </p:cNvPr>
              <p:cNvSpPr/>
              <p:nvPr/>
            </p:nvSpPr>
            <p:spPr>
              <a:xfrm>
                <a:off x="5712021" y="4201348"/>
                <a:ext cx="12631" cy="46863"/>
              </a:xfrm>
              <a:custGeom>
                <a:avLst/>
                <a:gdLst>
                  <a:gd name="connsiteX0" fmla="*/ 0 w 12631"/>
                  <a:gd name="connsiteY0" fmla="*/ 0 h 46863"/>
                  <a:gd name="connsiteX1" fmla="*/ 0 w 12631"/>
                  <a:gd name="connsiteY1" fmla="*/ 46863 h 46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631" h="46863">
                    <a:moveTo>
                      <a:pt x="0" y="0"/>
                    </a:moveTo>
                    <a:lnTo>
                      <a:pt x="0" y="46863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1" name="Freihandform: Form 620">
                <a:extLst>
                  <a:ext uri="{FF2B5EF4-FFF2-40B4-BE49-F238E27FC236}">
                    <a16:creationId xmlns:a16="http://schemas.microsoft.com/office/drawing/2014/main" id="{A59D8985-2233-D94E-660F-8489E1091B59}"/>
                  </a:ext>
                </a:extLst>
              </p:cNvPr>
              <p:cNvSpPr/>
              <p:nvPr/>
            </p:nvSpPr>
            <p:spPr>
              <a:xfrm>
                <a:off x="5900358" y="4201348"/>
                <a:ext cx="12631" cy="46863"/>
              </a:xfrm>
              <a:custGeom>
                <a:avLst/>
                <a:gdLst>
                  <a:gd name="connsiteX0" fmla="*/ 0 w 12631"/>
                  <a:gd name="connsiteY0" fmla="*/ 0 h 46863"/>
                  <a:gd name="connsiteX1" fmla="*/ 0 w 12631"/>
                  <a:gd name="connsiteY1" fmla="*/ 46863 h 46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631" h="46863">
                    <a:moveTo>
                      <a:pt x="0" y="0"/>
                    </a:moveTo>
                    <a:lnTo>
                      <a:pt x="0" y="46863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2" name="Freihandform: Form 621">
                <a:extLst>
                  <a:ext uri="{FF2B5EF4-FFF2-40B4-BE49-F238E27FC236}">
                    <a16:creationId xmlns:a16="http://schemas.microsoft.com/office/drawing/2014/main" id="{C2A98BE2-1CAF-D624-E1D0-C02F74C3D8F9}"/>
                  </a:ext>
                </a:extLst>
              </p:cNvPr>
              <p:cNvSpPr/>
              <p:nvPr/>
            </p:nvSpPr>
            <p:spPr>
              <a:xfrm>
                <a:off x="6088568" y="4201348"/>
                <a:ext cx="12631" cy="46863"/>
              </a:xfrm>
              <a:custGeom>
                <a:avLst/>
                <a:gdLst>
                  <a:gd name="connsiteX0" fmla="*/ 0 w 12631"/>
                  <a:gd name="connsiteY0" fmla="*/ 0 h 46863"/>
                  <a:gd name="connsiteX1" fmla="*/ 0 w 12631"/>
                  <a:gd name="connsiteY1" fmla="*/ 46863 h 46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631" h="46863">
                    <a:moveTo>
                      <a:pt x="0" y="0"/>
                    </a:moveTo>
                    <a:lnTo>
                      <a:pt x="0" y="46863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3" name="Freihandform: Form 622">
                <a:extLst>
                  <a:ext uri="{FF2B5EF4-FFF2-40B4-BE49-F238E27FC236}">
                    <a16:creationId xmlns:a16="http://schemas.microsoft.com/office/drawing/2014/main" id="{445C2A16-A846-616E-063B-1BC1758ACD0E}"/>
                  </a:ext>
                </a:extLst>
              </p:cNvPr>
              <p:cNvSpPr/>
              <p:nvPr/>
            </p:nvSpPr>
            <p:spPr>
              <a:xfrm>
                <a:off x="6276905" y="4201348"/>
                <a:ext cx="12631" cy="46863"/>
              </a:xfrm>
              <a:custGeom>
                <a:avLst/>
                <a:gdLst>
                  <a:gd name="connsiteX0" fmla="*/ 0 w 12631"/>
                  <a:gd name="connsiteY0" fmla="*/ 0 h 46863"/>
                  <a:gd name="connsiteX1" fmla="*/ 0 w 12631"/>
                  <a:gd name="connsiteY1" fmla="*/ 46863 h 46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631" h="46863">
                    <a:moveTo>
                      <a:pt x="0" y="0"/>
                    </a:moveTo>
                    <a:lnTo>
                      <a:pt x="0" y="46863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4" name="Freihandform: Form 623">
                <a:extLst>
                  <a:ext uri="{FF2B5EF4-FFF2-40B4-BE49-F238E27FC236}">
                    <a16:creationId xmlns:a16="http://schemas.microsoft.com/office/drawing/2014/main" id="{74B3F1FD-8D5D-3B26-E69A-FCD6378F9559}"/>
                  </a:ext>
                </a:extLst>
              </p:cNvPr>
              <p:cNvSpPr/>
              <p:nvPr/>
            </p:nvSpPr>
            <p:spPr>
              <a:xfrm>
                <a:off x="6465116" y="4201348"/>
                <a:ext cx="12631" cy="46863"/>
              </a:xfrm>
              <a:custGeom>
                <a:avLst/>
                <a:gdLst>
                  <a:gd name="connsiteX0" fmla="*/ 0 w 12631"/>
                  <a:gd name="connsiteY0" fmla="*/ 0 h 46863"/>
                  <a:gd name="connsiteX1" fmla="*/ 0 w 12631"/>
                  <a:gd name="connsiteY1" fmla="*/ 46863 h 46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631" h="46863">
                    <a:moveTo>
                      <a:pt x="0" y="0"/>
                    </a:moveTo>
                    <a:lnTo>
                      <a:pt x="0" y="46863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5" name="Freihandform: Form 624">
                <a:extLst>
                  <a:ext uri="{FF2B5EF4-FFF2-40B4-BE49-F238E27FC236}">
                    <a16:creationId xmlns:a16="http://schemas.microsoft.com/office/drawing/2014/main" id="{781DE9BA-4124-249C-7C8E-B8CA00E1F7D0}"/>
                  </a:ext>
                </a:extLst>
              </p:cNvPr>
              <p:cNvSpPr/>
              <p:nvPr/>
            </p:nvSpPr>
            <p:spPr>
              <a:xfrm>
                <a:off x="6653453" y="4201348"/>
                <a:ext cx="12631" cy="46863"/>
              </a:xfrm>
              <a:custGeom>
                <a:avLst/>
                <a:gdLst>
                  <a:gd name="connsiteX0" fmla="*/ 0 w 12631"/>
                  <a:gd name="connsiteY0" fmla="*/ 0 h 46863"/>
                  <a:gd name="connsiteX1" fmla="*/ 0 w 12631"/>
                  <a:gd name="connsiteY1" fmla="*/ 46863 h 46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631" h="46863">
                    <a:moveTo>
                      <a:pt x="0" y="0"/>
                    </a:moveTo>
                    <a:lnTo>
                      <a:pt x="0" y="46863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6" name="Freihandform: Form 625">
                <a:extLst>
                  <a:ext uri="{FF2B5EF4-FFF2-40B4-BE49-F238E27FC236}">
                    <a16:creationId xmlns:a16="http://schemas.microsoft.com/office/drawing/2014/main" id="{682283B5-EB9F-C740-9D8F-63D174C376E4}"/>
                  </a:ext>
                </a:extLst>
              </p:cNvPr>
              <p:cNvSpPr/>
              <p:nvPr/>
            </p:nvSpPr>
            <p:spPr>
              <a:xfrm>
                <a:off x="6841789" y="4201348"/>
                <a:ext cx="12631" cy="46863"/>
              </a:xfrm>
              <a:custGeom>
                <a:avLst/>
                <a:gdLst>
                  <a:gd name="connsiteX0" fmla="*/ 0 w 12631"/>
                  <a:gd name="connsiteY0" fmla="*/ 0 h 46863"/>
                  <a:gd name="connsiteX1" fmla="*/ 0 w 12631"/>
                  <a:gd name="connsiteY1" fmla="*/ 46863 h 46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631" h="46863">
                    <a:moveTo>
                      <a:pt x="0" y="0"/>
                    </a:moveTo>
                    <a:lnTo>
                      <a:pt x="0" y="46863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7" name="Freihandform: Form 626">
                <a:extLst>
                  <a:ext uri="{FF2B5EF4-FFF2-40B4-BE49-F238E27FC236}">
                    <a16:creationId xmlns:a16="http://schemas.microsoft.com/office/drawing/2014/main" id="{E93EC8E5-AB1C-77EF-8F09-292A4FDF3C24}"/>
                  </a:ext>
                </a:extLst>
              </p:cNvPr>
              <p:cNvSpPr/>
              <p:nvPr/>
            </p:nvSpPr>
            <p:spPr>
              <a:xfrm>
                <a:off x="7030000" y="4201348"/>
                <a:ext cx="12631" cy="46863"/>
              </a:xfrm>
              <a:custGeom>
                <a:avLst/>
                <a:gdLst>
                  <a:gd name="connsiteX0" fmla="*/ 0 w 12631"/>
                  <a:gd name="connsiteY0" fmla="*/ 0 h 46863"/>
                  <a:gd name="connsiteX1" fmla="*/ 0 w 12631"/>
                  <a:gd name="connsiteY1" fmla="*/ 46863 h 46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631" h="46863">
                    <a:moveTo>
                      <a:pt x="0" y="0"/>
                    </a:moveTo>
                    <a:lnTo>
                      <a:pt x="0" y="46863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8" name="Freihandform: Form 627">
                <a:extLst>
                  <a:ext uri="{FF2B5EF4-FFF2-40B4-BE49-F238E27FC236}">
                    <a16:creationId xmlns:a16="http://schemas.microsoft.com/office/drawing/2014/main" id="{67231318-79EB-D727-61F6-A2AB4E3CB512}"/>
                  </a:ext>
                </a:extLst>
              </p:cNvPr>
              <p:cNvSpPr/>
              <p:nvPr/>
            </p:nvSpPr>
            <p:spPr>
              <a:xfrm>
                <a:off x="7218337" y="4201348"/>
                <a:ext cx="12631" cy="46863"/>
              </a:xfrm>
              <a:custGeom>
                <a:avLst/>
                <a:gdLst>
                  <a:gd name="connsiteX0" fmla="*/ 0 w 12631"/>
                  <a:gd name="connsiteY0" fmla="*/ 0 h 46863"/>
                  <a:gd name="connsiteX1" fmla="*/ 0 w 12631"/>
                  <a:gd name="connsiteY1" fmla="*/ 46863 h 46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631" h="46863">
                    <a:moveTo>
                      <a:pt x="0" y="0"/>
                    </a:moveTo>
                    <a:lnTo>
                      <a:pt x="0" y="46863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9" name="Freihandform: Form 628">
                <a:extLst>
                  <a:ext uri="{FF2B5EF4-FFF2-40B4-BE49-F238E27FC236}">
                    <a16:creationId xmlns:a16="http://schemas.microsoft.com/office/drawing/2014/main" id="{AA0555B3-CF04-F808-C5B0-21E45DA2BC77}"/>
                  </a:ext>
                </a:extLst>
              </p:cNvPr>
              <p:cNvSpPr/>
              <p:nvPr/>
            </p:nvSpPr>
            <p:spPr>
              <a:xfrm>
                <a:off x="7406547" y="4201348"/>
                <a:ext cx="12631" cy="46863"/>
              </a:xfrm>
              <a:custGeom>
                <a:avLst/>
                <a:gdLst>
                  <a:gd name="connsiteX0" fmla="*/ 0 w 12631"/>
                  <a:gd name="connsiteY0" fmla="*/ 0 h 46863"/>
                  <a:gd name="connsiteX1" fmla="*/ 0 w 12631"/>
                  <a:gd name="connsiteY1" fmla="*/ 46863 h 46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631" h="46863">
                    <a:moveTo>
                      <a:pt x="0" y="0"/>
                    </a:moveTo>
                    <a:lnTo>
                      <a:pt x="0" y="46863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30" name="Freihandform: Form 629">
                <a:extLst>
                  <a:ext uri="{FF2B5EF4-FFF2-40B4-BE49-F238E27FC236}">
                    <a16:creationId xmlns:a16="http://schemas.microsoft.com/office/drawing/2014/main" id="{1FA536BD-EE40-47DE-177B-4F437E9BADA3}"/>
                  </a:ext>
                </a:extLst>
              </p:cNvPr>
              <p:cNvSpPr/>
              <p:nvPr/>
            </p:nvSpPr>
            <p:spPr>
              <a:xfrm>
                <a:off x="7594884" y="4201348"/>
                <a:ext cx="12631" cy="46863"/>
              </a:xfrm>
              <a:custGeom>
                <a:avLst/>
                <a:gdLst>
                  <a:gd name="connsiteX0" fmla="*/ 0 w 12631"/>
                  <a:gd name="connsiteY0" fmla="*/ 0 h 46863"/>
                  <a:gd name="connsiteX1" fmla="*/ 0 w 12631"/>
                  <a:gd name="connsiteY1" fmla="*/ 46863 h 46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631" h="46863">
                    <a:moveTo>
                      <a:pt x="0" y="0"/>
                    </a:moveTo>
                    <a:lnTo>
                      <a:pt x="0" y="46863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31" name="Freihandform: Form 630">
                <a:extLst>
                  <a:ext uri="{FF2B5EF4-FFF2-40B4-BE49-F238E27FC236}">
                    <a16:creationId xmlns:a16="http://schemas.microsoft.com/office/drawing/2014/main" id="{9971F6F3-3470-75F2-B4EE-63C0F42BEB64}"/>
                  </a:ext>
                </a:extLst>
              </p:cNvPr>
              <p:cNvSpPr/>
              <p:nvPr/>
            </p:nvSpPr>
            <p:spPr>
              <a:xfrm>
                <a:off x="7783095" y="4201348"/>
                <a:ext cx="12631" cy="46863"/>
              </a:xfrm>
              <a:custGeom>
                <a:avLst/>
                <a:gdLst>
                  <a:gd name="connsiteX0" fmla="*/ 0 w 12631"/>
                  <a:gd name="connsiteY0" fmla="*/ 0 h 46863"/>
                  <a:gd name="connsiteX1" fmla="*/ 0 w 12631"/>
                  <a:gd name="connsiteY1" fmla="*/ 46863 h 46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631" h="46863">
                    <a:moveTo>
                      <a:pt x="0" y="0"/>
                    </a:moveTo>
                    <a:lnTo>
                      <a:pt x="0" y="46863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32" name="Freihandform: Form 631">
                <a:extLst>
                  <a:ext uri="{FF2B5EF4-FFF2-40B4-BE49-F238E27FC236}">
                    <a16:creationId xmlns:a16="http://schemas.microsoft.com/office/drawing/2014/main" id="{B6F289E7-8EA5-07EB-C14D-DCD591FCC124}"/>
                  </a:ext>
                </a:extLst>
              </p:cNvPr>
              <p:cNvSpPr/>
              <p:nvPr/>
            </p:nvSpPr>
            <p:spPr>
              <a:xfrm>
                <a:off x="7971432" y="4201348"/>
                <a:ext cx="12631" cy="46863"/>
              </a:xfrm>
              <a:custGeom>
                <a:avLst/>
                <a:gdLst>
                  <a:gd name="connsiteX0" fmla="*/ 0 w 12631"/>
                  <a:gd name="connsiteY0" fmla="*/ 0 h 46863"/>
                  <a:gd name="connsiteX1" fmla="*/ 0 w 12631"/>
                  <a:gd name="connsiteY1" fmla="*/ 46863 h 46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631" h="46863">
                    <a:moveTo>
                      <a:pt x="0" y="0"/>
                    </a:moveTo>
                    <a:lnTo>
                      <a:pt x="0" y="46863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33" name="Freihandform: Form 632">
                <a:extLst>
                  <a:ext uri="{FF2B5EF4-FFF2-40B4-BE49-F238E27FC236}">
                    <a16:creationId xmlns:a16="http://schemas.microsoft.com/office/drawing/2014/main" id="{4DC28DF2-79ED-B0B7-1F82-D4FC649BF0A9}"/>
                  </a:ext>
                </a:extLst>
              </p:cNvPr>
              <p:cNvSpPr/>
              <p:nvPr/>
            </p:nvSpPr>
            <p:spPr>
              <a:xfrm>
                <a:off x="8159769" y="4201348"/>
                <a:ext cx="12631" cy="46863"/>
              </a:xfrm>
              <a:custGeom>
                <a:avLst/>
                <a:gdLst>
                  <a:gd name="connsiteX0" fmla="*/ 0 w 12631"/>
                  <a:gd name="connsiteY0" fmla="*/ 0 h 46863"/>
                  <a:gd name="connsiteX1" fmla="*/ 0 w 12631"/>
                  <a:gd name="connsiteY1" fmla="*/ 46863 h 46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631" h="46863">
                    <a:moveTo>
                      <a:pt x="0" y="0"/>
                    </a:moveTo>
                    <a:lnTo>
                      <a:pt x="0" y="46863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34" name="Freihandform: Form 633">
                <a:extLst>
                  <a:ext uri="{FF2B5EF4-FFF2-40B4-BE49-F238E27FC236}">
                    <a16:creationId xmlns:a16="http://schemas.microsoft.com/office/drawing/2014/main" id="{6936F841-645D-27CD-31EA-C3AF97F33BF3}"/>
                  </a:ext>
                </a:extLst>
              </p:cNvPr>
              <p:cNvSpPr/>
              <p:nvPr/>
            </p:nvSpPr>
            <p:spPr>
              <a:xfrm>
                <a:off x="8347979" y="4201348"/>
                <a:ext cx="12631" cy="46863"/>
              </a:xfrm>
              <a:custGeom>
                <a:avLst/>
                <a:gdLst>
                  <a:gd name="connsiteX0" fmla="*/ 0 w 12631"/>
                  <a:gd name="connsiteY0" fmla="*/ 0 h 46863"/>
                  <a:gd name="connsiteX1" fmla="*/ 0 w 12631"/>
                  <a:gd name="connsiteY1" fmla="*/ 46863 h 46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631" h="46863">
                    <a:moveTo>
                      <a:pt x="0" y="0"/>
                    </a:moveTo>
                    <a:lnTo>
                      <a:pt x="0" y="46863"/>
                    </a:lnTo>
                  </a:path>
                </a:pathLst>
              </a:custGeom>
              <a:ln w="1016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E88CD067-83FA-7839-CC3E-C853819CA97F}"/>
              </a:ext>
            </a:extLst>
          </p:cNvPr>
          <p:cNvGrpSpPr/>
          <p:nvPr/>
        </p:nvGrpSpPr>
        <p:grpSpPr>
          <a:xfrm>
            <a:off x="915829" y="2029066"/>
            <a:ext cx="208385" cy="2233635"/>
            <a:chOff x="915829" y="2013302"/>
            <a:chExt cx="208385" cy="2226648"/>
          </a:xfrm>
        </p:grpSpPr>
        <p:sp>
          <p:nvSpPr>
            <p:cNvPr id="20" name="TextBox 18, chunk 1">
              <a:extLst>
                <a:ext uri="{FF2B5EF4-FFF2-40B4-BE49-F238E27FC236}">
                  <a16:creationId xmlns:a16="http://schemas.microsoft.com/office/drawing/2014/main" id="{DE52617E-EDA7-8A5D-C00F-B651A2882395}"/>
                </a:ext>
              </a:extLst>
            </p:cNvPr>
            <p:cNvSpPr txBox="1"/>
            <p:nvPr/>
          </p:nvSpPr>
          <p:spPr>
            <a:xfrm>
              <a:off x="915829" y="2013302"/>
              <a:ext cx="208385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000"/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1,0</a:t>
              </a: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1" name="TextBox 18, chunk 2">
              <a:extLst>
                <a:ext uri="{FF2B5EF4-FFF2-40B4-BE49-F238E27FC236}">
                  <a16:creationId xmlns:a16="http://schemas.microsoft.com/office/drawing/2014/main" id="{C77D092C-3335-F4CE-D6B0-5246C26E2BCA}"/>
                </a:ext>
              </a:extLst>
            </p:cNvPr>
            <p:cNvSpPr txBox="1"/>
            <p:nvPr/>
          </p:nvSpPr>
          <p:spPr>
            <a:xfrm>
              <a:off x="915829" y="2223656"/>
              <a:ext cx="208385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000"/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9</a:t>
              </a: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" name="TextBox 18, chunk 3">
              <a:extLst>
                <a:ext uri="{FF2B5EF4-FFF2-40B4-BE49-F238E27FC236}">
                  <a16:creationId xmlns:a16="http://schemas.microsoft.com/office/drawing/2014/main" id="{83749431-438C-B46A-82B5-2E320D9E5D68}"/>
                </a:ext>
              </a:extLst>
            </p:cNvPr>
            <p:cNvSpPr txBox="1"/>
            <p:nvPr/>
          </p:nvSpPr>
          <p:spPr>
            <a:xfrm>
              <a:off x="915829" y="2434010"/>
              <a:ext cx="208385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000"/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8</a:t>
              </a: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" name="TextBox 18, chunk 4">
              <a:extLst>
                <a:ext uri="{FF2B5EF4-FFF2-40B4-BE49-F238E27FC236}">
                  <a16:creationId xmlns:a16="http://schemas.microsoft.com/office/drawing/2014/main" id="{8124256F-139A-61F2-0D49-B00E271A464E}"/>
                </a:ext>
              </a:extLst>
            </p:cNvPr>
            <p:cNvSpPr txBox="1"/>
            <p:nvPr/>
          </p:nvSpPr>
          <p:spPr>
            <a:xfrm>
              <a:off x="915829" y="2644364"/>
              <a:ext cx="208385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000"/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7</a:t>
              </a: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" name="TextBox 18, chunk 5">
              <a:extLst>
                <a:ext uri="{FF2B5EF4-FFF2-40B4-BE49-F238E27FC236}">
                  <a16:creationId xmlns:a16="http://schemas.microsoft.com/office/drawing/2014/main" id="{BCA455D2-39FC-DFDC-72FD-9A2876132271}"/>
                </a:ext>
              </a:extLst>
            </p:cNvPr>
            <p:cNvSpPr txBox="1"/>
            <p:nvPr/>
          </p:nvSpPr>
          <p:spPr>
            <a:xfrm>
              <a:off x="915829" y="2854718"/>
              <a:ext cx="208385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000"/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6</a:t>
              </a: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" name="TextBox 18, chunk 6">
              <a:extLst>
                <a:ext uri="{FF2B5EF4-FFF2-40B4-BE49-F238E27FC236}">
                  <a16:creationId xmlns:a16="http://schemas.microsoft.com/office/drawing/2014/main" id="{BC7CAA59-196F-419E-0792-E04DEAB4A62C}"/>
                </a:ext>
              </a:extLst>
            </p:cNvPr>
            <p:cNvSpPr txBox="1"/>
            <p:nvPr/>
          </p:nvSpPr>
          <p:spPr>
            <a:xfrm>
              <a:off x="915829" y="3065072"/>
              <a:ext cx="208385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000"/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5</a:t>
              </a: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" name="TextBox 18, chunk 7">
              <a:extLst>
                <a:ext uri="{FF2B5EF4-FFF2-40B4-BE49-F238E27FC236}">
                  <a16:creationId xmlns:a16="http://schemas.microsoft.com/office/drawing/2014/main" id="{5BE98E51-4002-5275-53EF-9BE4D7BA2C78}"/>
                </a:ext>
              </a:extLst>
            </p:cNvPr>
            <p:cNvSpPr txBox="1"/>
            <p:nvPr/>
          </p:nvSpPr>
          <p:spPr>
            <a:xfrm>
              <a:off x="915829" y="3275426"/>
              <a:ext cx="208385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000"/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4</a:t>
              </a: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" name="TextBox 18, chunk 8">
              <a:extLst>
                <a:ext uri="{FF2B5EF4-FFF2-40B4-BE49-F238E27FC236}">
                  <a16:creationId xmlns:a16="http://schemas.microsoft.com/office/drawing/2014/main" id="{66821046-BAEB-AE3B-1112-1608EF0034C7}"/>
                </a:ext>
              </a:extLst>
            </p:cNvPr>
            <p:cNvSpPr txBox="1"/>
            <p:nvPr/>
          </p:nvSpPr>
          <p:spPr>
            <a:xfrm>
              <a:off x="915829" y="3485780"/>
              <a:ext cx="208385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000"/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3</a:t>
              </a: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TextBox 18, chunk 9">
              <a:extLst>
                <a:ext uri="{FF2B5EF4-FFF2-40B4-BE49-F238E27FC236}">
                  <a16:creationId xmlns:a16="http://schemas.microsoft.com/office/drawing/2014/main" id="{C545B612-0A4D-17CC-4BE9-B7C9D12EA3E7}"/>
                </a:ext>
              </a:extLst>
            </p:cNvPr>
            <p:cNvSpPr txBox="1"/>
            <p:nvPr/>
          </p:nvSpPr>
          <p:spPr>
            <a:xfrm>
              <a:off x="915829" y="3696134"/>
              <a:ext cx="208385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000"/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2</a:t>
              </a:r>
            </a:p>
          </p:txBody>
        </p:sp>
        <p:sp>
          <p:nvSpPr>
            <p:cNvPr id="31" name="TextBox 18, chunk 10">
              <a:extLst>
                <a:ext uri="{FF2B5EF4-FFF2-40B4-BE49-F238E27FC236}">
                  <a16:creationId xmlns:a16="http://schemas.microsoft.com/office/drawing/2014/main" id="{E4A1170F-049E-074B-DCB8-4D64FB707116}"/>
                </a:ext>
              </a:extLst>
            </p:cNvPr>
            <p:cNvSpPr txBox="1"/>
            <p:nvPr/>
          </p:nvSpPr>
          <p:spPr>
            <a:xfrm>
              <a:off x="915829" y="3906488"/>
              <a:ext cx="208385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000"/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1</a:t>
              </a: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" name="TextBox 18, chunk 11">
              <a:extLst>
                <a:ext uri="{FF2B5EF4-FFF2-40B4-BE49-F238E27FC236}">
                  <a16:creationId xmlns:a16="http://schemas.microsoft.com/office/drawing/2014/main" id="{408D86EC-8F6E-A143-F1C2-B8B802E8898F}"/>
                </a:ext>
              </a:extLst>
            </p:cNvPr>
            <p:cNvSpPr txBox="1"/>
            <p:nvPr/>
          </p:nvSpPr>
          <p:spPr>
            <a:xfrm>
              <a:off x="915829" y="4116839"/>
              <a:ext cx="208385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000"/>
              </a:lvl1pPr>
            </a:lstStyle>
            <a:p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0</a:t>
              </a:r>
              <a:endParaRPr lang="de-DE" sz="800" dirty="0"/>
            </a:p>
          </p:txBody>
        </p:sp>
      </p:grpSp>
      <p:sp>
        <p:nvSpPr>
          <p:cNvPr id="35" name="TextBox 18, chunk 11">
            <a:extLst>
              <a:ext uri="{FF2B5EF4-FFF2-40B4-BE49-F238E27FC236}">
                <a16:creationId xmlns:a16="http://schemas.microsoft.com/office/drawing/2014/main" id="{0429DFBD-1166-C394-A926-1D29A2169CFF}"/>
              </a:ext>
            </a:extLst>
          </p:cNvPr>
          <p:cNvSpPr txBox="1"/>
          <p:nvPr/>
        </p:nvSpPr>
        <p:spPr>
          <a:xfrm>
            <a:off x="1139126" y="4262701"/>
            <a:ext cx="135565" cy="12311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algn="r">
              <a:defRPr sz="1000"/>
            </a:lvl1pPr>
          </a:lstStyle>
          <a:p>
            <a:pPr algn="ctr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</a:t>
            </a:r>
            <a:endParaRPr lang="de-DE" sz="800" dirty="0"/>
          </a:p>
        </p:txBody>
      </p:sp>
      <p:sp>
        <p:nvSpPr>
          <p:cNvPr id="36" name="TextBox 18, chunk 11">
            <a:extLst>
              <a:ext uri="{FF2B5EF4-FFF2-40B4-BE49-F238E27FC236}">
                <a16:creationId xmlns:a16="http://schemas.microsoft.com/office/drawing/2014/main" id="{2534DBB9-8011-ED8F-336F-7BA32365888E}"/>
              </a:ext>
            </a:extLst>
          </p:cNvPr>
          <p:cNvSpPr txBox="1"/>
          <p:nvPr/>
        </p:nvSpPr>
        <p:spPr>
          <a:xfrm>
            <a:off x="1323582" y="4262701"/>
            <a:ext cx="135565" cy="12311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algn="r">
              <a:defRPr sz="1000"/>
            </a:lvl1pPr>
          </a:lstStyle>
          <a:p>
            <a:pPr algn="ctr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  <a:endParaRPr lang="de-DE" sz="800" dirty="0"/>
          </a:p>
        </p:txBody>
      </p:sp>
      <p:sp>
        <p:nvSpPr>
          <p:cNvPr id="37" name="TextBox 18, chunk 11">
            <a:extLst>
              <a:ext uri="{FF2B5EF4-FFF2-40B4-BE49-F238E27FC236}">
                <a16:creationId xmlns:a16="http://schemas.microsoft.com/office/drawing/2014/main" id="{66D02C0A-CDDB-850B-5E06-E6D78D489754}"/>
              </a:ext>
            </a:extLst>
          </p:cNvPr>
          <p:cNvSpPr txBox="1"/>
          <p:nvPr/>
        </p:nvSpPr>
        <p:spPr>
          <a:xfrm>
            <a:off x="4090430" y="4262701"/>
            <a:ext cx="135565" cy="12311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algn="r">
              <a:defRPr sz="1000"/>
            </a:lvl1pPr>
          </a:lstStyle>
          <a:p>
            <a:pPr algn="ctr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8</a:t>
            </a:r>
            <a:endParaRPr lang="de-DE" sz="800" dirty="0"/>
          </a:p>
        </p:txBody>
      </p:sp>
      <p:sp>
        <p:nvSpPr>
          <p:cNvPr id="38" name="TextBox 18, chunk 11">
            <a:extLst>
              <a:ext uri="{FF2B5EF4-FFF2-40B4-BE49-F238E27FC236}">
                <a16:creationId xmlns:a16="http://schemas.microsoft.com/office/drawing/2014/main" id="{979265D6-0EDD-F8AC-C96B-43D73E5EC3F0}"/>
              </a:ext>
            </a:extLst>
          </p:cNvPr>
          <p:cNvSpPr txBox="1"/>
          <p:nvPr/>
        </p:nvSpPr>
        <p:spPr>
          <a:xfrm>
            <a:off x="3905980" y="4262701"/>
            <a:ext cx="135565" cy="12311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algn="r">
              <a:defRPr sz="1000"/>
            </a:lvl1pPr>
          </a:lstStyle>
          <a:p>
            <a:pPr algn="ctr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5</a:t>
            </a:r>
            <a:endParaRPr lang="de-DE" sz="800" dirty="0"/>
          </a:p>
        </p:txBody>
      </p:sp>
      <p:sp>
        <p:nvSpPr>
          <p:cNvPr id="39" name="TextBox 18, chunk 11">
            <a:extLst>
              <a:ext uri="{FF2B5EF4-FFF2-40B4-BE49-F238E27FC236}">
                <a16:creationId xmlns:a16="http://schemas.microsoft.com/office/drawing/2014/main" id="{3AB64C06-7C4E-D053-DED5-22857F9EE25B}"/>
              </a:ext>
            </a:extLst>
          </p:cNvPr>
          <p:cNvSpPr txBox="1"/>
          <p:nvPr/>
        </p:nvSpPr>
        <p:spPr>
          <a:xfrm>
            <a:off x="3721523" y="4262701"/>
            <a:ext cx="135565" cy="12311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algn="r">
              <a:defRPr sz="1000"/>
            </a:lvl1pPr>
          </a:lstStyle>
          <a:p>
            <a:pPr algn="ctr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2</a:t>
            </a:r>
            <a:endParaRPr lang="de-DE" sz="800" dirty="0"/>
          </a:p>
        </p:txBody>
      </p:sp>
      <p:sp>
        <p:nvSpPr>
          <p:cNvPr id="40" name="TextBox 18, chunk 11">
            <a:extLst>
              <a:ext uri="{FF2B5EF4-FFF2-40B4-BE49-F238E27FC236}">
                <a16:creationId xmlns:a16="http://schemas.microsoft.com/office/drawing/2014/main" id="{F315495C-3BB8-38B5-73F8-8C6E81450FA9}"/>
              </a:ext>
            </a:extLst>
          </p:cNvPr>
          <p:cNvSpPr txBox="1"/>
          <p:nvPr/>
        </p:nvSpPr>
        <p:spPr>
          <a:xfrm>
            <a:off x="3537066" y="4262701"/>
            <a:ext cx="135565" cy="12311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algn="r">
              <a:defRPr sz="1000"/>
            </a:lvl1pPr>
          </a:lstStyle>
          <a:p>
            <a:pPr algn="ctr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9</a:t>
            </a:r>
            <a:endParaRPr lang="de-DE" sz="800" dirty="0"/>
          </a:p>
        </p:txBody>
      </p:sp>
      <p:sp>
        <p:nvSpPr>
          <p:cNvPr id="41" name="TextBox 18, chunk 11">
            <a:extLst>
              <a:ext uri="{FF2B5EF4-FFF2-40B4-BE49-F238E27FC236}">
                <a16:creationId xmlns:a16="http://schemas.microsoft.com/office/drawing/2014/main" id="{5739BF6D-7B6F-0F67-DF44-1838C42AEAF1}"/>
              </a:ext>
            </a:extLst>
          </p:cNvPr>
          <p:cNvSpPr txBox="1"/>
          <p:nvPr/>
        </p:nvSpPr>
        <p:spPr>
          <a:xfrm>
            <a:off x="3352609" y="4262701"/>
            <a:ext cx="135565" cy="12311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algn="r">
              <a:defRPr sz="1000"/>
            </a:lvl1pPr>
          </a:lstStyle>
          <a:p>
            <a:pPr algn="ctr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6</a:t>
            </a:r>
            <a:endParaRPr lang="de-DE" sz="800" dirty="0"/>
          </a:p>
        </p:txBody>
      </p:sp>
      <p:sp>
        <p:nvSpPr>
          <p:cNvPr id="42" name="TextBox 18, chunk 11">
            <a:extLst>
              <a:ext uri="{FF2B5EF4-FFF2-40B4-BE49-F238E27FC236}">
                <a16:creationId xmlns:a16="http://schemas.microsoft.com/office/drawing/2014/main" id="{CF3F638D-374B-E1BF-C90D-0C04EDADA26F}"/>
              </a:ext>
            </a:extLst>
          </p:cNvPr>
          <p:cNvSpPr txBox="1"/>
          <p:nvPr/>
        </p:nvSpPr>
        <p:spPr>
          <a:xfrm>
            <a:off x="3168152" y="4262701"/>
            <a:ext cx="135565" cy="12311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algn="r">
              <a:defRPr sz="1000"/>
            </a:lvl1pPr>
          </a:lstStyle>
          <a:p>
            <a:pPr algn="ctr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3</a:t>
            </a:r>
            <a:endParaRPr lang="de-DE" sz="800" dirty="0"/>
          </a:p>
        </p:txBody>
      </p:sp>
      <p:sp>
        <p:nvSpPr>
          <p:cNvPr id="43" name="TextBox 18, chunk 11">
            <a:extLst>
              <a:ext uri="{FF2B5EF4-FFF2-40B4-BE49-F238E27FC236}">
                <a16:creationId xmlns:a16="http://schemas.microsoft.com/office/drawing/2014/main" id="{78154025-ED90-8C42-2C19-BFF3931E49F3}"/>
              </a:ext>
            </a:extLst>
          </p:cNvPr>
          <p:cNvSpPr txBox="1"/>
          <p:nvPr/>
        </p:nvSpPr>
        <p:spPr>
          <a:xfrm>
            <a:off x="2983695" y="4262701"/>
            <a:ext cx="135565" cy="12311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algn="r">
              <a:defRPr sz="1000"/>
            </a:lvl1pPr>
          </a:lstStyle>
          <a:p>
            <a:pPr algn="ctr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</a:t>
            </a:r>
            <a:endParaRPr lang="de-DE" sz="800" dirty="0"/>
          </a:p>
        </p:txBody>
      </p:sp>
      <p:sp>
        <p:nvSpPr>
          <p:cNvPr id="44" name="TextBox 18, chunk 11">
            <a:extLst>
              <a:ext uri="{FF2B5EF4-FFF2-40B4-BE49-F238E27FC236}">
                <a16:creationId xmlns:a16="http://schemas.microsoft.com/office/drawing/2014/main" id="{05F7A102-059D-E582-6DC0-384B96CEFDC5}"/>
              </a:ext>
            </a:extLst>
          </p:cNvPr>
          <p:cNvSpPr txBox="1"/>
          <p:nvPr/>
        </p:nvSpPr>
        <p:spPr>
          <a:xfrm>
            <a:off x="2799238" y="4262701"/>
            <a:ext cx="135565" cy="12311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algn="r">
              <a:defRPr sz="1000"/>
            </a:lvl1pPr>
          </a:lstStyle>
          <a:p>
            <a:pPr algn="ctr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7</a:t>
            </a:r>
            <a:endParaRPr lang="de-DE" sz="800" dirty="0"/>
          </a:p>
        </p:txBody>
      </p:sp>
      <p:sp>
        <p:nvSpPr>
          <p:cNvPr id="45" name="TextBox 18, chunk 11">
            <a:extLst>
              <a:ext uri="{FF2B5EF4-FFF2-40B4-BE49-F238E27FC236}">
                <a16:creationId xmlns:a16="http://schemas.microsoft.com/office/drawing/2014/main" id="{5EBA5210-FA65-53A8-44BB-1C646AA99CAC}"/>
              </a:ext>
            </a:extLst>
          </p:cNvPr>
          <p:cNvSpPr txBox="1"/>
          <p:nvPr/>
        </p:nvSpPr>
        <p:spPr>
          <a:xfrm>
            <a:off x="2614781" y="4262701"/>
            <a:ext cx="135565" cy="12311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algn="r">
              <a:defRPr sz="1000"/>
            </a:lvl1pPr>
          </a:lstStyle>
          <a:p>
            <a:pPr algn="ctr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4</a:t>
            </a:r>
            <a:endParaRPr lang="de-DE" sz="800" dirty="0"/>
          </a:p>
        </p:txBody>
      </p:sp>
      <p:sp>
        <p:nvSpPr>
          <p:cNvPr id="46" name="TextBox 18, chunk 11">
            <a:extLst>
              <a:ext uri="{FF2B5EF4-FFF2-40B4-BE49-F238E27FC236}">
                <a16:creationId xmlns:a16="http://schemas.microsoft.com/office/drawing/2014/main" id="{1F22C627-1AFA-234A-3B5E-81801925874F}"/>
              </a:ext>
            </a:extLst>
          </p:cNvPr>
          <p:cNvSpPr txBox="1"/>
          <p:nvPr/>
        </p:nvSpPr>
        <p:spPr>
          <a:xfrm>
            <a:off x="2430324" y="4262701"/>
            <a:ext cx="135565" cy="12311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algn="r">
              <a:defRPr sz="1000"/>
            </a:lvl1pPr>
          </a:lstStyle>
          <a:p>
            <a:pPr algn="ctr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1</a:t>
            </a:r>
            <a:endParaRPr lang="de-DE" sz="800" dirty="0"/>
          </a:p>
        </p:txBody>
      </p:sp>
      <p:sp>
        <p:nvSpPr>
          <p:cNvPr id="47" name="TextBox 18, chunk 11">
            <a:extLst>
              <a:ext uri="{FF2B5EF4-FFF2-40B4-BE49-F238E27FC236}">
                <a16:creationId xmlns:a16="http://schemas.microsoft.com/office/drawing/2014/main" id="{755B6A95-E5CB-DC2D-F547-FDDDC67F3AB5}"/>
              </a:ext>
            </a:extLst>
          </p:cNvPr>
          <p:cNvSpPr txBox="1"/>
          <p:nvPr/>
        </p:nvSpPr>
        <p:spPr>
          <a:xfrm>
            <a:off x="2245867" y="4262701"/>
            <a:ext cx="135565" cy="12311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algn="r">
              <a:defRPr sz="1000"/>
            </a:lvl1pPr>
          </a:lstStyle>
          <a:p>
            <a:pPr algn="ctr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8</a:t>
            </a:r>
            <a:endParaRPr lang="de-DE" sz="800" dirty="0"/>
          </a:p>
        </p:txBody>
      </p:sp>
      <p:sp>
        <p:nvSpPr>
          <p:cNvPr id="48" name="TextBox 18, chunk 11">
            <a:extLst>
              <a:ext uri="{FF2B5EF4-FFF2-40B4-BE49-F238E27FC236}">
                <a16:creationId xmlns:a16="http://schemas.microsoft.com/office/drawing/2014/main" id="{6F4CB7DB-6062-0816-4BAC-36310F1536B0}"/>
              </a:ext>
            </a:extLst>
          </p:cNvPr>
          <p:cNvSpPr txBox="1"/>
          <p:nvPr/>
        </p:nvSpPr>
        <p:spPr>
          <a:xfrm>
            <a:off x="2061410" y="4262701"/>
            <a:ext cx="135565" cy="12311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algn="r">
              <a:defRPr sz="1000"/>
            </a:lvl1pPr>
          </a:lstStyle>
          <a:p>
            <a:pPr algn="ctr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5</a:t>
            </a:r>
            <a:endParaRPr lang="de-DE" sz="800" dirty="0"/>
          </a:p>
        </p:txBody>
      </p:sp>
      <p:sp>
        <p:nvSpPr>
          <p:cNvPr id="49" name="TextBox 18, chunk 11">
            <a:extLst>
              <a:ext uri="{FF2B5EF4-FFF2-40B4-BE49-F238E27FC236}">
                <a16:creationId xmlns:a16="http://schemas.microsoft.com/office/drawing/2014/main" id="{7DFC3153-60DE-DE39-4BFD-63FA3C9F974E}"/>
              </a:ext>
            </a:extLst>
          </p:cNvPr>
          <p:cNvSpPr txBox="1"/>
          <p:nvPr/>
        </p:nvSpPr>
        <p:spPr>
          <a:xfrm>
            <a:off x="1876953" y="4262701"/>
            <a:ext cx="135565" cy="12311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algn="r">
              <a:defRPr sz="1000"/>
            </a:lvl1pPr>
          </a:lstStyle>
          <a:p>
            <a:pPr algn="ctr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</a:t>
            </a:r>
            <a:endParaRPr lang="de-DE" sz="800" dirty="0"/>
          </a:p>
        </p:txBody>
      </p:sp>
      <p:sp>
        <p:nvSpPr>
          <p:cNvPr id="50" name="TextBox 18, chunk 11">
            <a:extLst>
              <a:ext uri="{FF2B5EF4-FFF2-40B4-BE49-F238E27FC236}">
                <a16:creationId xmlns:a16="http://schemas.microsoft.com/office/drawing/2014/main" id="{AAC33A46-521D-745B-1E72-AC29A984BB3B}"/>
              </a:ext>
            </a:extLst>
          </p:cNvPr>
          <p:cNvSpPr txBox="1"/>
          <p:nvPr/>
        </p:nvSpPr>
        <p:spPr>
          <a:xfrm>
            <a:off x="1692496" y="4262701"/>
            <a:ext cx="135565" cy="12311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algn="r">
              <a:defRPr sz="1000"/>
            </a:lvl1pPr>
          </a:lstStyle>
          <a:p>
            <a:pPr algn="ctr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endParaRPr lang="de-DE" sz="800" dirty="0"/>
          </a:p>
        </p:txBody>
      </p:sp>
      <p:sp>
        <p:nvSpPr>
          <p:cNvPr id="51" name="TextBox 18, chunk 11">
            <a:extLst>
              <a:ext uri="{FF2B5EF4-FFF2-40B4-BE49-F238E27FC236}">
                <a16:creationId xmlns:a16="http://schemas.microsoft.com/office/drawing/2014/main" id="{90F9FCCE-05E2-420E-38C1-6107FAD226D6}"/>
              </a:ext>
            </a:extLst>
          </p:cNvPr>
          <p:cNvSpPr txBox="1"/>
          <p:nvPr/>
        </p:nvSpPr>
        <p:spPr>
          <a:xfrm>
            <a:off x="1508039" y="4262701"/>
            <a:ext cx="135565" cy="12311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algn="r">
              <a:defRPr sz="1000"/>
            </a:lvl1pPr>
          </a:lstStyle>
          <a:p>
            <a:pPr algn="ctr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</a:t>
            </a:r>
            <a:endParaRPr lang="de-DE" sz="800" dirty="0"/>
          </a:p>
        </p:txBody>
      </p:sp>
      <p:graphicFrame>
        <p:nvGraphicFramePr>
          <p:cNvPr id="52" name="Tabelle 51">
            <a:extLst>
              <a:ext uri="{FF2B5EF4-FFF2-40B4-BE49-F238E27FC236}">
                <a16:creationId xmlns:a16="http://schemas.microsoft.com/office/drawing/2014/main" id="{06571089-EDDD-19B0-BA88-2A0E8B885B7D}"/>
              </a:ext>
            </a:extLst>
          </p:cNvPr>
          <p:cNvGraphicFramePr>
            <a:graphicFrameLocks noGrp="1"/>
          </p:cNvGraphicFramePr>
          <p:nvPr/>
        </p:nvGraphicFramePr>
        <p:xfrm>
          <a:off x="408999" y="4629300"/>
          <a:ext cx="3866400" cy="320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000">
                  <a:extLst>
                    <a:ext uri="{9D8B030D-6E8A-4147-A177-3AD203B41FA5}">
                      <a16:colId xmlns:a16="http://schemas.microsoft.com/office/drawing/2014/main" val="1378299196"/>
                    </a:ext>
                  </a:extLst>
                </a:gridCol>
                <a:gridCol w="187200">
                  <a:extLst>
                    <a:ext uri="{9D8B030D-6E8A-4147-A177-3AD203B41FA5}">
                      <a16:colId xmlns:a16="http://schemas.microsoft.com/office/drawing/2014/main" val="2720059670"/>
                    </a:ext>
                  </a:extLst>
                </a:gridCol>
                <a:gridCol w="187200">
                  <a:extLst>
                    <a:ext uri="{9D8B030D-6E8A-4147-A177-3AD203B41FA5}">
                      <a16:colId xmlns:a16="http://schemas.microsoft.com/office/drawing/2014/main" val="3558843235"/>
                    </a:ext>
                  </a:extLst>
                </a:gridCol>
                <a:gridCol w="187200">
                  <a:extLst>
                    <a:ext uri="{9D8B030D-6E8A-4147-A177-3AD203B41FA5}">
                      <a16:colId xmlns:a16="http://schemas.microsoft.com/office/drawing/2014/main" val="642524864"/>
                    </a:ext>
                  </a:extLst>
                </a:gridCol>
                <a:gridCol w="187200">
                  <a:extLst>
                    <a:ext uri="{9D8B030D-6E8A-4147-A177-3AD203B41FA5}">
                      <a16:colId xmlns:a16="http://schemas.microsoft.com/office/drawing/2014/main" val="400611306"/>
                    </a:ext>
                  </a:extLst>
                </a:gridCol>
                <a:gridCol w="187200">
                  <a:extLst>
                    <a:ext uri="{9D8B030D-6E8A-4147-A177-3AD203B41FA5}">
                      <a16:colId xmlns:a16="http://schemas.microsoft.com/office/drawing/2014/main" val="3315586355"/>
                    </a:ext>
                  </a:extLst>
                </a:gridCol>
                <a:gridCol w="187200">
                  <a:extLst>
                    <a:ext uri="{9D8B030D-6E8A-4147-A177-3AD203B41FA5}">
                      <a16:colId xmlns:a16="http://schemas.microsoft.com/office/drawing/2014/main" val="1430594064"/>
                    </a:ext>
                  </a:extLst>
                </a:gridCol>
                <a:gridCol w="187200">
                  <a:extLst>
                    <a:ext uri="{9D8B030D-6E8A-4147-A177-3AD203B41FA5}">
                      <a16:colId xmlns:a16="http://schemas.microsoft.com/office/drawing/2014/main" val="3098826525"/>
                    </a:ext>
                  </a:extLst>
                </a:gridCol>
                <a:gridCol w="187200">
                  <a:extLst>
                    <a:ext uri="{9D8B030D-6E8A-4147-A177-3AD203B41FA5}">
                      <a16:colId xmlns:a16="http://schemas.microsoft.com/office/drawing/2014/main" val="3997508032"/>
                    </a:ext>
                  </a:extLst>
                </a:gridCol>
                <a:gridCol w="187200">
                  <a:extLst>
                    <a:ext uri="{9D8B030D-6E8A-4147-A177-3AD203B41FA5}">
                      <a16:colId xmlns:a16="http://schemas.microsoft.com/office/drawing/2014/main" val="2238665104"/>
                    </a:ext>
                  </a:extLst>
                </a:gridCol>
                <a:gridCol w="187200">
                  <a:extLst>
                    <a:ext uri="{9D8B030D-6E8A-4147-A177-3AD203B41FA5}">
                      <a16:colId xmlns:a16="http://schemas.microsoft.com/office/drawing/2014/main" val="1973714109"/>
                    </a:ext>
                  </a:extLst>
                </a:gridCol>
                <a:gridCol w="187200">
                  <a:extLst>
                    <a:ext uri="{9D8B030D-6E8A-4147-A177-3AD203B41FA5}">
                      <a16:colId xmlns:a16="http://schemas.microsoft.com/office/drawing/2014/main" val="2348681457"/>
                    </a:ext>
                  </a:extLst>
                </a:gridCol>
                <a:gridCol w="187200">
                  <a:extLst>
                    <a:ext uri="{9D8B030D-6E8A-4147-A177-3AD203B41FA5}">
                      <a16:colId xmlns:a16="http://schemas.microsoft.com/office/drawing/2014/main" val="1616841387"/>
                    </a:ext>
                  </a:extLst>
                </a:gridCol>
                <a:gridCol w="187200">
                  <a:extLst>
                    <a:ext uri="{9D8B030D-6E8A-4147-A177-3AD203B41FA5}">
                      <a16:colId xmlns:a16="http://schemas.microsoft.com/office/drawing/2014/main" val="2970693511"/>
                    </a:ext>
                  </a:extLst>
                </a:gridCol>
                <a:gridCol w="187200">
                  <a:extLst>
                    <a:ext uri="{9D8B030D-6E8A-4147-A177-3AD203B41FA5}">
                      <a16:colId xmlns:a16="http://schemas.microsoft.com/office/drawing/2014/main" val="1949858827"/>
                    </a:ext>
                  </a:extLst>
                </a:gridCol>
                <a:gridCol w="187200">
                  <a:extLst>
                    <a:ext uri="{9D8B030D-6E8A-4147-A177-3AD203B41FA5}">
                      <a16:colId xmlns:a16="http://schemas.microsoft.com/office/drawing/2014/main" val="2491663293"/>
                    </a:ext>
                  </a:extLst>
                </a:gridCol>
                <a:gridCol w="187200">
                  <a:extLst>
                    <a:ext uri="{9D8B030D-6E8A-4147-A177-3AD203B41FA5}">
                      <a16:colId xmlns:a16="http://schemas.microsoft.com/office/drawing/2014/main" val="3259900859"/>
                    </a:ext>
                  </a:extLst>
                </a:gridCol>
                <a:gridCol w="187200">
                  <a:extLst>
                    <a:ext uri="{9D8B030D-6E8A-4147-A177-3AD203B41FA5}">
                      <a16:colId xmlns:a16="http://schemas.microsoft.com/office/drawing/2014/main" val="306048900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de-DE" sz="700" b="1">
                          <a:solidFill>
                            <a:srgbClr val="FF0000"/>
                          </a:solidFill>
                        </a:rPr>
                        <a:t>Kontrolle</a:t>
                      </a:r>
                      <a:endParaRPr lang="de-DE" sz="700" b="1" dirty="0">
                        <a:solidFill>
                          <a:srgbClr val="FF0000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0000"/>
                          </a:solidFill>
                        </a:rPr>
                        <a:t>20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0000"/>
                          </a:solidFill>
                        </a:rPr>
                        <a:t>20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0000"/>
                          </a:solidFill>
                        </a:rPr>
                        <a:t>18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0000"/>
                          </a:solidFill>
                        </a:rPr>
                        <a:t>16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0000"/>
                          </a:solidFill>
                        </a:rPr>
                        <a:t>14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0000"/>
                          </a:solidFill>
                        </a:rPr>
                        <a:t>13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0000"/>
                          </a:solidFill>
                        </a:rPr>
                        <a:t>10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0000"/>
                          </a:solidFill>
                        </a:rPr>
                        <a:t>8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0000"/>
                          </a:solidFill>
                        </a:rPr>
                        <a:t>7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0000"/>
                          </a:solidFill>
                        </a:rPr>
                        <a:t>6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0000"/>
                          </a:solidFill>
                        </a:rPr>
                        <a:t>5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0000"/>
                          </a:solidFill>
                        </a:rPr>
                        <a:t>4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0000"/>
                          </a:solidFill>
                        </a:rPr>
                        <a:t>4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0000"/>
                          </a:solidFill>
                        </a:rPr>
                        <a:t>4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0000"/>
                          </a:solidFill>
                        </a:rPr>
                        <a:t>3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0000"/>
                          </a:solidFill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0000"/>
                          </a:solidFill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35971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>
                          <a:solidFill>
                            <a:srgbClr val="0460A9"/>
                          </a:solidFill>
                        </a:rPr>
                        <a:t>Geplanter </a:t>
                      </a:r>
                      <a:r>
                        <a:rPr lang="de-DE" sz="700" b="1" dirty="0">
                          <a:solidFill>
                            <a:srgbClr val="0460A9"/>
                          </a:solidFill>
                        </a:rPr>
                        <a:t>Switch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</a:rPr>
                        <a:t>100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</a:rPr>
                        <a:t>100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</a:rPr>
                        <a:t>96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</a:rPr>
                        <a:t>91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</a:rPr>
                        <a:t>87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</a:rPr>
                        <a:t>77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</a:rPr>
                        <a:t>70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</a:rPr>
                        <a:t>58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</a:rPr>
                        <a:t>54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</a:rPr>
                        <a:t>50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</a:rPr>
                        <a:t>48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</a:rPr>
                        <a:t>43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</a:rPr>
                        <a:t>42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</a:rPr>
                        <a:t>39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</a:rPr>
                        <a:t>35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</a:rPr>
                        <a:t>32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</a:rPr>
                        <a:t>31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0541496"/>
                  </a:ext>
                </a:extLst>
              </a:tr>
            </a:tbl>
          </a:graphicData>
        </a:graphic>
      </p:graphicFrame>
      <p:sp>
        <p:nvSpPr>
          <p:cNvPr id="53" name="TextBox 18, chunk 11">
            <a:extLst>
              <a:ext uri="{FF2B5EF4-FFF2-40B4-BE49-F238E27FC236}">
                <a16:creationId xmlns:a16="http://schemas.microsoft.com/office/drawing/2014/main" id="{E0B6E5EF-3EB7-8291-B0E8-38F23BF97FA3}"/>
              </a:ext>
            </a:extLst>
          </p:cNvPr>
          <p:cNvSpPr txBox="1"/>
          <p:nvPr/>
        </p:nvSpPr>
        <p:spPr>
          <a:xfrm>
            <a:off x="1285745" y="4007299"/>
            <a:ext cx="591208" cy="12311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algn="r">
              <a:defRPr sz="1000"/>
            </a:lvl1pPr>
          </a:lstStyle>
          <a:p>
            <a:pPr algn="ctr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 = 0,01</a:t>
            </a:r>
            <a:r>
              <a:rPr lang="de-DE" sz="800" dirty="0">
                <a:solidFill>
                  <a:srgbClr val="000000"/>
                </a:solidFill>
                <a:latin typeface="Arial" panose="020B0604020202020204"/>
              </a:rPr>
              <a:t>7</a:t>
            </a:r>
            <a:endParaRPr lang="de-DE" sz="800" dirty="0"/>
          </a:p>
        </p:txBody>
      </p:sp>
      <p:sp>
        <p:nvSpPr>
          <p:cNvPr id="54" name="TextBox 18, chunk 1">
            <a:extLst>
              <a:ext uri="{FF2B5EF4-FFF2-40B4-BE49-F238E27FC236}">
                <a16:creationId xmlns:a16="http://schemas.microsoft.com/office/drawing/2014/main" id="{8BCFCFD8-E01E-3773-AE0B-ECF293FBED32}"/>
              </a:ext>
            </a:extLst>
          </p:cNvPr>
          <p:cNvSpPr txBox="1"/>
          <p:nvPr/>
        </p:nvSpPr>
        <p:spPr>
          <a:xfrm>
            <a:off x="1558586" y="4414375"/>
            <a:ext cx="2200708" cy="15388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algn="r"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eit in Monaten</a:t>
            </a:r>
          </a:p>
        </p:txBody>
      </p:sp>
      <p:grpSp>
        <p:nvGrpSpPr>
          <p:cNvPr id="88" name="Gruppieren 87">
            <a:extLst>
              <a:ext uri="{FF2B5EF4-FFF2-40B4-BE49-F238E27FC236}">
                <a16:creationId xmlns:a16="http://schemas.microsoft.com/office/drawing/2014/main" id="{EF32D6A0-8FEC-517A-8ED0-90BDD4CB0E2D}"/>
              </a:ext>
            </a:extLst>
          </p:cNvPr>
          <p:cNvGrpSpPr/>
          <p:nvPr/>
        </p:nvGrpSpPr>
        <p:grpSpPr>
          <a:xfrm>
            <a:off x="5055568" y="2029066"/>
            <a:ext cx="208385" cy="2233635"/>
            <a:chOff x="915829" y="2013302"/>
            <a:chExt cx="208385" cy="2226648"/>
          </a:xfrm>
        </p:grpSpPr>
        <p:sp>
          <p:nvSpPr>
            <p:cNvPr id="89" name="TextBox 18, chunk 1">
              <a:extLst>
                <a:ext uri="{FF2B5EF4-FFF2-40B4-BE49-F238E27FC236}">
                  <a16:creationId xmlns:a16="http://schemas.microsoft.com/office/drawing/2014/main" id="{6FE39F6D-91AB-CCBB-990E-1146C653B6C0}"/>
                </a:ext>
              </a:extLst>
            </p:cNvPr>
            <p:cNvSpPr txBox="1"/>
            <p:nvPr/>
          </p:nvSpPr>
          <p:spPr>
            <a:xfrm>
              <a:off x="915829" y="2013302"/>
              <a:ext cx="208385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000"/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1,0</a:t>
              </a: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0" name="TextBox 18, chunk 2">
              <a:extLst>
                <a:ext uri="{FF2B5EF4-FFF2-40B4-BE49-F238E27FC236}">
                  <a16:creationId xmlns:a16="http://schemas.microsoft.com/office/drawing/2014/main" id="{B4A15DE9-27E1-9636-C885-B0BE64E08656}"/>
                </a:ext>
              </a:extLst>
            </p:cNvPr>
            <p:cNvSpPr txBox="1"/>
            <p:nvPr/>
          </p:nvSpPr>
          <p:spPr>
            <a:xfrm>
              <a:off x="915829" y="2223656"/>
              <a:ext cx="208385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000"/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9</a:t>
              </a: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1" name="TextBox 18, chunk 3">
              <a:extLst>
                <a:ext uri="{FF2B5EF4-FFF2-40B4-BE49-F238E27FC236}">
                  <a16:creationId xmlns:a16="http://schemas.microsoft.com/office/drawing/2014/main" id="{32D7CED8-89C8-113B-300F-D0E60ADA309E}"/>
                </a:ext>
              </a:extLst>
            </p:cNvPr>
            <p:cNvSpPr txBox="1"/>
            <p:nvPr/>
          </p:nvSpPr>
          <p:spPr>
            <a:xfrm>
              <a:off x="915829" y="2434010"/>
              <a:ext cx="208385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000"/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8</a:t>
              </a: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2" name="TextBox 18, chunk 4">
              <a:extLst>
                <a:ext uri="{FF2B5EF4-FFF2-40B4-BE49-F238E27FC236}">
                  <a16:creationId xmlns:a16="http://schemas.microsoft.com/office/drawing/2014/main" id="{10C0982B-8B0E-BB63-C57D-0D9B9B573EEE}"/>
                </a:ext>
              </a:extLst>
            </p:cNvPr>
            <p:cNvSpPr txBox="1"/>
            <p:nvPr/>
          </p:nvSpPr>
          <p:spPr>
            <a:xfrm>
              <a:off x="915829" y="2644364"/>
              <a:ext cx="208385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000"/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7</a:t>
              </a: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3" name="TextBox 18, chunk 5">
              <a:extLst>
                <a:ext uri="{FF2B5EF4-FFF2-40B4-BE49-F238E27FC236}">
                  <a16:creationId xmlns:a16="http://schemas.microsoft.com/office/drawing/2014/main" id="{B24AB500-01C6-3DF1-5C00-F7438BF6B67C}"/>
                </a:ext>
              </a:extLst>
            </p:cNvPr>
            <p:cNvSpPr txBox="1"/>
            <p:nvPr/>
          </p:nvSpPr>
          <p:spPr>
            <a:xfrm>
              <a:off x="915829" y="2854718"/>
              <a:ext cx="208385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000"/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6</a:t>
              </a: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4" name="TextBox 18, chunk 6">
              <a:extLst>
                <a:ext uri="{FF2B5EF4-FFF2-40B4-BE49-F238E27FC236}">
                  <a16:creationId xmlns:a16="http://schemas.microsoft.com/office/drawing/2014/main" id="{2CECC2A2-5EB8-015B-D291-1A429E5B9F3C}"/>
                </a:ext>
              </a:extLst>
            </p:cNvPr>
            <p:cNvSpPr txBox="1"/>
            <p:nvPr/>
          </p:nvSpPr>
          <p:spPr>
            <a:xfrm>
              <a:off x="915829" y="3065072"/>
              <a:ext cx="208385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000"/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5</a:t>
              </a: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5" name="TextBox 18, chunk 7">
              <a:extLst>
                <a:ext uri="{FF2B5EF4-FFF2-40B4-BE49-F238E27FC236}">
                  <a16:creationId xmlns:a16="http://schemas.microsoft.com/office/drawing/2014/main" id="{D11C73F0-918D-B98C-B42C-998E9E6919D1}"/>
                </a:ext>
              </a:extLst>
            </p:cNvPr>
            <p:cNvSpPr txBox="1"/>
            <p:nvPr/>
          </p:nvSpPr>
          <p:spPr>
            <a:xfrm>
              <a:off x="915829" y="3275426"/>
              <a:ext cx="208385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000"/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4</a:t>
              </a: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6" name="TextBox 18, chunk 8">
              <a:extLst>
                <a:ext uri="{FF2B5EF4-FFF2-40B4-BE49-F238E27FC236}">
                  <a16:creationId xmlns:a16="http://schemas.microsoft.com/office/drawing/2014/main" id="{D7316415-40FB-DF87-4AC1-712B792A8B14}"/>
                </a:ext>
              </a:extLst>
            </p:cNvPr>
            <p:cNvSpPr txBox="1"/>
            <p:nvPr/>
          </p:nvSpPr>
          <p:spPr>
            <a:xfrm>
              <a:off x="915829" y="3485780"/>
              <a:ext cx="208385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000"/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3</a:t>
              </a: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7" name="TextBox 18, chunk 9">
              <a:extLst>
                <a:ext uri="{FF2B5EF4-FFF2-40B4-BE49-F238E27FC236}">
                  <a16:creationId xmlns:a16="http://schemas.microsoft.com/office/drawing/2014/main" id="{B4608DC3-1762-1062-CA4A-1CBE230DAFB0}"/>
                </a:ext>
              </a:extLst>
            </p:cNvPr>
            <p:cNvSpPr txBox="1"/>
            <p:nvPr/>
          </p:nvSpPr>
          <p:spPr>
            <a:xfrm>
              <a:off x="915829" y="3696134"/>
              <a:ext cx="208385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000"/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2</a:t>
              </a:r>
            </a:p>
          </p:txBody>
        </p:sp>
        <p:sp>
          <p:nvSpPr>
            <p:cNvPr id="98" name="TextBox 18, chunk 10">
              <a:extLst>
                <a:ext uri="{FF2B5EF4-FFF2-40B4-BE49-F238E27FC236}">
                  <a16:creationId xmlns:a16="http://schemas.microsoft.com/office/drawing/2014/main" id="{167C3B33-CFBC-747B-FFD2-F8A0CCEDCEBF}"/>
                </a:ext>
              </a:extLst>
            </p:cNvPr>
            <p:cNvSpPr txBox="1"/>
            <p:nvPr/>
          </p:nvSpPr>
          <p:spPr>
            <a:xfrm>
              <a:off x="915829" y="3906488"/>
              <a:ext cx="208385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000"/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1</a:t>
              </a: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9" name="TextBox 18, chunk 11">
              <a:extLst>
                <a:ext uri="{FF2B5EF4-FFF2-40B4-BE49-F238E27FC236}">
                  <a16:creationId xmlns:a16="http://schemas.microsoft.com/office/drawing/2014/main" id="{A5F00211-2096-55B8-A85F-EF33D5FD06AA}"/>
                </a:ext>
              </a:extLst>
            </p:cNvPr>
            <p:cNvSpPr txBox="1"/>
            <p:nvPr/>
          </p:nvSpPr>
          <p:spPr>
            <a:xfrm>
              <a:off x="915829" y="4116839"/>
              <a:ext cx="208385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000"/>
              </a:lvl1pPr>
            </a:lstStyle>
            <a:p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0</a:t>
              </a:r>
              <a:endParaRPr lang="de-DE" sz="800" dirty="0"/>
            </a:p>
          </p:txBody>
        </p:sp>
      </p:grpSp>
      <p:sp>
        <p:nvSpPr>
          <p:cNvPr id="101" name="TextBox 18, chunk 11">
            <a:extLst>
              <a:ext uri="{FF2B5EF4-FFF2-40B4-BE49-F238E27FC236}">
                <a16:creationId xmlns:a16="http://schemas.microsoft.com/office/drawing/2014/main" id="{9601D180-BF4C-215C-1D2F-7D8CC533782C}"/>
              </a:ext>
            </a:extLst>
          </p:cNvPr>
          <p:cNvSpPr txBox="1"/>
          <p:nvPr/>
        </p:nvSpPr>
        <p:spPr>
          <a:xfrm>
            <a:off x="5266255" y="4262701"/>
            <a:ext cx="135565" cy="12311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algn="r">
              <a:defRPr sz="1000"/>
            </a:lvl1pPr>
          </a:lstStyle>
          <a:p>
            <a:pPr algn="ctr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</a:t>
            </a:r>
            <a:endParaRPr lang="de-DE" sz="800" dirty="0"/>
          </a:p>
        </p:txBody>
      </p:sp>
      <p:sp>
        <p:nvSpPr>
          <p:cNvPr id="102" name="TextBox 18, chunk 11">
            <a:extLst>
              <a:ext uri="{FF2B5EF4-FFF2-40B4-BE49-F238E27FC236}">
                <a16:creationId xmlns:a16="http://schemas.microsoft.com/office/drawing/2014/main" id="{5A2B10D7-F185-63C8-1C06-F5241A9B7C70}"/>
              </a:ext>
            </a:extLst>
          </p:cNvPr>
          <p:cNvSpPr txBox="1"/>
          <p:nvPr/>
        </p:nvSpPr>
        <p:spPr>
          <a:xfrm>
            <a:off x="5454050" y="4262701"/>
            <a:ext cx="135565" cy="12311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algn="r">
              <a:defRPr sz="1000"/>
            </a:lvl1pPr>
          </a:lstStyle>
          <a:p>
            <a:pPr algn="ctr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  <a:endParaRPr lang="de-DE" sz="800" dirty="0"/>
          </a:p>
        </p:txBody>
      </p:sp>
      <p:sp>
        <p:nvSpPr>
          <p:cNvPr id="103" name="TextBox 18, chunk 11">
            <a:extLst>
              <a:ext uri="{FF2B5EF4-FFF2-40B4-BE49-F238E27FC236}">
                <a16:creationId xmlns:a16="http://schemas.microsoft.com/office/drawing/2014/main" id="{55AB5032-6A7E-3C3A-97AD-7157EC59DB3D}"/>
              </a:ext>
            </a:extLst>
          </p:cNvPr>
          <p:cNvSpPr txBox="1"/>
          <p:nvPr/>
        </p:nvSpPr>
        <p:spPr>
          <a:xfrm>
            <a:off x="8270974" y="4262701"/>
            <a:ext cx="135565" cy="12311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algn="r">
              <a:defRPr sz="1000"/>
            </a:lvl1pPr>
          </a:lstStyle>
          <a:p>
            <a:pPr algn="ctr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8</a:t>
            </a:r>
            <a:endParaRPr lang="de-DE" sz="800" dirty="0"/>
          </a:p>
        </p:txBody>
      </p:sp>
      <p:sp>
        <p:nvSpPr>
          <p:cNvPr id="104" name="TextBox 18, chunk 11">
            <a:extLst>
              <a:ext uri="{FF2B5EF4-FFF2-40B4-BE49-F238E27FC236}">
                <a16:creationId xmlns:a16="http://schemas.microsoft.com/office/drawing/2014/main" id="{C7712049-E783-DE2F-D3D5-D12EE8C8E17C}"/>
              </a:ext>
            </a:extLst>
          </p:cNvPr>
          <p:cNvSpPr txBox="1"/>
          <p:nvPr/>
        </p:nvSpPr>
        <p:spPr>
          <a:xfrm>
            <a:off x="8083180" y="4262701"/>
            <a:ext cx="135565" cy="12311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algn="r">
              <a:defRPr sz="1000"/>
            </a:lvl1pPr>
          </a:lstStyle>
          <a:p>
            <a:pPr algn="ctr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5</a:t>
            </a:r>
            <a:endParaRPr lang="de-DE" sz="800" dirty="0"/>
          </a:p>
        </p:txBody>
      </p:sp>
      <p:sp>
        <p:nvSpPr>
          <p:cNvPr id="105" name="TextBox 18, chunk 11">
            <a:extLst>
              <a:ext uri="{FF2B5EF4-FFF2-40B4-BE49-F238E27FC236}">
                <a16:creationId xmlns:a16="http://schemas.microsoft.com/office/drawing/2014/main" id="{25F9BEE0-902D-82C6-B816-75043CDB773C}"/>
              </a:ext>
            </a:extLst>
          </p:cNvPr>
          <p:cNvSpPr txBox="1"/>
          <p:nvPr/>
        </p:nvSpPr>
        <p:spPr>
          <a:xfrm>
            <a:off x="7895385" y="4262701"/>
            <a:ext cx="135565" cy="12311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algn="r">
              <a:defRPr sz="1000"/>
            </a:lvl1pPr>
          </a:lstStyle>
          <a:p>
            <a:pPr algn="ctr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2</a:t>
            </a:r>
            <a:endParaRPr lang="de-DE" sz="800" dirty="0"/>
          </a:p>
        </p:txBody>
      </p:sp>
      <p:sp>
        <p:nvSpPr>
          <p:cNvPr id="106" name="TextBox 18, chunk 11">
            <a:extLst>
              <a:ext uri="{FF2B5EF4-FFF2-40B4-BE49-F238E27FC236}">
                <a16:creationId xmlns:a16="http://schemas.microsoft.com/office/drawing/2014/main" id="{146905B6-F8C9-4EF6-CEB9-28E551B00147}"/>
              </a:ext>
            </a:extLst>
          </p:cNvPr>
          <p:cNvSpPr txBox="1"/>
          <p:nvPr/>
        </p:nvSpPr>
        <p:spPr>
          <a:xfrm>
            <a:off x="7707590" y="4262701"/>
            <a:ext cx="135565" cy="12311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algn="r">
              <a:defRPr sz="1000"/>
            </a:lvl1pPr>
          </a:lstStyle>
          <a:p>
            <a:pPr algn="ctr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9</a:t>
            </a:r>
            <a:endParaRPr lang="de-DE" sz="800" dirty="0"/>
          </a:p>
        </p:txBody>
      </p:sp>
      <p:sp>
        <p:nvSpPr>
          <p:cNvPr id="107" name="TextBox 18, chunk 11">
            <a:extLst>
              <a:ext uri="{FF2B5EF4-FFF2-40B4-BE49-F238E27FC236}">
                <a16:creationId xmlns:a16="http://schemas.microsoft.com/office/drawing/2014/main" id="{1A719898-E621-1733-4464-8E494A443239}"/>
              </a:ext>
            </a:extLst>
          </p:cNvPr>
          <p:cNvSpPr txBox="1"/>
          <p:nvPr/>
        </p:nvSpPr>
        <p:spPr>
          <a:xfrm>
            <a:off x="7519795" y="4262701"/>
            <a:ext cx="135565" cy="12311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algn="r">
              <a:defRPr sz="1000"/>
            </a:lvl1pPr>
          </a:lstStyle>
          <a:p>
            <a:pPr algn="ctr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6</a:t>
            </a:r>
            <a:endParaRPr lang="de-DE" sz="800" dirty="0"/>
          </a:p>
        </p:txBody>
      </p:sp>
      <p:sp>
        <p:nvSpPr>
          <p:cNvPr id="108" name="TextBox 18, chunk 11">
            <a:extLst>
              <a:ext uri="{FF2B5EF4-FFF2-40B4-BE49-F238E27FC236}">
                <a16:creationId xmlns:a16="http://schemas.microsoft.com/office/drawing/2014/main" id="{D8C14C40-A787-639E-68A9-E8697C5C4985}"/>
              </a:ext>
            </a:extLst>
          </p:cNvPr>
          <p:cNvSpPr txBox="1"/>
          <p:nvPr/>
        </p:nvSpPr>
        <p:spPr>
          <a:xfrm>
            <a:off x="7332000" y="4262701"/>
            <a:ext cx="135565" cy="12311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algn="r">
              <a:defRPr sz="1000"/>
            </a:lvl1pPr>
          </a:lstStyle>
          <a:p>
            <a:pPr algn="ctr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3</a:t>
            </a:r>
            <a:endParaRPr lang="de-DE" sz="800" dirty="0"/>
          </a:p>
        </p:txBody>
      </p:sp>
      <p:sp>
        <p:nvSpPr>
          <p:cNvPr id="109" name="TextBox 18, chunk 11">
            <a:extLst>
              <a:ext uri="{FF2B5EF4-FFF2-40B4-BE49-F238E27FC236}">
                <a16:creationId xmlns:a16="http://schemas.microsoft.com/office/drawing/2014/main" id="{A0677A06-A214-3E47-6ABE-A44C8C6D3D83}"/>
              </a:ext>
            </a:extLst>
          </p:cNvPr>
          <p:cNvSpPr txBox="1"/>
          <p:nvPr/>
        </p:nvSpPr>
        <p:spPr>
          <a:xfrm>
            <a:off x="7144205" y="4262701"/>
            <a:ext cx="135565" cy="12311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algn="r">
              <a:defRPr sz="1000"/>
            </a:lvl1pPr>
          </a:lstStyle>
          <a:p>
            <a:pPr algn="ctr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</a:t>
            </a:r>
            <a:endParaRPr lang="de-DE" sz="800" dirty="0"/>
          </a:p>
        </p:txBody>
      </p:sp>
      <p:sp>
        <p:nvSpPr>
          <p:cNvPr id="110" name="TextBox 18, chunk 11">
            <a:extLst>
              <a:ext uri="{FF2B5EF4-FFF2-40B4-BE49-F238E27FC236}">
                <a16:creationId xmlns:a16="http://schemas.microsoft.com/office/drawing/2014/main" id="{CC411881-407F-C8C9-0EDE-32F3085068C9}"/>
              </a:ext>
            </a:extLst>
          </p:cNvPr>
          <p:cNvSpPr txBox="1"/>
          <p:nvPr/>
        </p:nvSpPr>
        <p:spPr>
          <a:xfrm>
            <a:off x="6956410" y="4262701"/>
            <a:ext cx="135565" cy="12311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algn="r">
              <a:defRPr sz="1000"/>
            </a:lvl1pPr>
          </a:lstStyle>
          <a:p>
            <a:pPr algn="ctr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7</a:t>
            </a:r>
            <a:endParaRPr lang="de-DE" sz="800" dirty="0"/>
          </a:p>
        </p:txBody>
      </p:sp>
      <p:sp>
        <p:nvSpPr>
          <p:cNvPr id="111" name="TextBox 18, chunk 11">
            <a:extLst>
              <a:ext uri="{FF2B5EF4-FFF2-40B4-BE49-F238E27FC236}">
                <a16:creationId xmlns:a16="http://schemas.microsoft.com/office/drawing/2014/main" id="{819F07B5-1C6E-D7D3-E74F-98415A72ECC8}"/>
              </a:ext>
            </a:extLst>
          </p:cNvPr>
          <p:cNvSpPr txBox="1"/>
          <p:nvPr/>
        </p:nvSpPr>
        <p:spPr>
          <a:xfrm>
            <a:off x="6768615" y="4262701"/>
            <a:ext cx="135565" cy="12311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algn="r">
              <a:defRPr sz="1000"/>
            </a:lvl1pPr>
          </a:lstStyle>
          <a:p>
            <a:pPr algn="ctr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4</a:t>
            </a:r>
            <a:endParaRPr lang="de-DE" sz="800" dirty="0"/>
          </a:p>
        </p:txBody>
      </p:sp>
      <p:sp>
        <p:nvSpPr>
          <p:cNvPr id="112" name="TextBox 18, chunk 11">
            <a:extLst>
              <a:ext uri="{FF2B5EF4-FFF2-40B4-BE49-F238E27FC236}">
                <a16:creationId xmlns:a16="http://schemas.microsoft.com/office/drawing/2014/main" id="{ED0E6700-825D-6920-E2DD-86AB9551F927}"/>
              </a:ext>
            </a:extLst>
          </p:cNvPr>
          <p:cNvSpPr txBox="1"/>
          <p:nvPr/>
        </p:nvSpPr>
        <p:spPr>
          <a:xfrm>
            <a:off x="6580820" y="4262701"/>
            <a:ext cx="135565" cy="12311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algn="r">
              <a:defRPr sz="1000"/>
            </a:lvl1pPr>
          </a:lstStyle>
          <a:p>
            <a:pPr algn="ctr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1</a:t>
            </a:r>
            <a:endParaRPr lang="de-DE" sz="800" dirty="0"/>
          </a:p>
        </p:txBody>
      </p:sp>
      <p:sp>
        <p:nvSpPr>
          <p:cNvPr id="113" name="TextBox 18, chunk 11">
            <a:extLst>
              <a:ext uri="{FF2B5EF4-FFF2-40B4-BE49-F238E27FC236}">
                <a16:creationId xmlns:a16="http://schemas.microsoft.com/office/drawing/2014/main" id="{01F529EF-4BC9-889D-E66D-174CBDD225B1}"/>
              </a:ext>
            </a:extLst>
          </p:cNvPr>
          <p:cNvSpPr txBox="1"/>
          <p:nvPr/>
        </p:nvSpPr>
        <p:spPr>
          <a:xfrm>
            <a:off x="6393025" y="4262701"/>
            <a:ext cx="135565" cy="12311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algn="r">
              <a:defRPr sz="1000"/>
            </a:lvl1pPr>
          </a:lstStyle>
          <a:p>
            <a:pPr algn="ctr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8</a:t>
            </a:r>
            <a:endParaRPr lang="de-DE" sz="800" dirty="0"/>
          </a:p>
        </p:txBody>
      </p:sp>
      <p:sp>
        <p:nvSpPr>
          <p:cNvPr id="114" name="TextBox 18, chunk 11">
            <a:extLst>
              <a:ext uri="{FF2B5EF4-FFF2-40B4-BE49-F238E27FC236}">
                <a16:creationId xmlns:a16="http://schemas.microsoft.com/office/drawing/2014/main" id="{07821E4F-4340-F42A-8AC0-74B077A3B304}"/>
              </a:ext>
            </a:extLst>
          </p:cNvPr>
          <p:cNvSpPr txBox="1"/>
          <p:nvPr/>
        </p:nvSpPr>
        <p:spPr>
          <a:xfrm>
            <a:off x="6205230" y="4262701"/>
            <a:ext cx="135565" cy="12311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algn="r">
              <a:defRPr sz="1000"/>
            </a:lvl1pPr>
          </a:lstStyle>
          <a:p>
            <a:pPr algn="ctr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5</a:t>
            </a:r>
            <a:endParaRPr lang="de-DE" sz="800" dirty="0"/>
          </a:p>
        </p:txBody>
      </p:sp>
      <p:sp>
        <p:nvSpPr>
          <p:cNvPr id="115" name="TextBox 18, chunk 11">
            <a:extLst>
              <a:ext uri="{FF2B5EF4-FFF2-40B4-BE49-F238E27FC236}">
                <a16:creationId xmlns:a16="http://schemas.microsoft.com/office/drawing/2014/main" id="{2973CFAB-2110-FEAF-995A-42A1C43F619C}"/>
              </a:ext>
            </a:extLst>
          </p:cNvPr>
          <p:cNvSpPr txBox="1"/>
          <p:nvPr/>
        </p:nvSpPr>
        <p:spPr>
          <a:xfrm>
            <a:off x="6017435" y="4262701"/>
            <a:ext cx="135565" cy="12311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algn="r">
              <a:defRPr sz="1000"/>
            </a:lvl1pPr>
          </a:lstStyle>
          <a:p>
            <a:pPr algn="ctr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</a:t>
            </a:r>
            <a:endParaRPr lang="de-DE" sz="800" dirty="0"/>
          </a:p>
        </p:txBody>
      </p:sp>
      <p:sp>
        <p:nvSpPr>
          <p:cNvPr id="116" name="TextBox 18, chunk 11">
            <a:extLst>
              <a:ext uri="{FF2B5EF4-FFF2-40B4-BE49-F238E27FC236}">
                <a16:creationId xmlns:a16="http://schemas.microsoft.com/office/drawing/2014/main" id="{F82F9622-D59B-1301-1290-06B9CB437CB7}"/>
              </a:ext>
            </a:extLst>
          </p:cNvPr>
          <p:cNvSpPr txBox="1"/>
          <p:nvPr/>
        </p:nvSpPr>
        <p:spPr>
          <a:xfrm>
            <a:off x="5829640" y="4262701"/>
            <a:ext cx="135565" cy="12311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algn="r">
              <a:defRPr sz="1000"/>
            </a:lvl1pPr>
          </a:lstStyle>
          <a:p>
            <a:pPr algn="ctr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endParaRPr lang="de-DE" sz="800" dirty="0"/>
          </a:p>
        </p:txBody>
      </p:sp>
      <p:sp>
        <p:nvSpPr>
          <p:cNvPr id="117" name="TextBox 18, chunk 11">
            <a:extLst>
              <a:ext uri="{FF2B5EF4-FFF2-40B4-BE49-F238E27FC236}">
                <a16:creationId xmlns:a16="http://schemas.microsoft.com/office/drawing/2014/main" id="{AD5D2AAA-244D-F5C1-484F-AFFB20305983}"/>
              </a:ext>
            </a:extLst>
          </p:cNvPr>
          <p:cNvSpPr txBox="1"/>
          <p:nvPr/>
        </p:nvSpPr>
        <p:spPr>
          <a:xfrm>
            <a:off x="5641845" y="4262701"/>
            <a:ext cx="135565" cy="12311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algn="r">
              <a:defRPr sz="1000"/>
            </a:lvl1pPr>
          </a:lstStyle>
          <a:p>
            <a:pPr algn="ctr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</a:t>
            </a:r>
            <a:endParaRPr lang="de-DE" sz="800" dirty="0"/>
          </a:p>
        </p:txBody>
      </p:sp>
      <p:graphicFrame>
        <p:nvGraphicFramePr>
          <p:cNvPr id="118" name="Tabelle 117">
            <a:extLst>
              <a:ext uri="{FF2B5EF4-FFF2-40B4-BE49-F238E27FC236}">
                <a16:creationId xmlns:a16="http://schemas.microsoft.com/office/drawing/2014/main" id="{EB595F67-815A-0A7B-109E-22807CBAB5C9}"/>
              </a:ext>
            </a:extLst>
          </p:cNvPr>
          <p:cNvGraphicFramePr>
            <a:graphicFrameLocks noGrp="1"/>
          </p:cNvGraphicFramePr>
          <p:nvPr/>
        </p:nvGraphicFramePr>
        <p:xfrm>
          <a:off x="4548738" y="4629300"/>
          <a:ext cx="3866400" cy="320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000">
                  <a:extLst>
                    <a:ext uri="{9D8B030D-6E8A-4147-A177-3AD203B41FA5}">
                      <a16:colId xmlns:a16="http://schemas.microsoft.com/office/drawing/2014/main" val="1378299196"/>
                    </a:ext>
                  </a:extLst>
                </a:gridCol>
                <a:gridCol w="187200">
                  <a:extLst>
                    <a:ext uri="{9D8B030D-6E8A-4147-A177-3AD203B41FA5}">
                      <a16:colId xmlns:a16="http://schemas.microsoft.com/office/drawing/2014/main" val="2720059670"/>
                    </a:ext>
                  </a:extLst>
                </a:gridCol>
                <a:gridCol w="187200">
                  <a:extLst>
                    <a:ext uri="{9D8B030D-6E8A-4147-A177-3AD203B41FA5}">
                      <a16:colId xmlns:a16="http://schemas.microsoft.com/office/drawing/2014/main" val="3558843235"/>
                    </a:ext>
                  </a:extLst>
                </a:gridCol>
                <a:gridCol w="187200">
                  <a:extLst>
                    <a:ext uri="{9D8B030D-6E8A-4147-A177-3AD203B41FA5}">
                      <a16:colId xmlns:a16="http://schemas.microsoft.com/office/drawing/2014/main" val="642524864"/>
                    </a:ext>
                  </a:extLst>
                </a:gridCol>
                <a:gridCol w="187200">
                  <a:extLst>
                    <a:ext uri="{9D8B030D-6E8A-4147-A177-3AD203B41FA5}">
                      <a16:colId xmlns:a16="http://schemas.microsoft.com/office/drawing/2014/main" val="400611306"/>
                    </a:ext>
                  </a:extLst>
                </a:gridCol>
                <a:gridCol w="187200">
                  <a:extLst>
                    <a:ext uri="{9D8B030D-6E8A-4147-A177-3AD203B41FA5}">
                      <a16:colId xmlns:a16="http://schemas.microsoft.com/office/drawing/2014/main" val="3315586355"/>
                    </a:ext>
                  </a:extLst>
                </a:gridCol>
                <a:gridCol w="187200">
                  <a:extLst>
                    <a:ext uri="{9D8B030D-6E8A-4147-A177-3AD203B41FA5}">
                      <a16:colId xmlns:a16="http://schemas.microsoft.com/office/drawing/2014/main" val="1430594064"/>
                    </a:ext>
                  </a:extLst>
                </a:gridCol>
                <a:gridCol w="187200">
                  <a:extLst>
                    <a:ext uri="{9D8B030D-6E8A-4147-A177-3AD203B41FA5}">
                      <a16:colId xmlns:a16="http://schemas.microsoft.com/office/drawing/2014/main" val="3098826525"/>
                    </a:ext>
                  </a:extLst>
                </a:gridCol>
                <a:gridCol w="187200">
                  <a:extLst>
                    <a:ext uri="{9D8B030D-6E8A-4147-A177-3AD203B41FA5}">
                      <a16:colId xmlns:a16="http://schemas.microsoft.com/office/drawing/2014/main" val="3997508032"/>
                    </a:ext>
                  </a:extLst>
                </a:gridCol>
                <a:gridCol w="187200">
                  <a:extLst>
                    <a:ext uri="{9D8B030D-6E8A-4147-A177-3AD203B41FA5}">
                      <a16:colId xmlns:a16="http://schemas.microsoft.com/office/drawing/2014/main" val="2238665104"/>
                    </a:ext>
                  </a:extLst>
                </a:gridCol>
                <a:gridCol w="187200">
                  <a:extLst>
                    <a:ext uri="{9D8B030D-6E8A-4147-A177-3AD203B41FA5}">
                      <a16:colId xmlns:a16="http://schemas.microsoft.com/office/drawing/2014/main" val="1973714109"/>
                    </a:ext>
                  </a:extLst>
                </a:gridCol>
                <a:gridCol w="187200">
                  <a:extLst>
                    <a:ext uri="{9D8B030D-6E8A-4147-A177-3AD203B41FA5}">
                      <a16:colId xmlns:a16="http://schemas.microsoft.com/office/drawing/2014/main" val="2348681457"/>
                    </a:ext>
                  </a:extLst>
                </a:gridCol>
                <a:gridCol w="187200">
                  <a:extLst>
                    <a:ext uri="{9D8B030D-6E8A-4147-A177-3AD203B41FA5}">
                      <a16:colId xmlns:a16="http://schemas.microsoft.com/office/drawing/2014/main" val="1616841387"/>
                    </a:ext>
                  </a:extLst>
                </a:gridCol>
                <a:gridCol w="187200">
                  <a:extLst>
                    <a:ext uri="{9D8B030D-6E8A-4147-A177-3AD203B41FA5}">
                      <a16:colId xmlns:a16="http://schemas.microsoft.com/office/drawing/2014/main" val="2970693511"/>
                    </a:ext>
                  </a:extLst>
                </a:gridCol>
                <a:gridCol w="187200">
                  <a:extLst>
                    <a:ext uri="{9D8B030D-6E8A-4147-A177-3AD203B41FA5}">
                      <a16:colId xmlns:a16="http://schemas.microsoft.com/office/drawing/2014/main" val="1949858827"/>
                    </a:ext>
                  </a:extLst>
                </a:gridCol>
                <a:gridCol w="187200">
                  <a:extLst>
                    <a:ext uri="{9D8B030D-6E8A-4147-A177-3AD203B41FA5}">
                      <a16:colId xmlns:a16="http://schemas.microsoft.com/office/drawing/2014/main" val="2491663293"/>
                    </a:ext>
                  </a:extLst>
                </a:gridCol>
                <a:gridCol w="187200">
                  <a:extLst>
                    <a:ext uri="{9D8B030D-6E8A-4147-A177-3AD203B41FA5}">
                      <a16:colId xmlns:a16="http://schemas.microsoft.com/office/drawing/2014/main" val="3259900859"/>
                    </a:ext>
                  </a:extLst>
                </a:gridCol>
                <a:gridCol w="187200">
                  <a:extLst>
                    <a:ext uri="{9D8B030D-6E8A-4147-A177-3AD203B41FA5}">
                      <a16:colId xmlns:a16="http://schemas.microsoft.com/office/drawing/2014/main" val="306048900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de-DE" sz="700" b="1">
                          <a:solidFill>
                            <a:srgbClr val="FF0000"/>
                          </a:solidFill>
                        </a:rPr>
                        <a:t>Kontrolle</a:t>
                      </a:r>
                      <a:endParaRPr lang="de-DE" sz="700" b="1" dirty="0">
                        <a:solidFill>
                          <a:srgbClr val="FF0000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0000"/>
                          </a:solidFill>
                        </a:rPr>
                        <a:t>73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0000"/>
                          </a:solidFill>
                        </a:rPr>
                        <a:t>3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0000"/>
                          </a:solidFill>
                        </a:rPr>
                        <a:t>2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0000"/>
                          </a:solidFill>
                        </a:rPr>
                        <a:t>15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0000"/>
                          </a:solidFill>
                        </a:rPr>
                        <a:t>13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0000"/>
                          </a:solidFill>
                        </a:rPr>
                        <a:t>1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0000"/>
                          </a:solidFill>
                        </a:rPr>
                        <a:t>9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0000"/>
                          </a:solidFill>
                        </a:rPr>
                        <a:t>7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0000"/>
                          </a:solidFill>
                        </a:rPr>
                        <a:t>7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0000"/>
                          </a:solidFill>
                        </a:rPr>
                        <a:t>6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0000"/>
                          </a:solidFill>
                        </a:rPr>
                        <a:t>5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0000"/>
                          </a:solidFill>
                        </a:rPr>
                        <a:t>4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0000"/>
                          </a:solidFill>
                        </a:rPr>
                        <a:t>4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0000"/>
                          </a:solidFill>
                        </a:rPr>
                        <a:t>4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0000"/>
                          </a:solidFill>
                        </a:rPr>
                        <a:t>3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0000"/>
                          </a:solidFill>
                        </a:rPr>
                        <a:t>3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0000"/>
                          </a:solidFill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35971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>
                          <a:solidFill>
                            <a:srgbClr val="0460A9"/>
                          </a:solidFill>
                        </a:rPr>
                        <a:t>Geplanter </a:t>
                      </a:r>
                      <a:r>
                        <a:rPr lang="de-DE" sz="700" b="1" dirty="0">
                          <a:solidFill>
                            <a:srgbClr val="0460A9"/>
                          </a:solidFill>
                        </a:rPr>
                        <a:t>Switch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</a:rPr>
                        <a:t>100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</a:rPr>
                        <a:t>65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</a:rPr>
                        <a:t>42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</a:rPr>
                        <a:t>37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</a:rPr>
                        <a:t>30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</a:rPr>
                        <a:t>26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</a:rPr>
                        <a:t>24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</a:rPr>
                        <a:t>23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</a:rPr>
                        <a:t>21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</a:rPr>
                        <a:t>20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</a:rPr>
                        <a:t>17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</a:rPr>
                        <a:t>16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</a:rPr>
                        <a:t>16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</a:rPr>
                        <a:t>14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</a:rPr>
                        <a:t>14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</a:rPr>
                        <a:t>14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</a:rPr>
                        <a:t>12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0541496"/>
                  </a:ext>
                </a:extLst>
              </a:tr>
            </a:tbl>
          </a:graphicData>
        </a:graphic>
      </p:graphicFrame>
      <p:sp>
        <p:nvSpPr>
          <p:cNvPr id="119" name="TextBox 18, chunk 11">
            <a:extLst>
              <a:ext uri="{FF2B5EF4-FFF2-40B4-BE49-F238E27FC236}">
                <a16:creationId xmlns:a16="http://schemas.microsoft.com/office/drawing/2014/main" id="{E1DE47EE-EAE9-5DD5-D7D7-3A28060CAD7A}"/>
              </a:ext>
            </a:extLst>
          </p:cNvPr>
          <p:cNvSpPr txBox="1"/>
          <p:nvPr/>
        </p:nvSpPr>
        <p:spPr>
          <a:xfrm>
            <a:off x="5425484" y="4007299"/>
            <a:ext cx="591208" cy="12311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algn="r">
              <a:defRPr sz="1000"/>
            </a:lvl1pPr>
          </a:lstStyle>
          <a:p>
            <a:pPr algn="ctr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 &lt; 0,0001</a:t>
            </a:r>
            <a:endParaRPr lang="de-DE" sz="800" dirty="0"/>
          </a:p>
        </p:txBody>
      </p:sp>
      <p:graphicFrame>
        <p:nvGraphicFramePr>
          <p:cNvPr id="122" name="Tabelle 121">
            <a:extLst>
              <a:ext uri="{FF2B5EF4-FFF2-40B4-BE49-F238E27FC236}">
                <a16:creationId xmlns:a16="http://schemas.microsoft.com/office/drawing/2014/main" id="{A5653736-6E6F-BEF0-4EB4-D1DCBB1E0469}"/>
              </a:ext>
            </a:extLst>
          </p:cNvPr>
          <p:cNvGraphicFramePr>
            <a:graphicFrameLocks noGrp="1"/>
          </p:cNvGraphicFramePr>
          <p:nvPr/>
        </p:nvGraphicFramePr>
        <p:xfrm>
          <a:off x="2475467" y="1995862"/>
          <a:ext cx="1728000" cy="4219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8000">
                  <a:extLst>
                    <a:ext uri="{9D8B030D-6E8A-4147-A177-3AD203B41FA5}">
                      <a16:colId xmlns:a16="http://schemas.microsoft.com/office/drawing/2014/main" val="4136499233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63488844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171629828"/>
                    </a:ext>
                  </a:extLst>
                </a:gridCol>
              </a:tblGrid>
              <a:tr h="140645">
                <a:tc>
                  <a:txBody>
                    <a:bodyPr/>
                    <a:lstStyle/>
                    <a:p>
                      <a:endParaRPr lang="de-DE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1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1" dirty="0">
                          <a:solidFill>
                            <a:schemeClr val="tx1"/>
                          </a:solidFill>
                        </a:rPr>
                        <a:t>95%-KI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2806014"/>
                  </a:ext>
                </a:extLst>
              </a:tr>
              <a:tr h="140645">
                <a:tc>
                  <a:txBody>
                    <a:bodyPr/>
                    <a:lstStyle/>
                    <a:p>
                      <a:r>
                        <a:rPr lang="de-DE" sz="800" b="0" dirty="0">
                          <a:solidFill>
                            <a:schemeClr val="tx1"/>
                          </a:solidFill>
                        </a:rPr>
                        <a:t>Kontrolle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tx1"/>
                          </a:solidFill>
                        </a:rPr>
                        <a:t>23,0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tx1"/>
                          </a:solidFill>
                        </a:rPr>
                        <a:t>18,2–28,8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579295"/>
                  </a:ext>
                </a:extLst>
              </a:tr>
              <a:tr h="14064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/>
                          </a:solidFill>
                        </a:rPr>
                        <a:t>Geplanter Switch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tx1"/>
                          </a:solidFill>
                        </a:rPr>
                        <a:t>42,1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tx1"/>
                          </a:solidFill>
                        </a:rPr>
                        <a:t>25,6–73,8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8700640"/>
                  </a:ext>
                </a:extLst>
              </a:tr>
            </a:tbl>
          </a:graphicData>
        </a:graphic>
      </p:graphicFrame>
      <p:graphicFrame>
        <p:nvGraphicFramePr>
          <p:cNvPr id="125" name="Tabelle 124">
            <a:extLst>
              <a:ext uri="{FF2B5EF4-FFF2-40B4-BE49-F238E27FC236}">
                <a16:creationId xmlns:a16="http://schemas.microsoft.com/office/drawing/2014/main" id="{EB43BB0C-CF00-6E4C-E618-9B2329DC8646}"/>
              </a:ext>
            </a:extLst>
          </p:cNvPr>
          <p:cNvGraphicFramePr>
            <a:graphicFrameLocks noGrp="1"/>
          </p:cNvGraphicFramePr>
          <p:nvPr/>
        </p:nvGraphicFramePr>
        <p:xfrm>
          <a:off x="6557457" y="1995863"/>
          <a:ext cx="1728000" cy="4219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8000">
                  <a:extLst>
                    <a:ext uri="{9D8B030D-6E8A-4147-A177-3AD203B41FA5}">
                      <a16:colId xmlns:a16="http://schemas.microsoft.com/office/drawing/2014/main" val="4136499233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63488844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171629828"/>
                    </a:ext>
                  </a:extLst>
                </a:gridCol>
              </a:tblGrid>
              <a:tr h="140645">
                <a:tc>
                  <a:txBody>
                    <a:bodyPr/>
                    <a:lstStyle/>
                    <a:p>
                      <a:endParaRPr lang="de-DE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1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1" dirty="0">
                          <a:solidFill>
                            <a:schemeClr val="tx1"/>
                          </a:solidFill>
                        </a:rPr>
                        <a:t>95%-KI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2806014"/>
                  </a:ext>
                </a:extLst>
              </a:tr>
              <a:tr h="140645">
                <a:tc>
                  <a:txBody>
                    <a:bodyPr/>
                    <a:lstStyle/>
                    <a:p>
                      <a:r>
                        <a:rPr lang="de-DE" sz="800" b="0" dirty="0">
                          <a:solidFill>
                            <a:schemeClr val="tx1"/>
                          </a:solidFill>
                        </a:rPr>
                        <a:t>Kontrolle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tx1"/>
                          </a:solidFill>
                        </a:rPr>
                        <a:t>3,4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tx1"/>
                          </a:solidFill>
                        </a:rPr>
                        <a:t>2,2–5,9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579295"/>
                  </a:ext>
                </a:extLst>
              </a:tr>
              <a:tr h="14064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/>
                          </a:solidFill>
                        </a:rPr>
                        <a:t>Geplanter Switch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tx1"/>
                          </a:solidFill>
                        </a:rPr>
                        <a:t>5,6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tx1"/>
                          </a:solidFill>
                        </a:rPr>
                        <a:t>4,1–10,5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8700640"/>
                  </a:ext>
                </a:extLst>
              </a:tr>
            </a:tbl>
          </a:graphicData>
        </a:graphic>
      </p:graphicFrame>
      <p:grpSp>
        <p:nvGrpSpPr>
          <p:cNvPr id="128" name="Gruppieren 127">
            <a:extLst>
              <a:ext uri="{FF2B5EF4-FFF2-40B4-BE49-F238E27FC236}">
                <a16:creationId xmlns:a16="http://schemas.microsoft.com/office/drawing/2014/main" id="{1EA1AF28-471D-05AA-B227-D240D11F92E0}"/>
              </a:ext>
            </a:extLst>
          </p:cNvPr>
          <p:cNvGrpSpPr/>
          <p:nvPr/>
        </p:nvGrpSpPr>
        <p:grpSpPr>
          <a:xfrm>
            <a:off x="2293634" y="2210962"/>
            <a:ext cx="141243" cy="146158"/>
            <a:chOff x="2044699" y="2210962"/>
            <a:chExt cx="402336" cy="266482"/>
          </a:xfrm>
        </p:grpSpPr>
        <p:cxnSp>
          <p:nvCxnSpPr>
            <p:cNvPr id="126" name="Gerader Verbinder 125">
              <a:extLst>
                <a:ext uri="{FF2B5EF4-FFF2-40B4-BE49-F238E27FC236}">
                  <a16:creationId xmlns:a16="http://schemas.microsoft.com/office/drawing/2014/main" id="{6DF22977-C1A9-CDE1-AFF5-DBD86F334CB6}"/>
                </a:ext>
              </a:extLst>
            </p:cNvPr>
            <p:cNvCxnSpPr/>
            <p:nvPr/>
          </p:nvCxnSpPr>
          <p:spPr>
            <a:xfrm>
              <a:off x="2044699" y="2210962"/>
              <a:ext cx="402336" cy="0"/>
            </a:xfrm>
            <a:prstGeom prst="line">
              <a:avLst/>
            </a:prstGeom>
            <a:ln w="222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Gerader Verbinder 126">
              <a:extLst>
                <a:ext uri="{FF2B5EF4-FFF2-40B4-BE49-F238E27FC236}">
                  <a16:creationId xmlns:a16="http://schemas.microsoft.com/office/drawing/2014/main" id="{59C21E4F-A85E-433E-A140-D805913F9EB0}"/>
                </a:ext>
              </a:extLst>
            </p:cNvPr>
            <p:cNvCxnSpPr/>
            <p:nvPr/>
          </p:nvCxnSpPr>
          <p:spPr>
            <a:xfrm>
              <a:off x="2044699" y="2477444"/>
              <a:ext cx="402336" cy="0"/>
            </a:xfrm>
            <a:prstGeom prst="line">
              <a:avLst/>
            </a:prstGeom>
            <a:ln w="2222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9" name="Gruppieren 128">
            <a:extLst>
              <a:ext uri="{FF2B5EF4-FFF2-40B4-BE49-F238E27FC236}">
                <a16:creationId xmlns:a16="http://schemas.microsoft.com/office/drawing/2014/main" id="{AF54BF4C-AA57-F1F9-9A4A-2F265101C2BA}"/>
              </a:ext>
            </a:extLst>
          </p:cNvPr>
          <p:cNvGrpSpPr/>
          <p:nvPr/>
        </p:nvGrpSpPr>
        <p:grpSpPr>
          <a:xfrm>
            <a:off x="6358582" y="2210962"/>
            <a:ext cx="141243" cy="146158"/>
            <a:chOff x="2044699" y="2210962"/>
            <a:chExt cx="402336" cy="266482"/>
          </a:xfrm>
        </p:grpSpPr>
        <p:cxnSp>
          <p:nvCxnSpPr>
            <p:cNvPr id="130" name="Gerader Verbinder 129">
              <a:extLst>
                <a:ext uri="{FF2B5EF4-FFF2-40B4-BE49-F238E27FC236}">
                  <a16:creationId xmlns:a16="http://schemas.microsoft.com/office/drawing/2014/main" id="{32DDE0C8-2663-C6DA-3B77-298F58FA6C5A}"/>
                </a:ext>
              </a:extLst>
            </p:cNvPr>
            <p:cNvCxnSpPr/>
            <p:nvPr/>
          </p:nvCxnSpPr>
          <p:spPr>
            <a:xfrm>
              <a:off x="2044699" y="2210962"/>
              <a:ext cx="402336" cy="0"/>
            </a:xfrm>
            <a:prstGeom prst="line">
              <a:avLst/>
            </a:prstGeom>
            <a:ln w="222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r Verbinder 130">
              <a:extLst>
                <a:ext uri="{FF2B5EF4-FFF2-40B4-BE49-F238E27FC236}">
                  <a16:creationId xmlns:a16="http://schemas.microsoft.com/office/drawing/2014/main" id="{BF2E226F-0FB0-1CB3-8D7C-08E3BCAD3C52}"/>
                </a:ext>
              </a:extLst>
            </p:cNvPr>
            <p:cNvCxnSpPr/>
            <p:nvPr/>
          </p:nvCxnSpPr>
          <p:spPr>
            <a:xfrm>
              <a:off x="2044699" y="2477444"/>
              <a:ext cx="402336" cy="0"/>
            </a:xfrm>
            <a:prstGeom prst="line">
              <a:avLst/>
            </a:prstGeom>
            <a:ln w="2222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extBox 18, chunk 1">
            <a:extLst>
              <a:ext uri="{FF2B5EF4-FFF2-40B4-BE49-F238E27FC236}">
                <a16:creationId xmlns:a16="http://schemas.microsoft.com/office/drawing/2014/main" id="{A09C4B3B-018B-B515-2C63-659537F9AFC4}"/>
              </a:ext>
            </a:extLst>
          </p:cNvPr>
          <p:cNvSpPr txBox="1"/>
          <p:nvPr/>
        </p:nvSpPr>
        <p:spPr>
          <a:xfrm>
            <a:off x="5740448" y="4414337"/>
            <a:ext cx="2200708" cy="15388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algn="r"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eit in Monaten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47250B2-49A1-D3C5-1BAF-8C707F8280FC}"/>
              </a:ext>
            </a:extLst>
          </p:cNvPr>
          <p:cNvSpPr txBox="1"/>
          <p:nvPr/>
        </p:nvSpPr>
        <p:spPr>
          <a:xfrm rot="16200000">
            <a:off x="-291759" y="2967602"/>
            <a:ext cx="187772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000" b="1" dirty="0"/>
              <a:t>Wahrscheinlichkeit für OS unter 1L BRAF/</a:t>
            </a:r>
            <a:r>
              <a:rPr lang="de-DE" sz="1000" b="1" dirty="0" err="1"/>
              <a:t>MEKi</a:t>
            </a:r>
            <a:endParaRPr lang="de-DE" sz="1000" b="1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780BC7A2-0CF2-33BB-3DFE-4D8F3E079C48}"/>
              </a:ext>
            </a:extLst>
          </p:cNvPr>
          <p:cNvSpPr txBox="1"/>
          <p:nvPr/>
        </p:nvSpPr>
        <p:spPr>
          <a:xfrm rot="16200000">
            <a:off x="3869307" y="2991801"/>
            <a:ext cx="187772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000" b="1" dirty="0"/>
              <a:t>Wahrscheinlichkeit für PFS </a:t>
            </a:r>
            <a:r>
              <a:rPr lang="de-DE" sz="1000" b="1"/>
              <a:t>unter  2L  ICI</a:t>
            </a:r>
            <a:endParaRPr lang="de-DE" sz="1000" b="1" dirty="0"/>
          </a:p>
        </p:txBody>
      </p:sp>
    </p:spTree>
    <p:extLst>
      <p:ext uri="{BB962C8B-B14F-4D97-AF65-F5344CB8AC3E}">
        <p14:creationId xmlns:p14="http://schemas.microsoft.com/office/powerpoint/2010/main" val="34523117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feld 14">
            <a:extLst>
              <a:ext uri="{FF2B5EF4-FFF2-40B4-BE49-F238E27FC236}">
                <a16:creationId xmlns:a16="http://schemas.microsoft.com/office/drawing/2014/main" id="{6DEB4964-C3DC-0D49-882E-3E05EE6DBE87}"/>
              </a:ext>
            </a:extLst>
          </p:cNvPr>
          <p:cNvSpPr txBox="1"/>
          <p:nvPr/>
        </p:nvSpPr>
        <p:spPr>
          <a:xfrm>
            <a:off x="1817167" y="3193383"/>
            <a:ext cx="7364412" cy="64698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108000" lvl="2">
              <a:spcAft>
                <a:spcPts val="1200"/>
              </a:spcAft>
              <a:buClr>
                <a:srgbClr val="FF585D"/>
              </a:buClr>
              <a:defRPr/>
            </a:pPr>
            <a:r>
              <a:rPr lang="de-DE" sz="1600" dirty="0">
                <a:solidFill>
                  <a:schemeClr val="accent1"/>
                </a:solidFill>
              </a:rPr>
              <a:t>Ein </a:t>
            </a:r>
            <a:r>
              <a:rPr lang="de-DE" sz="1600" dirty="0" err="1">
                <a:solidFill>
                  <a:schemeClr val="accent1"/>
                </a:solidFill>
              </a:rPr>
              <a:t>Rechallenge</a:t>
            </a:r>
            <a:r>
              <a:rPr lang="de-DE" sz="1600" dirty="0">
                <a:solidFill>
                  <a:schemeClr val="accent1"/>
                </a:solidFill>
              </a:rPr>
              <a:t> mit BRAF/</a:t>
            </a:r>
            <a:r>
              <a:rPr lang="de-DE" sz="1600" dirty="0" err="1">
                <a:solidFill>
                  <a:schemeClr val="accent1"/>
                </a:solidFill>
              </a:rPr>
              <a:t>MEKi</a:t>
            </a:r>
            <a:r>
              <a:rPr lang="de-DE" sz="1600" dirty="0">
                <a:solidFill>
                  <a:schemeClr val="accent1"/>
                </a:solidFill>
              </a:rPr>
              <a:t> nach ICI-Versagen ist eine klinisch sinnvolle Option, insbesondere bei limitierten Alternativen. 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02ECE581-9481-0E49-5E45-70190C43436C}"/>
              </a:ext>
            </a:extLst>
          </p:cNvPr>
          <p:cNvSpPr txBox="1"/>
          <p:nvPr/>
        </p:nvSpPr>
        <p:spPr>
          <a:xfrm>
            <a:off x="1813182" y="4420706"/>
            <a:ext cx="7364412" cy="119181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108000" lvl="2">
              <a:spcAft>
                <a:spcPts val="1200"/>
              </a:spcAft>
              <a:buClr>
                <a:srgbClr val="FF585D"/>
              </a:buClr>
              <a:defRPr/>
            </a:pPr>
            <a:r>
              <a:rPr lang="de-DE" sz="1600" dirty="0">
                <a:solidFill>
                  <a:schemeClr val="accent1"/>
                </a:solidFill>
              </a:rPr>
              <a:t>Ein geplanter Switch zu ICI vor Progression sollte in zukünftigen Leitlinien berücksichtigt werden. Diese Strategie könnte v. a. für Patient*innen relevant sein, die initial nicht für eine ICI geeignet sind, aber nach Stabilisierung unter BRAF/</a:t>
            </a:r>
            <a:r>
              <a:rPr lang="de-DE" sz="1600" dirty="0" err="1">
                <a:solidFill>
                  <a:schemeClr val="accent1"/>
                </a:solidFill>
              </a:rPr>
              <a:t>MEKi</a:t>
            </a:r>
            <a:r>
              <a:rPr lang="de-DE" sz="1600" dirty="0">
                <a:solidFill>
                  <a:schemeClr val="accent1"/>
                </a:solidFill>
              </a:rPr>
              <a:t> einen Wechsel erwägen.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0D3A81A5-19C9-555F-96C8-27BF88C4FFFA}"/>
              </a:ext>
            </a:extLst>
          </p:cNvPr>
          <p:cNvSpPr txBox="1"/>
          <p:nvPr/>
        </p:nvSpPr>
        <p:spPr>
          <a:xfrm>
            <a:off x="1817744" y="1512009"/>
            <a:ext cx="7364412" cy="91940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108000" lvl="2">
              <a:spcAft>
                <a:spcPts val="1200"/>
              </a:spcAft>
              <a:buClr>
                <a:srgbClr val="FF585D"/>
              </a:buClr>
              <a:defRPr/>
            </a:pPr>
            <a:r>
              <a:rPr lang="de-DE" sz="1600" dirty="0">
                <a:solidFill>
                  <a:schemeClr val="accent1"/>
                </a:solidFill>
              </a:rPr>
              <a:t>Die Daten unterstützen die aktuelle Praxis, ICI als Erstlinie zu bevorzugen und BRAF/</a:t>
            </a:r>
            <a:r>
              <a:rPr lang="de-DE" sz="1600" dirty="0" err="1">
                <a:solidFill>
                  <a:schemeClr val="accent1"/>
                </a:solidFill>
              </a:rPr>
              <a:t>MEKi</a:t>
            </a:r>
            <a:r>
              <a:rPr lang="de-DE" sz="1600" dirty="0">
                <a:solidFill>
                  <a:schemeClr val="accent1"/>
                </a:solidFill>
              </a:rPr>
              <a:t> als Zweitlinie einzusetzen. Davon könnten v. a. Patient*innen profitieren, die bereits auf die 1L ICI angesprochen haben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663E15-777D-5162-5377-9230918A0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Fazit</a:t>
            </a:r>
            <a:r>
              <a:rPr lang="en-GB" dirty="0"/>
              <a:t> aus den </a:t>
            </a:r>
            <a:r>
              <a:rPr lang="en-GB" dirty="0" err="1"/>
              <a:t>EUMelaReg-Analyse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32313F9-0510-D1F7-9B8F-38E849250C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10705" y="6602044"/>
            <a:ext cx="465174" cy="180000"/>
          </a:xfrm>
        </p:spPr>
        <p:txBody>
          <a:bodyPr/>
          <a:lstStyle/>
          <a:p>
            <a:fld id="{03CB0E19-F4C8-4F98-96D2-CE1ECDE59975}" type="slidenum">
              <a:rPr lang="en-GB" smtClean="0"/>
              <a:t>13</a:t>
            </a:fld>
            <a:endParaRPr lang="en-GB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6D2E4FF-9C54-D82B-39ED-1127004E54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L/2L </a:t>
            </a: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rstlinie/Zweitlinie. </a:t>
            </a: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RAF </a:t>
            </a: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rin/Threonin-Kinase B-</a:t>
            </a:r>
            <a:r>
              <a:rPr kumimoji="0" lang="de-DE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af</a:t>
            </a: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CI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muncheckpoint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Inhibitor. </a:t>
            </a: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K </a:t>
            </a:r>
            <a:r>
              <a:rPr kumimoji="0" lang="de-DE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togen</a:t>
            </a: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aktivierte Proteinkinase-Kinase. </a:t>
            </a: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</a:t>
            </a: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Gesamtüberleben. </a:t>
            </a: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FS </a:t>
            </a: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gressionsfreies Überleben.</a:t>
            </a:r>
          </a:p>
          <a:p>
            <a:pPr>
              <a:defRPr/>
            </a:pP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</a:t>
            </a:r>
            <a:r>
              <a:rPr lang="de-DE" dirty="0" err="1"/>
              <a:t>Ellebaek</a:t>
            </a:r>
            <a:r>
              <a:rPr lang="de-DE" dirty="0"/>
              <a:t> E, et al. ESMO 2025. Poster 1646P. </a:t>
            </a: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 </a:t>
            </a: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avrilova I, et al. ESMO 2025. Poster 1642P. </a:t>
            </a: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 </a:t>
            </a:r>
            <a:r>
              <a:rPr kumimoji="0" lang="de-DE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eichenthal</a:t>
            </a: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, et al. ESMO 2025. Poster 1623P. </a:t>
            </a:r>
          </a:p>
        </p:txBody>
      </p:sp>
      <p:pic>
        <p:nvPicPr>
          <p:cNvPr id="6" name="Grafik 5" descr="Ein Bild, das Kreis, Grafiken, Schrift, Logo enthält.&#10;&#10;KI-generierte Inhalte können fehlerhaft sein.">
            <a:extLst>
              <a:ext uri="{FF2B5EF4-FFF2-40B4-BE49-F238E27FC236}">
                <a16:creationId xmlns:a16="http://schemas.microsoft.com/office/drawing/2014/main" id="{765B2F5D-29AF-E4D0-65A4-6AA9E62FAD6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428" y="1457106"/>
            <a:ext cx="900000" cy="900000"/>
          </a:xfrm>
          <a:prstGeom prst="rect">
            <a:avLst/>
          </a:prstGeom>
        </p:spPr>
      </p:pic>
      <p:pic>
        <p:nvPicPr>
          <p:cNvPr id="10" name="Grafik 9" descr="Ein Bild, das Kreis, Grafiken, Schrift, Logo enthält.&#10;&#10;KI-generierte Inhalte können fehlerhaft sein.">
            <a:extLst>
              <a:ext uri="{FF2B5EF4-FFF2-40B4-BE49-F238E27FC236}">
                <a16:creationId xmlns:a16="http://schemas.microsoft.com/office/drawing/2014/main" id="{A7712015-53B7-88D1-8A99-695EAA4E8C2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391" y="2956210"/>
            <a:ext cx="900000" cy="900000"/>
          </a:xfrm>
          <a:prstGeom prst="rect">
            <a:avLst/>
          </a:prstGeom>
        </p:spPr>
      </p:pic>
      <p:pic>
        <p:nvPicPr>
          <p:cNvPr id="11" name="Grafik 10" descr="Ein Bild, das Kreis, Grafiken, Schrift, Logo enthält.&#10;&#10;KI-generierte Inhalte können fehlerhaft sein.">
            <a:extLst>
              <a:ext uri="{FF2B5EF4-FFF2-40B4-BE49-F238E27FC236}">
                <a16:creationId xmlns:a16="http://schemas.microsoft.com/office/drawing/2014/main" id="{6E564AF4-858D-C65F-3641-A4F8D7433B3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391" y="4413480"/>
            <a:ext cx="900000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21080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1E4380-6474-A80B-F39F-3EE9C19AE2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D045430-47B9-A7CD-B43A-4C60FC7936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152601"/>
            <a:ext cx="7449664" cy="2276399"/>
          </a:xfrm>
        </p:spPr>
        <p:txBody>
          <a:bodyPr>
            <a:noAutofit/>
          </a:bodyPr>
          <a:lstStyle/>
          <a:p>
            <a:r>
              <a:rPr lang="en-US" sz="3200" dirty="0"/>
              <a:t>Efficiency of second-line BRAF/MEK inhibitors in BRAFV600 mutated metastatic melanoma patients after first-line immunotherapy failure. </a:t>
            </a:r>
            <a:br>
              <a:rPr lang="en-US" sz="3200" dirty="0"/>
            </a:br>
            <a:r>
              <a:rPr lang="en-US" sz="3200" dirty="0"/>
              <a:t>A </a:t>
            </a:r>
            <a:r>
              <a:rPr lang="en-US" sz="3200" dirty="0" err="1"/>
              <a:t>EUMelaReg</a:t>
            </a:r>
            <a:r>
              <a:rPr lang="en-US" sz="3200" dirty="0"/>
              <a:t> real-world study</a:t>
            </a:r>
            <a:endParaRPr lang="en-GB" sz="3200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22317D9E-7DBE-AC9C-26B7-0E45BA855FE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567037"/>
            <a:ext cx="6434137" cy="1047751"/>
          </a:xfrm>
        </p:spPr>
        <p:txBody>
          <a:bodyPr/>
          <a:lstStyle/>
          <a:p>
            <a:r>
              <a:rPr lang="en-GB" sz="900" dirty="0"/>
              <a:t>Eva Ellebaek</a:t>
            </a:r>
            <a:r>
              <a:rPr lang="en-GB" sz="900" baseline="30000" dirty="0"/>
              <a:t>1</a:t>
            </a:r>
            <a:r>
              <a:rPr lang="en-GB" sz="900" dirty="0"/>
              <a:t>, Michael Weichenthal</a:t>
            </a:r>
            <a:r>
              <a:rPr lang="en-GB" sz="900" baseline="30000" dirty="0"/>
              <a:t>2</a:t>
            </a:r>
            <a:r>
              <a:rPr lang="en-GB" sz="900" dirty="0"/>
              <a:t>, Iva Gavrilova</a:t>
            </a:r>
            <a:r>
              <a:rPr lang="en-GB" sz="900" baseline="30000" dirty="0"/>
              <a:t>3</a:t>
            </a:r>
            <a:r>
              <a:rPr lang="en-GB" sz="900" dirty="0"/>
              <a:t>, Nethanel Asher</a:t>
            </a:r>
            <a:r>
              <a:rPr lang="en-GB" sz="900" baseline="30000" dirty="0"/>
              <a:t>4</a:t>
            </a:r>
            <a:r>
              <a:rPr lang="en-GB" sz="900" dirty="0"/>
              <a:t>, Friedegund Meier</a:t>
            </a:r>
            <a:r>
              <a:rPr lang="en-GB" sz="900" baseline="30000" dirty="0"/>
              <a:t>5</a:t>
            </a:r>
            <a:r>
              <a:rPr lang="en-GB" sz="900" dirty="0"/>
              <a:t>, Imke von Wasielewski</a:t>
            </a:r>
            <a:r>
              <a:rPr lang="en-GB" sz="900" baseline="30000" dirty="0"/>
              <a:t>6</a:t>
            </a:r>
            <a:r>
              <a:rPr lang="en-GB" sz="900" dirty="0"/>
              <a:t>, Branko Dujovic</a:t>
            </a:r>
            <a:r>
              <a:rPr lang="en-GB" sz="900" baseline="30000" dirty="0"/>
              <a:t>7</a:t>
            </a:r>
            <a:r>
              <a:rPr lang="en-GB" sz="900" dirty="0"/>
              <a:t>, Viktor Šabarić</a:t>
            </a:r>
            <a:r>
              <a:rPr lang="en-GB" sz="900" baseline="30000" dirty="0"/>
              <a:t>8</a:t>
            </a:r>
            <a:r>
              <a:rPr lang="en-GB" sz="900" dirty="0"/>
              <a:t>, Tomislav Duvancic</a:t>
            </a:r>
            <a:r>
              <a:rPr lang="en-GB" sz="900" baseline="30000" dirty="0"/>
              <a:t>9</a:t>
            </a:r>
            <a:r>
              <a:rPr lang="en-GB" sz="900" dirty="0"/>
              <a:t>, Ainara Soria</a:t>
            </a:r>
            <a:r>
              <a:rPr lang="en-GB" sz="900" baseline="30000" dirty="0"/>
              <a:t>10</a:t>
            </a:r>
            <a:r>
              <a:rPr lang="en-GB" sz="900" dirty="0"/>
              <a:t>, Lourdes Gutiérrez</a:t>
            </a:r>
            <a:r>
              <a:rPr lang="en-GB" sz="900" baseline="30000" dirty="0"/>
              <a:t>11</a:t>
            </a:r>
            <a:r>
              <a:rPr lang="en-GB" sz="900" dirty="0"/>
              <a:t>, John Haanen</a:t>
            </a:r>
            <a:r>
              <a:rPr lang="en-GB" sz="900" baseline="30000" dirty="0"/>
              <a:t>12</a:t>
            </a:r>
            <a:r>
              <a:rPr lang="en-GB" sz="900" dirty="0"/>
              <a:t>,</a:t>
            </a:r>
          </a:p>
          <a:p>
            <a:r>
              <a:rPr lang="en-GB" sz="900" dirty="0"/>
              <a:t>Inge Marie Svane</a:t>
            </a:r>
            <a:r>
              <a:rPr lang="en-GB" sz="900" baseline="30000" dirty="0"/>
              <a:t>1</a:t>
            </a:r>
            <a:r>
              <a:rPr lang="en-GB" sz="900" dirty="0"/>
              <a:t>, Peter Mohr</a:t>
            </a:r>
            <a:r>
              <a:rPr lang="en-GB" sz="900" baseline="30000" dirty="0"/>
              <a:t>13</a:t>
            </a:r>
            <a:r>
              <a:rPr lang="en-GB" sz="900" dirty="0"/>
              <a:t>, Paolo Ascierto</a:t>
            </a:r>
            <a:r>
              <a:rPr lang="en-GB" sz="900" baseline="30000" dirty="0"/>
              <a:t>14</a:t>
            </a:r>
            <a:r>
              <a:rPr lang="en-GB" sz="900" dirty="0"/>
              <a:t>, Joanna Mangana</a:t>
            </a:r>
            <a:r>
              <a:rPr lang="en-GB" sz="900" baseline="30000" dirty="0"/>
              <a:t>15</a:t>
            </a:r>
            <a:r>
              <a:rPr lang="en-GB" sz="900" dirty="0"/>
              <a:t>, Piotr Rutkowski</a:t>
            </a:r>
            <a:r>
              <a:rPr lang="en-GB" sz="900" baseline="30000" dirty="0"/>
              <a:t>16</a:t>
            </a:r>
            <a:r>
              <a:rPr lang="en-GB" sz="900" dirty="0"/>
              <a:t>, Helen Gogas</a:t>
            </a:r>
            <a:r>
              <a:rPr lang="en-GB" sz="900" baseline="30000" dirty="0"/>
              <a:t>17</a:t>
            </a:r>
            <a:r>
              <a:rPr lang="en-GB" sz="900" dirty="0"/>
              <a:t>, </a:t>
            </a:r>
            <a:br>
              <a:rPr lang="en-GB" sz="900" dirty="0"/>
            </a:br>
            <a:r>
              <a:rPr lang="en-GB" sz="900" dirty="0"/>
              <a:t>Lars Bastholt</a:t>
            </a:r>
            <a:r>
              <a:rPr lang="en-GB" sz="900" baseline="30000" dirty="0"/>
              <a:t>18</a:t>
            </a:r>
            <a:r>
              <a:rPr lang="en-GB" sz="900" dirty="0"/>
              <a:t>, Dirk Schadendorf</a:t>
            </a:r>
            <a:r>
              <a:rPr lang="en-GB" sz="900" baseline="30000" dirty="0"/>
              <a:t>19</a:t>
            </a:r>
            <a:r>
              <a:rPr lang="en-GB" sz="900" dirty="0"/>
              <a:t>, the </a:t>
            </a:r>
            <a:r>
              <a:rPr lang="en-GB" sz="900" dirty="0" err="1"/>
              <a:t>EUMelaReg</a:t>
            </a:r>
            <a:r>
              <a:rPr lang="en-GB" sz="900" dirty="0"/>
              <a:t> Study Group</a:t>
            </a:r>
          </a:p>
          <a:p>
            <a:endParaRPr lang="en-GB" sz="900" dirty="0"/>
          </a:p>
          <a:p>
            <a:r>
              <a:rPr lang="en-GB" sz="700" b="0" baseline="30000" dirty="0"/>
              <a:t>1</a:t>
            </a:r>
            <a:r>
              <a:rPr lang="en-GB" sz="700" b="0" dirty="0"/>
              <a:t>National </a:t>
            </a:r>
            <a:r>
              <a:rPr lang="en-GB" sz="700" b="0" dirty="0" err="1"/>
              <a:t>Center</a:t>
            </a:r>
            <a:r>
              <a:rPr lang="en-GB" sz="700" b="0" dirty="0"/>
              <a:t> for Cancer Immune Therapy (CCIT-DK), Department of Oncology, Copenhagen University Hospital, Herlev, Denmark, </a:t>
            </a:r>
            <a:r>
              <a:rPr lang="en-GB" sz="700" b="0" baseline="30000" dirty="0"/>
              <a:t>2</a:t>
            </a:r>
            <a:r>
              <a:rPr lang="en-GB" sz="700" b="0" dirty="0"/>
              <a:t>Skin Cancer </a:t>
            </a:r>
            <a:r>
              <a:rPr lang="en-GB" sz="700" b="0" dirty="0" err="1"/>
              <a:t>Center</a:t>
            </a:r>
            <a:r>
              <a:rPr lang="en-GB" sz="700" b="0" dirty="0"/>
              <a:t> Kiel, University Hospital Schleswig-Holstein, Kiel, Germany, </a:t>
            </a:r>
            <a:r>
              <a:rPr lang="en-GB" sz="700" b="0" baseline="30000" dirty="0"/>
              <a:t>3</a:t>
            </a:r>
            <a:r>
              <a:rPr lang="en-GB" sz="700" b="0" dirty="0"/>
              <a:t>Oncodermatology, Bulgarian National Cancer Registry, Sofia, Bulgaria, </a:t>
            </a:r>
            <a:r>
              <a:rPr lang="en-GB" sz="700" b="0" baseline="30000" dirty="0"/>
              <a:t>4</a:t>
            </a:r>
            <a:r>
              <a:rPr lang="en-GB" sz="700" b="0" dirty="0"/>
              <a:t>Skin Cancer and Melanoma </a:t>
            </a:r>
            <a:r>
              <a:rPr lang="en-GB" sz="700" b="0" dirty="0" err="1"/>
              <a:t>Center</a:t>
            </a:r>
            <a:r>
              <a:rPr lang="en-GB" sz="700" b="0" dirty="0"/>
              <a:t> at Davidoff Cancer </a:t>
            </a:r>
            <a:r>
              <a:rPr lang="en-GB" sz="700" b="0" dirty="0" err="1"/>
              <a:t>Center</a:t>
            </a:r>
            <a:r>
              <a:rPr lang="en-GB" sz="700" b="0" dirty="0"/>
              <a:t>, Rabin Medical </a:t>
            </a:r>
            <a:r>
              <a:rPr lang="en-GB" sz="700" b="0" dirty="0" err="1"/>
              <a:t>Center</a:t>
            </a:r>
            <a:r>
              <a:rPr lang="en-GB" sz="700" b="0" dirty="0"/>
              <a:t>, Israel, </a:t>
            </a:r>
            <a:r>
              <a:rPr lang="en-GB" sz="700" b="0" baseline="30000" dirty="0"/>
              <a:t>5</a:t>
            </a:r>
            <a:r>
              <a:rPr lang="en-GB" sz="700" b="0" dirty="0"/>
              <a:t>Department of Dermatology, Faculty of Medicine and University Hospital Carl Gustav Carus, </a:t>
            </a:r>
            <a:r>
              <a:rPr lang="en-GB" sz="700" b="0" dirty="0" err="1"/>
              <a:t>Technische</a:t>
            </a:r>
            <a:r>
              <a:rPr lang="en-GB" sz="700" b="0" dirty="0"/>
              <a:t> Universität Dresden, Dresden, Germany, </a:t>
            </a:r>
            <a:r>
              <a:rPr lang="en-GB" sz="700" b="0" baseline="30000" dirty="0"/>
              <a:t>6</a:t>
            </a:r>
            <a:r>
              <a:rPr lang="en-GB" sz="700" b="0" dirty="0"/>
              <a:t>Skin Cancer </a:t>
            </a:r>
            <a:r>
              <a:rPr lang="en-GB" sz="700" b="0" dirty="0" err="1"/>
              <a:t>Center</a:t>
            </a:r>
            <a:r>
              <a:rPr lang="en-GB" sz="700" b="0" dirty="0"/>
              <a:t> Hannover, Department of Dermatology and Allergy, Hannover Medical School, Hannover, Germany, </a:t>
            </a:r>
            <a:r>
              <a:rPr lang="en-GB" sz="700" b="0" baseline="30000" dirty="0"/>
              <a:t>7</a:t>
            </a:r>
            <a:r>
              <a:rPr lang="en-GB" sz="700" b="0" dirty="0"/>
              <a:t>Military Medical Academy Belgrade, Belgrade, Serbia, </a:t>
            </a:r>
            <a:r>
              <a:rPr lang="en-GB" sz="700" b="0" baseline="30000" dirty="0"/>
              <a:t>8</a:t>
            </a:r>
            <a:r>
              <a:rPr lang="en-GB" sz="700" b="0" dirty="0"/>
              <a:t>Medical Oncology Resident at University Hospital Centre Zagreb, Zagreb, Croatia, </a:t>
            </a:r>
            <a:br>
              <a:rPr lang="en-GB" sz="700" b="0" dirty="0"/>
            </a:br>
            <a:r>
              <a:rPr lang="en-GB" sz="700" b="0" baseline="30000" dirty="0"/>
              <a:t>9</a:t>
            </a:r>
            <a:r>
              <a:rPr lang="en-GB" sz="700" b="0" dirty="0"/>
              <a:t>Clinical </a:t>
            </a:r>
            <a:r>
              <a:rPr lang="en-GB" sz="700" b="0" dirty="0" err="1"/>
              <a:t>Center</a:t>
            </a:r>
            <a:r>
              <a:rPr lang="en-GB" sz="700" b="0" dirty="0"/>
              <a:t> Sisters of Mercy, Zagreb, Croatia, </a:t>
            </a:r>
            <a:r>
              <a:rPr lang="en-GB" sz="700" b="0" baseline="30000" dirty="0"/>
              <a:t>10</a:t>
            </a:r>
            <a:r>
              <a:rPr lang="en-GB" sz="700" b="0" dirty="0"/>
              <a:t>Hospital Universitario Ramón y Cajal, Madrid, Spain, </a:t>
            </a:r>
            <a:r>
              <a:rPr lang="en-GB" sz="700" b="0" baseline="30000" dirty="0"/>
              <a:t>11</a:t>
            </a:r>
            <a:r>
              <a:rPr lang="en-GB" sz="700" b="0" dirty="0"/>
              <a:t>Hospital Universitario Puerta de Hierro, Madrid, Spain, </a:t>
            </a:r>
            <a:r>
              <a:rPr lang="en-GB" sz="700" b="0" baseline="30000" dirty="0"/>
              <a:t>12</a:t>
            </a:r>
            <a:r>
              <a:rPr lang="en-GB" sz="700" b="0" dirty="0"/>
              <a:t>Division of Medical Oncology, Netherlands Cancer Institute, Amsterdam, Netherlands, </a:t>
            </a:r>
            <a:r>
              <a:rPr lang="en-GB" sz="700" b="0" baseline="30000" dirty="0"/>
              <a:t>13</a:t>
            </a:r>
            <a:r>
              <a:rPr lang="en-GB" sz="700" b="0" dirty="0"/>
              <a:t>Department of Dermatology, </a:t>
            </a:r>
            <a:r>
              <a:rPr lang="en-GB" sz="700" b="0" dirty="0" err="1"/>
              <a:t>Elbekliniken</a:t>
            </a:r>
            <a:r>
              <a:rPr lang="en-GB" sz="700" b="0" dirty="0"/>
              <a:t> Buxtehude, Buxtehude, Germany, </a:t>
            </a:r>
            <a:r>
              <a:rPr lang="en-GB" sz="700" b="0" baseline="30000" dirty="0"/>
              <a:t>14</a:t>
            </a:r>
            <a:r>
              <a:rPr lang="en-GB" sz="700" b="0" dirty="0"/>
              <a:t>Melanoma, Cancer Immunotherapy &amp; Developmental Therapeutics, </a:t>
            </a:r>
            <a:r>
              <a:rPr lang="en-GB" sz="700" b="0" dirty="0" err="1"/>
              <a:t>Istituto</a:t>
            </a:r>
            <a:r>
              <a:rPr lang="en-GB" sz="700" b="0" dirty="0"/>
              <a:t> Nazionale </a:t>
            </a:r>
            <a:r>
              <a:rPr lang="en-GB" sz="700" b="0" dirty="0" err="1"/>
              <a:t>Tumori</a:t>
            </a:r>
            <a:r>
              <a:rPr lang="en-GB" sz="700" b="0" dirty="0"/>
              <a:t> -IRCCS - Fondazione Pascale, Napoli, Italy, </a:t>
            </a:r>
            <a:r>
              <a:rPr lang="en-GB" sz="700" b="0" baseline="30000" dirty="0"/>
              <a:t>15</a:t>
            </a:r>
            <a:r>
              <a:rPr lang="en-GB" sz="700" b="0" dirty="0"/>
              <a:t>University Hospital of Zurich, Zurich, Switzerland, </a:t>
            </a:r>
            <a:r>
              <a:rPr lang="en-GB" sz="700" b="0" baseline="30000" dirty="0"/>
              <a:t>16</a:t>
            </a:r>
            <a:r>
              <a:rPr lang="en-GB" sz="700" b="0" dirty="0"/>
              <a:t>Department of Soft Tissue/Bone Sarcoma and Melanoma, Maria Sklodowska-Curie National Research Institute of Oncology, Warsaw, Poland, </a:t>
            </a:r>
            <a:r>
              <a:rPr lang="en-GB" sz="700" b="0" baseline="30000" dirty="0"/>
              <a:t>17</a:t>
            </a:r>
            <a:r>
              <a:rPr lang="en-GB" sz="700" b="0" dirty="0"/>
              <a:t>First Department of Medicine, National and </a:t>
            </a:r>
            <a:r>
              <a:rPr lang="en-GB" sz="700" b="0" dirty="0" err="1"/>
              <a:t>Kapodistrian</a:t>
            </a:r>
            <a:r>
              <a:rPr lang="en-GB" sz="700" b="0" dirty="0"/>
              <a:t> University of Athens, Athens, Greece, </a:t>
            </a:r>
            <a:r>
              <a:rPr lang="en-GB" sz="700" b="0" baseline="30000" dirty="0"/>
              <a:t>18</a:t>
            </a:r>
            <a:r>
              <a:rPr lang="en-GB" sz="700" b="0" dirty="0"/>
              <a:t>Department of Oncology, Odense University Hospital, Odense, Denmark, </a:t>
            </a:r>
            <a:r>
              <a:rPr lang="en-GB" sz="700" b="0" baseline="30000" dirty="0"/>
              <a:t>19</a:t>
            </a:r>
            <a:r>
              <a:rPr lang="en-GB" sz="700" b="0" dirty="0"/>
              <a:t>Department of Dermatology, Venereology and Allergology, University Hospital Essen, Essen, Germany</a:t>
            </a:r>
          </a:p>
          <a:p>
            <a:endParaRPr lang="en-GB" sz="700" b="0" dirty="0"/>
          </a:p>
        </p:txBody>
      </p:sp>
    </p:spTree>
    <p:extLst>
      <p:ext uri="{BB962C8B-B14F-4D97-AF65-F5344CB8AC3E}">
        <p14:creationId xmlns:p14="http://schemas.microsoft.com/office/powerpoint/2010/main" val="26336375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25D7CF-5E2B-0B06-5507-D5CAAAD26B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E7E437-E824-DAB9-F806-9C7DB4267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380104"/>
          </a:xfrm>
        </p:spPr>
        <p:txBody>
          <a:bodyPr/>
          <a:lstStyle/>
          <a:p>
            <a:r>
              <a:rPr lang="de-DE"/>
              <a:t>Hintergrund, Studienziel und Method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EA3928C-7AE8-494B-9540-CEF76267BB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CB0E19-F4C8-4F98-96D2-CE1ECDE59975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9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22525C95-887C-37D5-ED22-1139C770F9F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b="1" dirty="0"/>
              <a:t>1L/2L </a:t>
            </a:r>
            <a:r>
              <a:rPr lang="de-DE" dirty="0"/>
              <a:t>Erstlinie/Zweitlinie. </a:t>
            </a:r>
            <a:r>
              <a:rPr lang="de-DE" b="1" dirty="0"/>
              <a:t>BRAF </a:t>
            </a:r>
            <a:r>
              <a:rPr lang="de-DE" dirty="0"/>
              <a:t>Serin/Threonin-Kinase B-</a:t>
            </a:r>
            <a:r>
              <a:rPr lang="de-DE" dirty="0" err="1"/>
              <a:t>Raf</a:t>
            </a:r>
            <a:r>
              <a:rPr lang="de-DE" dirty="0"/>
              <a:t>.</a:t>
            </a:r>
            <a:r>
              <a:rPr lang="de-DE" b="1" dirty="0"/>
              <a:t> </a:t>
            </a:r>
            <a:r>
              <a:rPr lang="de-DE" b="1" dirty="0">
                <a:solidFill>
                  <a:srgbClr val="000000"/>
                </a:solidFill>
              </a:rPr>
              <a:t>ECOG </a:t>
            </a:r>
            <a:r>
              <a:rPr lang="de-DE" i="1" dirty="0">
                <a:solidFill>
                  <a:srgbClr val="000000"/>
                </a:solidFill>
              </a:rPr>
              <a:t>Eastern </a:t>
            </a:r>
            <a:r>
              <a:rPr lang="de-DE" i="1" dirty="0" err="1">
                <a:solidFill>
                  <a:srgbClr val="000000"/>
                </a:solidFill>
              </a:rPr>
              <a:t>Cooperative</a:t>
            </a:r>
            <a:r>
              <a:rPr lang="de-DE" i="1" dirty="0">
                <a:solidFill>
                  <a:srgbClr val="000000"/>
                </a:solidFill>
              </a:rPr>
              <a:t> </a:t>
            </a:r>
            <a:r>
              <a:rPr lang="de-DE" i="1" dirty="0" err="1">
                <a:solidFill>
                  <a:srgbClr val="000000"/>
                </a:solidFill>
              </a:rPr>
              <a:t>Oncology</a:t>
            </a:r>
            <a:r>
              <a:rPr lang="de-DE" i="1" dirty="0">
                <a:solidFill>
                  <a:srgbClr val="000000"/>
                </a:solidFill>
              </a:rPr>
              <a:t> Group. </a:t>
            </a:r>
            <a:r>
              <a:rPr lang="en-US" b="1" dirty="0"/>
              <a:t>ICI </a:t>
            </a:r>
            <a:r>
              <a:rPr lang="en-US" dirty="0" err="1"/>
              <a:t>Immuncheckpoint</a:t>
            </a:r>
            <a:r>
              <a:rPr lang="en-US" dirty="0"/>
              <a:t>-Inhibitor. </a:t>
            </a:r>
            <a:r>
              <a:rPr lang="en-US" b="1" dirty="0"/>
              <a:t>LDH</a:t>
            </a:r>
            <a:r>
              <a:rPr lang="en-US" dirty="0"/>
              <a:t> Laktatdehydrogenase. </a:t>
            </a:r>
            <a:r>
              <a:rPr lang="de-DE" b="1" dirty="0"/>
              <a:t>MEK </a:t>
            </a:r>
            <a:r>
              <a:rPr lang="de-DE" dirty="0" err="1"/>
              <a:t>Mitogen</a:t>
            </a:r>
            <a:r>
              <a:rPr lang="de-DE" dirty="0"/>
              <a:t>-aktivierte Proteinkinase-Kinase. </a:t>
            </a:r>
            <a:r>
              <a:rPr lang="de-DE" b="1" dirty="0"/>
              <a:t>ORR </a:t>
            </a:r>
            <a:r>
              <a:rPr lang="de-DE" dirty="0"/>
              <a:t>Gesamtansprechrate. </a:t>
            </a:r>
            <a:r>
              <a:rPr lang="de-DE" b="1" dirty="0">
                <a:solidFill>
                  <a:srgbClr val="000000"/>
                </a:solidFill>
              </a:rPr>
              <a:t>OS</a:t>
            </a:r>
            <a:r>
              <a:rPr lang="de-DE" dirty="0">
                <a:solidFill>
                  <a:srgbClr val="000000"/>
                </a:solidFill>
              </a:rPr>
              <a:t> Gesamtüberleben. </a:t>
            </a:r>
            <a:r>
              <a:rPr lang="de-DE" b="1" dirty="0">
                <a:solidFill>
                  <a:srgbClr val="000000"/>
                </a:solidFill>
              </a:rPr>
              <a:t>PFS </a:t>
            </a:r>
            <a:r>
              <a:rPr lang="de-DE" dirty="0">
                <a:solidFill>
                  <a:srgbClr val="000000"/>
                </a:solidFill>
              </a:rPr>
              <a:t>Progressionsfreies Überleben. </a:t>
            </a:r>
            <a:r>
              <a:rPr lang="de-DE" b="1" dirty="0" err="1">
                <a:solidFill>
                  <a:srgbClr val="000000"/>
                </a:solidFill>
              </a:rPr>
              <a:t>ToT</a:t>
            </a:r>
            <a:r>
              <a:rPr lang="de-DE" b="1" dirty="0">
                <a:solidFill>
                  <a:srgbClr val="000000"/>
                </a:solidFill>
              </a:rPr>
              <a:t> </a:t>
            </a:r>
            <a:r>
              <a:rPr lang="de-DE" dirty="0">
                <a:solidFill>
                  <a:srgbClr val="000000"/>
                </a:solidFill>
              </a:rPr>
              <a:t>Behandlungsdauer.</a:t>
            </a:r>
            <a:endParaRPr lang="de-DE" dirty="0"/>
          </a:p>
          <a:p>
            <a:r>
              <a:rPr lang="de-DE" dirty="0" err="1"/>
              <a:t>Ellebaek</a:t>
            </a:r>
            <a:r>
              <a:rPr lang="de-DE" dirty="0"/>
              <a:t> E, et al. ESMO 2025. Poster 1646P. 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867BD52-BD2D-95D8-19E1-419779CC9970}"/>
              </a:ext>
            </a:extLst>
          </p:cNvPr>
          <p:cNvSpPr txBox="1"/>
          <p:nvPr/>
        </p:nvSpPr>
        <p:spPr>
          <a:xfrm>
            <a:off x="1474433" y="1266082"/>
            <a:ext cx="9735433" cy="32521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intergrund</a:t>
            </a:r>
          </a:p>
          <a:p>
            <a:pPr marL="285750" lvl="0" indent="-285750">
              <a:spcAft>
                <a:spcPts val="600"/>
              </a:spcAft>
              <a:buClr>
                <a:srgbClr val="FF585D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 err="1">
                <a:solidFill>
                  <a:srgbClr val="002068"/>
                </a:solidFill>
                <a:latin typeface="Arial" panose="020B0604020202020204"/>
              </a:rPr>
              <a:t>Belastbare</a:t>
            </a:r>
            <a:r>
              <a:rPr lang="en-US" sz="1400" dirty="0">
                <a:solidFill>
                  <a:srgbClr val="002068"/>
                </a:solidFill>
                <a:latin typeface="Arial" panose="020B0604020202020204"/>
              </a:rPr>
              <a:t> Daten </a:t>
            </a:r>
            <a:r>
              <a:rPr lang="en-US" sz="1400" dirty="0" err="1">
                <a:solidFill>
                  <a:srgbClr val="002068"/>
                </a:solidFill>
                <a:latin typeface="Arial" panose="020B0604020202020204"/>
              </a:rPr>
              <a:t>zur</a:t>
            </a:r>
            <a:r>
              <a:rPr lang="en-US" sz="1400" dirty="0">
                <a:solidFill>
                  <a:srgbClr val="002068"/>
                </a:solidFill>
                <a:latin typeface="Arial" panose="020B0604020202020204"/>
              </a:rPr>
              <a:t> Wirksamkeit einer </a:t>
            </a:r>
            <a:r>
              <a:rPr lang="de-DE" sz="1400" dirty="0">
                <a:solidFill>
                  <a:srgbClr val="002068"/>
                </a:solidFill>
              </a:rPr>
              <a:t>BRAF/MEK-Inhibitor-(BRAF/</a:t>
            </a:r>
            <a:r>
              <a:rPr lang="de-DE" sz="1400" dirty="0" err="1">
                <a:solidFill>
                  <a:srgbClr val="002068"/>
                </a:solidFill>
              </a:rPr>
              <a:t>MEKi</a:t>
            </a:r>
            <a:r>
              <a:rPr lang="de-DE" sz="1400" dirty="0">
                <a:solidFill>
                  <a:srgbClr val="002068"/>
                </a:solidFill>
              </a:rPr>
              <a:t>)-Therapie </a:t>
            </a:r>
            <a:r>
              <a:rPr lang="en-US" sz="1400" dirty="0">
                <a:solidFill>
                  <a:srgbClr val="002068"/>
                </a:solidFill>
                <a:latin typeface="Arial" panose="020B0604020202020204"/>
              </a:rPr>
              <a:t>in der </a:t>
            </a:r>
            <a:r>
              <a:rPr lang="en-US" sz="1400" dirty="0" err="1">
                <a:solidFill>
                  <a:srgbClr val="002068"/>
                </a:solidFill>
                <a:latin typeface="Arial" panose="020B0604020202020204"/>
              </a:rPr>
              <a:t>Zweitlinie</a:t>
            </a:r>
            <a:r>
              <a:rPr lang="en-US" sz="1400" dirty="0">
                <a:solidFill>
                  <a:srgbClr val="002068"/>
                </a:solidFill>
                <a:latin typeface="Arial" panose="020B0604020202020204"/>
              </a:rPr>
              <a:t> </a:t>
            </a:r>
            <a:r>
              <a:rPr lang="en-US" sz="1400" dirty="0" err="1">
                <a:solidFill>
                  <a:srgbClr val="002068"/>
                </a:solidFill>
                <a:latin typeface="Arial" panose="020B0604020202020204"/>
              </a:rPr>
              <a:t>nach</a:t>
            </a:r>
            <a:r>
              <a:rPr lang="en-US" sz="1400" dirty="0">
                <a:solidFill>
                  <a:srgbClr val="002068"/>
                </a:solidFill>
                <a:latin typeface="Arial" panose="020B0604020202020204"/>
              </a:rPr>
              <a:t> </a:t>
            </a:r>
            <a:r>
              <a:rPr lang="en-US" sz="1400" dirty="0" err="1">
                <a:solidFill>
                  <a:srgbClr val="002068"/>
                </a:solidFill>
                <a:latin typeface="Arial" panose="020B0604020202020204"/>
              </a:rPr>
              <a:t>vorangegangener</a:t>
            </a:r>
            <a:r>
              <a:rPr lang="en-US" sz="1400" dirty="0">
                <a:solidFill>
                  <a:srgbClr val="002068"/>
                </a:solidFill>
                <a:latin typeface="Arial" panose="020B0604020202020204"/>
              </a:rPr>
              <a:t> </a:t>
            </a:r>
            <a:r>
              <a:rPr lang="en-US" sz="1400" dirty="0" err="1">
                <a:solidFill>
                  <a:srgbClr val="002068"/>
                </a:solidFill>
                <a:latin typeface="Arial" panose="020B0604020202020204"/>
              </a:rPr>
              <a:t>Immuncheckpoint</a:t>
            </a:r>
            <a:r>
              <a:rPr lang="en-US" sz="1400" dirty="0">
                <a:solidFill>
                  <a:srgbClr val="002068"/>
                </a:solidFill>
                <a:latin typeface="Arial" panose="020B0604020202020204"/>
              </a:rPr>
              <a:t>-Inhibitor-(ICI-)</a:t>
            </a:r>
            <a:r>
              <a:rPr lang="en-US" sz="1400" dirty="0" err="1">
                <a:solidFill>
                  <a:srgbClr val="002068"/>
                </a:solidFill>
                <a:latin typeface="Arial" panose="020B0604020202020204"/>
              </a:rPr>
              <a:t>Therapie</a:t>
            </a:r>
            <a:r>
              <a:rPr lang="en-US" sz="1400" dirty="0">
                <a:solidFill>
                  <a:srgbClr val="002068"/>
                </a:solidFill>
                <a:latin typeface="Arial" panose="020B0604020202020204"/>
              </a:rPr>
              <a:t> </a:t>
            </a:r>
            <a:r>
              <a:rPr lang="en-US" sz="1400" dirty="0" err="1">
                <a:solidFill>
                  <a:srgbClr val="002068"/>
                </a:solidFill>
                <a:latin typeface="Arial" panose="020B0604020202020204"/>
              </a:rPr>
              <a:t>sind</a:t>
            </a:r>
            <a:r>
              <a:rPr lang="en-US" sz="1400" dirty="0">
                <a:solidFill>
                  <a:srgbClr val="002068"/>
                </a:solidFill>
                <a:latin typeface="Arial" panose="020B0604020202020204"/>
              </a:rPr>
              <a:t> </a:t>
            </a:r>
            <a:r>
              <a:rPr lang="en-US" sz="1400" dirty="0" err="1">
                <a:solidFill>
                  <a:srgbClr val="002068"/>
                </a:solidFill>
                <a:latin typeface="Arial" panose="020B0604020202020204"/>
              </a:rPr>
              <a:t>limitiert</a:t>
            </a:r>
            <a:r>
              <a:rPr lang="en-US" sz="1400" dirty="0">
                <a:solidFill>
                  <a:srgbClr val="002068"/>
                </a:solidFill>
                <a:latin typeface="Arial" panose="020B0604020202020204"/>
              </a:rPr>
              <a:t>, da die </a:t>
            </a:r>
            <a:r>
              <a:rPr lang="en-US" sz="1400" dirty="0" err="1">
                <a:solidFill>
                  <a:srgbClr val="002068"/>
                </a:solidFill>
                <a:latin typeface="Arial" panose="020B0604020202020204"/>
              </a:rPr>
              <a:t>Kombination</a:t>
            </a:r>
            <a:r>
              <a:rPr lang="en-US" sz="1400" dirty="0">
                <a:solidFill>
                  <a:srgbClr val="002068"/>
                </a:solidFill>
                <a:latin typeface="Arial" panose="020B0604020202020204"/>
              </a:rPr>
              <a:t> </a:t>
            </a:r>
            <a:r>
              <a:rPr lang="en-US" sz="1400" dirty="0" err="1">
                <a:solidFill>
                  <a:srgbClr val="002068"/>
                </a:solidFill>
                <a:latin typeface="Arial" panose="020B0604020202020204"/>
              </a:rPr>
              <a:t>ursprünglich</a:t>
            </a:r>
            <a:r>
              <a:rPr lang="en-US" sz="1400" dirty="0">
                <a:solidFill>
                  <a:srgbClr val="002068"/>
                </a:solidFill>
                <a:latin typeface="Arial" panose="020B0604020202020204"/>
              </a:rPr>
              <a:t> für die </a:t>
            </a:r>
            <a:r>
              <a:rPr lang="en-US" sz="1400" dirty="0" err="1">
                <a:solidFill>
                  <a:srgbClr val="002068"/>
                </a:solidFill>
                <a:latin typeface="Arial" panose="020B0604020202020204"/>
              </a:rPr>
              <a:t>Erstlinie</a:t>
            </a:r>
            <a:r>
              <a:rPr lang="en-US" sz="1400" dirty="0">
                <a:solidFill>
                  <a:srgbClr val="002068"/>
                </a:solidFill>
                <a:latin typeface="Arial" panose="020B0604020202020204"/>
              </a:rPr>
              <a:t> </a:t>
            </a:r>
            <a:r>
              <a:rPr lang="en-US" sz="1400" dirty="0" err="1">
                <a:solidFill>
                  <a:srgbClr val="002068"/>
                </a:solidFill>
                <a:latin typeface="Arial" panose="020B0604020202020204"/>
              </a:rPr>
              <a:t>entwickelt</a:t>
            </a:r>
            <a:r>
              <a:rPr lang="en-US" sz="1400" dirty="0">
                <a:solidFill>
                  <a:srgbClr val="002068"/>
                </a:solidFill>
                <a:latin typeface="Arial" panose="020B0604020202020204"/>
              </a:rPr>
              <a:t> </a:t>
            </a:r>
            <a:r>
              <a:rPr lang="en-US" sz="1400" dirty="0" err="1">
                <a:solidFill>
                  <a:srgbClr val="002068"/>
                </a:solidFill>
                <a:latin typeface="Arial" panose="020B0604020202020204"/>
              </a:rPr>
              <a:t>wurde</a:t>
            </a:r>
            <a:endParaRPr lang="en-US" sz="1400" dirty="0">
              <a:solidFill>
                <a:srgbClr val="002068"/>
              </a:solidFill>
              <a:latin typeface="Arial" panose="020B060402020202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rgbClr val="FF585D"/>
              </a:buClr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udienziel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585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ntersuchung der Effektivität von BRAF/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Ki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 der Zweitlinie (2L BRAF/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Ki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 nach Progress unter </a:t>
            </a:r>
            <a:b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CI-Erstlinientherapie im Vergleich zu BRAF/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Ki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 der Erstlinie (1L BRAF/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Ki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rgbClr val="FF585D"/>
              </a:buClr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thode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585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trospektive, multizentrische Registerstudie mit Daten aus dem Europäischen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lanomregister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UMelaReg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 </a:t>
            </a:r>
          </a:p>
          <a:p>
            <a:pPr lvl="0">
              <a:buClr>
                <a:srgbClr val="FF585D"/>
              </a:buClr>
              <a:defRPr/>
            </a:pPr>
            <a:endParaRPr lang="de-DE" sz="1400" dirty="0">
              <a:solidFill>
                <a:srgbClr val="002068"/>
              </a:solidFill>
              <a:latin typeface="Arial" panose="020B0604020202020204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585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400" b="0" i="0" u="none" strike="noStrike" kern="1200" cap="none" spc="0" normalizeH="0" baseline="30000" noProof="0" dirty="0">
              <a:ln>
                <a:noFill/>
              </a:ln>
              <a:solidFill>
                <a:srgbClr val="00206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0" name="Grafik 9" descr="Ein Bild, das Kreis, Grafiken, Schrift, Logo enthält.&#10;&#10;KI-generierte Inhalte können fehlerhaft sein.">
            <a:extLst>
              <a:ext uri="{FF2B5EF4-FFF2-40B4-BE49-F238E27FC236}">
                <a16:creationId xmlns:a16="http://schemas.microsoft.com/office/drawing/2014/main" id="{6CC758D5-50E4-095A-6E76-6D34C2FD34F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321" y="3454447"/>
            <a:ext cx="720000" cy="720000"/>
          </a:xfrm>
          <a:prstGeom prst="rect">
            <a:avLst/>
          </a:prstGeom>
        </p:spPr>
      </p:pic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8F7E14CD-107B-EB6F-13A3-4B68082828D0}"/>
              </a:ext>
            </a:extLst>
          </p:cNvPr>
          <p:cNvGrpSpPr/>
          <p:nvPr/>
        </p:nvGrpSpPr>
        <p:grpSpPr>
          <a:xfrm>
            <a:off x="1018015" y="3966519"/>
            <a:ext cx="6215029" cy="1736571"/>
            <a:chOff x="3659373" y="1419569"/>
            <a:chExt cx="6215029" cy="1736571"/>
          </a:xfrm>
        </p:grpSpPr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F3AC8A6E-55C0-50A0-2FB9-395AFD4FDBDC}"/>
                </a:ext>
              </a:extLst>
            </p:cNvPr>
            <p:cNvGrpSpPr/>
            <p:nvPr/>
          </p:nvGrpSpPr>
          <p:grpSpPr>
            <a:xfrm>
              <a:off x="3659373" y="1419569"/>
              <a:ext cx="6215029" cy="1736571"/>
              <a:chOff x="2273481" y="2216080"/>
              <a:chExt cx="6215029" cy="1736571"/>
            </a:xfrm>
          </p:grpSpPr>
          <p:pic>
            <p:nvPicPr>
              <p:cNvPr id="37" name="Grafik 36" descr="Ein Bild, das Kreis, Grafiken, Screenshot, Design enthält.&#10;&#10;KI-generierte Inhalte können fehlerhaft sein.">
                <a:extLst>
                  <a:ext uri="{FF2B5EF4-FFF2-40B4-BE49-F238E27FC236}">
                    <a16:creationId xmlns:a16="http://schemas.microsoft.com/office/drawing/2014/main" id="{9F5C1DE7-6671-2FD5-1A02-C43870AFC7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635705" y="2216080"/>
                <a:ext cx="1122717" cy="1122717"/>
              </a:xfrm>
              <a:prstGeom prst="rect">
                <a:avLst/>
              </a:prstGeom>
            </p:spPr>
          </p:pic>
          <p:sp>
            <p:nvSpPr>
              <p:cNvPr id="38" name="Textfeld 37">
                <a:extLst>
                  <a:ext uri="{FF2B5EF4-FFF2-40B4-BE49-F238E27FC236}">
                    <a16:creationId xmlns:a16="http://schemas.microsoft.com/office/drawing/2014/main" id="{9F39937A-C2C1-10A0-AA3A-57582F2D07D6}"/>
                  </a:ext>
                </a:extLst>
              </p:cNvPr>
              <p:cNvSpPr txBox="1"/>
              <p:nvPr/>
            </p:nvSpPr>
            <p:spPr>
              <a:xfrm>
                <a:off x="2273481" y="3090877"/>
                <a:ext cx="1771062" cy="86177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460A9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atient*innen mit BRAF</a:t>
                </a:r>
                <a:r>
                  <a:rPr kumimoji="0" lang="de-DE" sz="1000" b="0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0460A9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V600</a:t>
                </a: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460A9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-mutiertem, nicht </a:t>
                </a:r>
                <a:r>
                  <a:rPr kumimoji="0" lang="de-DE" sz="1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460A9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sezierbarem</a:t>
                </a: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460A9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Stadium III oder metastasiertem Stadium IV Melanom.</a:t>
                </a:r>
              </a:p>
            </p:txBody>
          </p:sp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142AE5B1-609B-10B1-D39A-B8E3818F2E49}"/>
                  </a:ext>
                </a:extLst>
              </p:cNvPr>
              <p:cNvSpPr txBox="1"/>
              <p:nvPr/>
            </p:nvSpPr>
            <p:spPr>
              <a:xfrm>
                <a:off x="4451229" y="2631935"/>
                <a:ext cx="2278243" cy="415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460A9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654 </a:t>
                </a: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460A9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atient*innen mit </a:t>
                </a:r>
                <a:b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460A9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</a:b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460A9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2L BRAF/</a:t>
                </a:r>
                <a:r>
                  <a:rPr kumimoji="0" lang="de-DE" sz="1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460A9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MeKi</a:t>
                </a: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460A9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nach 1L ICI</a:t>
                </a:r>
              </a:p>
            </p:txBody>
          </p:sp>
          <p:sp>
            <p:nvSpPr>
              <p:cNvPr id="40" name="Textfeld 39">
                <a:extLst>
                  <a:ext uri="{FF2B5EF4-FFF2-40B4-BE49-F238E27FC236}">
                    <a16:creationId xmlns:a16="http://schemas.microsoft.com/office/drawing/2014/main" id="{E93399DE-E5BB-EDDB-5919-AE7B908EDD89}"/>
                  </a:ext>
                </a:extLst>
              </p:cNvPr>
              <p:cNvSpPr txBox="1"/>
              <p:nvPr/>
            </p:nvSpPr>
            <p:spPr>
              <a:xfrm>
                <a:off x="6480790" y="3550131"/>
                <a:ext cx="2007720" cy="24622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460A9"/>
                  </a:solidFill>
                  <a:effectLst/>
                  <a:highlight>
                    <a:srgbClr val="FFFF00"/>
                  </a:highlight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cxnSp>
          <p:nvCxnSpPr>
            <p:cNvPr id="32" name="Gerade Verbindung mit Pfeil 31">
              <a:extLst>
                <a:ext uri="{FF2B5EF4-FFF2-40B4-BE49-F238E27FC236}">
                  <a16:creationId xmlns:a16="http://schemas.microsoft.com/office/drawing/2014/main" id="{09451077-98B4-B478-3F5E-83C6600EC114}"/>
                </a:ext>
              </a:extLst>
            </p:cNvPr>
            <p:cNvCxnSpPr>
              <a:cxnSpLocks/>
            </p:cNvCxnSpPr>
            <p:nvPr/>
          </p:nvCxnSpPr>
          <p:spPr>
            <a:xfrm>
              <a:off x="5261827" y="2186093"/>
              <a:ext cx="540000" cy="343923"/>
            </a:xfrm>
            <a:prstGeom prst="straightConnector1">
              <a:avLst/>
            </a:prstGeom>
            <a:ln w="12700">
              <a:solidFill>
                <a:schemeClr val="accent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B85A03B7-5653-FD11-8A0A-913B3780423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247757" y="2029317"/>
              <a:ext cx="540000" cy="174648"/>
            </a:xfrm>
            <a:prstGeom prst="straightConnector1">
              <a:avLst/>
            </a:prstGeom>
            <a:ln w="12700">
              <a:solidFill>
                <a:schemeClr val="accent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Textfeld 40">
            <a:extLst>
              <a:ext uri="{FF2B5EF4-FFF2-40B4-BE49-F238E27FC236}">
                <a16:creationId xmlns:a16="http://schemas.microsoft.com/office/drawing/2014/main" id="{96689C2D-5A77-DCE4-746D-F717651A201A}"/>
              </a:ext>
            </a:extLst>
          </p:cNvPr>
          <p:cNvSpPr txBox="1"/>
          <p:nvPr/>
        </p:nvSpPr>
        <p:spPr>
          <a:xfrm>
            <a:off x="3223698" y="5097084"/>
            <a:ext cx="1574470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00" b="1" dirty="0">
                <a:solidFill>
                  <a:srgbClr val="0460A9"/>
                </a:solidFill>
                <a:latin typeface="Arial" panose="020B0604020202020204"/>
              </a:rPr>
              <a:t>1.689</a:t>
            </a:r>
            <a:r>
              <a: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tient*innen mit </a:t>
            </a:r>
            <a:b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L BRAF/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Ki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0B2C1218-417C-79EF-AF26-A6879D016906}"/>
              </a:ext>
            </a:extLst>
          </p:cNvPr>
          <p:cNvSpPr txBox="1"/>
          <p:nvPr/>
        </p:nvSpPr>
        <p:spPr>
          <a:xfrm>
            <a:off x="4949333" y="4587004"/>
            <a:ext cx="179876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algn="ctr"/>
            <a:endParaRPr lang="de-DE" dirty="0"/>
          </a:p>
          <a:p>
            <a:pPr algn="ctr"/>
            <a:r>
              <a:rPr lang="de-DE" sz="1100" b="1" dirty="0"/>
              <a:t>1:1 </a:t>
            </a:r>
            <a:r>
              <a:rPr lang="de-DE" sz="1100" b="1" i="1" dirty="0" err="1"/>
              <a:t>Propensity</a:t>
            </a:r>
            <a:r>
              <a:rPr lang="de-DE" sz="1100" b="1" i="1" dirty="0"/>
              <a:t> Score </a:t>
            </a:r>
            <a:r>
              <a:rPr lang="de-DE" sz="1100" b="1" i="1" dirty="0" err="1"/>
              <a:t>Matching</a:t>
            </a:r>
            <a:r>
              <a:rPr lang="de-DE" sz="1100" b="1" i="1" dirty="0"/>
              <a:t> </a:t>
            </a:r>
          </a:p>
        </p:txBody>
      </p:sp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5EFFA204-A135-5330-0D0A-9A5DA1C755C0}"/>
              </a:ext>
            </a:extLst>
          </p:cNvPr>
          <p:cNvCxnSpPr>
            <a:cxnSpLocks/>
          </p:cNvCxnSpPr>
          <p:nvPr/>
        </p:nvCxnSpPr>
        <p:spPr>
          <a:xfrm>
            <a:off x="4671137" y="4960910"/>
            <a:ext cx="349330" cy="0"/>
          </a:xfrm>
          <a:prstGeom prst="straightConnector1">
            <a:avLst/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 Verbindung mit Pfeil 3">
            <a:extLst>
              <a:ext uri="{FF2B5EF4-FFF2-40B4-BE49-F238E27FC236}">
                <a16:creationId xmlns:a16="http://schemas.microsoft.com/office/drawing/2014/main" id="{5231C42F-8F38-A225-5A93-E0A456B8D7AA}"/>
              </a:ext>
            </a:extLst>
          </p:cNvPr>
          <p:cNvCxnSpPr>
            <a:cxnSpLocks/>
          </p:cNvCxnSpPr>
          <p:nvPr/>
        </p:nvCxnSpPr>
        <p:spPr>
          <a:xfrm>
            <a:off x="6629530" y="4960910"/>
            <a:ext cx="349330" cy="0"/>
          </a:xfrm>
          <a:prstGeom prst="straightConnector1">
            <a:avLst/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Grafik 5" descr="Lupe Silhouette">
            <a:extLst>
              <a:ext uri="{FF2B5EF4-FFF2-40B4-BE49-F238E27FC236}">
                <a16:creationId xmlns:a16="http://schemas.microsoft.com/office/drawing/2014/main" id="{D6D97680-AA80-3EB8-6A3B-E137B3348B4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42" r="42"/>
          <a:stretch/>
        </p:blipFill>
        <p:spPr>
          <a:xfrm>
            <a:off x="7121807" y="4731315"/>
            <a:ext cx="575652" cy="576132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ED5B7AE8-45DA-205D-F381-BA1AFA0AAF69}"/>
              </a:ext>
            </a:extLst>
          </p:cNvPr>
          <p:cNvSpPr txBox="1"/>
          <p:nvPr/>
        </p:nvSpPr>
        <p:spPr>
          <a:xfrm>
            <a:off x="7684922" y="4519033"/>
            <a:ext cx="188131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1" i="0" u="none" strike="noStrike" kern="1200" cap="none" spc="0" normalizeH="0" baseline="0" noProof="0" dirty="0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märer Endpunkt: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050" dirty="0">
                <a:solidFill>
                  <a:srgbClr val="0460A9"/>
                </a:solidFill>
                <a:latin typeface="Arial" panose="020B0604020202020204"/>
              </a:rPr>
              <a:t>OS unter 2L BRAF/</a:t>
            </a:r>
            <a:r>
              <a:rPr lang="de-DE" sz="1050" dirty="0" err="1">
                <a:solidFill>
                  <a:srgbClr val="0460A9"/>
                </a:solidFill>
                <a:latin typeface="Arial" panose="020B0604020202020204"/>
              </a:rPr>
              <a:t>MEKi</a:t>
            </a:r>
            <a:endParaRPr lang="de-DE" sz="1050" dirty="0">
              <a:solidFill>
                <a:srgbClr val="0460A9"/>
              </a:solidFill>
              <a:latin typeface="Arial" panose="020B0604020202020204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1" i="0" u="none" strike="noStrike" kern="1200" cap="none" spc="0" normalizeH="0" baseline="0" noProof="0" dirty="0">
              <a:ln>
                <a:noFill/>
              </a:ln>
              <a:solidFill>
                <a:srgbClr val="0460A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1" i="0" u="none" strike="noStrike" kern="1200" cap="none" spc="0" normalizeH="0" baseline="0" noProof="0" dirty="0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kundäre Endpunkte: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050" dirty="0">
                <a:solidFill>
                  <a:srgbClr val="0460A9"/>
                </a:solidFill>
                <a:latin typeface="Arial" panose="020B0604020202020204"/>
              </a:rPr>
              <a:t>OS, PFS, ORR, </a:t>
            </a:r>
            <a:r>
              <a:rPr lang="de-DE" sz="1050" dirty="0" err="1">
                <a:solidFill>
                  <a:srgbClr val="0460A9"/>
                </a:solidFill>
                <a:latin typeface="Arial" panose="020B0604020202020204"/>
              </a:rPr>
              <a:t>ToT</a:t>
            </a:r>
            <a:r>
              <a:rPr lang="de-DE" sz="1050" dirty="0">
                <a:solidFill>
                  <a:srgbClr val="0460A9"/>
                </a:solidFill>
                <a:latin typeface="Arial" panose="020B0604020202020204"/>
              </a:rPr>
              <a:t>   </a:t>
            </a:r>
            <a:r>
              <a:rPr lang="de-DE" sz="1050" dirty="0">
                <a:solidFill>
                  <a:srgbClr val="0460A9"/>
                </a:solidFill>
              </a:rPr>
              <a:t> (2L BRAF/</a:t>
            </a:r>
            <a:r>
              <a:rPr lang="de-DE" sz="1050" dirty="0" err="1">
                <a:solidFill>
                  <a:srgbClr val="0460A9"/>
                </a:solidFill>
              </a:rPr>
              <a:t>MEKi</a:t>
            </a:r>
            <a:r>
              <a:rPr lang="de-DE" sz="1050" dirty="0">
                <a:solidFill>
                  <a:srgbClr val="0460A9"/>
                </a:solidFill>
              </a:rPr>
              <a:t> vs. 1L BRAF/</a:t>
            </a:r>
            <a:r>
              <a:rPr lang="de-DE" sz="1050" dirty="0" err="1">
                <a:solidFill>
                  <a:srgbClr val="0460A9"/>
                </a:solidFill>
              </a:rPr>
              <a:t>MEKi</a:t>
            </a:r>
            <a:r>
              <a:rPr lang="de-DE" sz="1050" dirty="0">
                <a:solidFill>
                  <a:srgbClr val="0460A9"/>
                </a:solidFill>
              </a:rPr>
              <a:t>)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sz="1050" dirty="0">
                <a:solidFill>
                  <a:srgbClr val="0460A9"/>
                </a:solidFill>
                <a:latin typeface="Arial" panose="020B0604020202020204"/>
              </a:rPr>
              <a:t> </a:t>
            </a:r>
            <a:endParaRPr kumimoji="0" lang="de-DE" sz="1050" i="0" u="none" strike="noStrike" kern="1200" cap="none" spc="0" normalizeH="0" baseline="0" noProof="0" dirty="0">
              <a:ln>
                <a:noFill/>
              </a:ln>
              <a:solidFill>
                <a:srgbClr val="0460A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" name="Grafik 2" descr="Ein Bild, das Kreis, Grafiken enthält.&#10;&#10;KI-generierte Inhalte können fehlerhaft sein.">
            <a:extLst>
              <a:ext uri="{FF2B5EF4-FFF2-40B4-BE49-F238E27FC236}">
                <a16:creationId xmlns:a16="http://schemas.microsoft.com/office/drawing/2014/main" id="{8BBBA4E4-4E6F-EB72-6F41-7B7CB56FFE6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321" y="2467385"/>
            <a:ext cx="720000" cy="720000"/>
          </a:xfrm>
          <a:prstGeom prst="rect">
            <a:avLst/>
          </a:prstGeom>
        </p:spPr>
      </p:pic>
      <p:pic>
        <p:nvPicPr>
          <p:cNvPr id="11" name="Grafik 10" descr="Ein Bild, das Kreis, Screenshot, Grafiken, Farbigkeit enthält.&#10;&#10;KI-generierte Inhalte können fehlerhaft sein.">
            <a:extLst>
              <a:ext uri="{FF2B5EF4-FFF2-40B4-BE49-F238E27FC236}">
                <a16:creationId xmlns:a16="http://schemas.microsoft.com/office/drawing/2014/main" id="{16DC179C-F942-1576-699A-3A90268CB0C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321" y="1280247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63519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3088D2-4F49-6BC4-843E-3CEE5620FC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6" name="think-cell data - do not delete" hidden="1">
            <a:extLst>
              <a:ext uri="{FF2B5EF4-FFF2-40B4-BE49-F238E27FC236}">
                <a16:creationId xmlns:a16="http://schemas.microsoft.com/office/drawing/2014/main" id="{4AE2C422-0AD5-EFDF-221A-2B8192026A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4417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33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AE2C422-0AD5-EFDF-221A-2B8192026A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CE88953-8F80-ABA5-4D28-196120D81A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9148762" cy="818686"/>
          </a:xfrm>
        </p:spPr>
        <p:txBody>
          <a:bodyPr vert="horz"/>
          <a:lstStyle/>
          <a:p>
            <a:r>
              <a:rPr lang="de-DE" sz="2800" dirty="0">
                <a:solidFill>
                  <a:schemeClr val="tx2"/>
                </a:solidFill>
              </a:rPr>
              <a:t>PFS unter BRAF/</a:t>
            </a:r>
            <a:r>
              <a:rPr lang="de-DE" sz="2800" dirty="0" err="1">
                <a:solidFill>
                  <a:schemeClr val="tx2"/>
                </a:solidFill>
              </a:rPr>
              <a:t>MEKi</a:t>
            </a:r>
            <a:r>
              <a:rPr lang="de-DE" sz="2800" dirty="0">
                <a:solidFill>
                  <a:schemeClr val="tx2"/>
                </a:solidFill>
              </a:rPr>
              <a:t> in der Erst- oder Zweitlinie</a:t>
            </a:r>
            <a:endParaRPr lang="en-US" sz="2800" dirty="0">
              <a:solidFill>
                <a:schemeClr val="tx2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FE13408-3AE9-EFDD-F908-E1EF15EE30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CB0E19-F4C8-4F98-96D2-CE1ECDE59975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9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7690642-4FFA-298E-C53B-169F7EB9F5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>
              <a:defRPr/>
            </a:pP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L/2L </a:t>
            </a: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rstlinie/Zweitlinie. </a:t>
            </a: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RAF </a:t>
            </a: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rin/Threonin-Kinase B-</a:t>
            </a:r>
            <a:r>
              <a:rPr kumimoji="0" lang="de-DE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af</a:t>
            </a: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COG </a:t>
            </a:r>
            <a:r>
              <a:rPr kumimoji="0" lang="de-DE" sz="80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astern </a:t>
            </a:r>
            <a:r>
              <a:rPr kumimoji="0" lang="de-DE" sz="80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operative</a:t>
            </a:r>
            <a:r>
              <a:rPr kumimoji="0" lang="de-DE" sz="80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DE" sz="80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ncology</a:t>
            </a:r>
            <a:r>
              <a:rPr kumimoji="0" lang="de-DE" sz="80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Group.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CI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mun</a:t>
            </a:r>
            <a:r>
              <a:rPr lang="en-US" dirty="0">
                <a:solidFill>
                  <a:srgbClr val="000000"/>
                </a:solidFill>
                <a:latin typeface="Arial" panose="020B0604020202020204"/>
              </a:rPr>
              <a:t>c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ckpoint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Inhibitor. </a:t>
            </a:r>
            <a:r>
              <a:rPr lang="de-DE" b="1" dirty="0"/>
              <a:t>KI</a:t>
            </a:r>
            <a:r>
              <a:rPr lang="de-DE" dirty="0"/>
              <a:t> Konfidenzintervall. </a:t>
            </a: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K </a:t>
            </a:r>
            <a:r>
              <a:rPr kumimoji="0" lang="de-DE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togen</a:t>
            </a: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aktivierte Proteinkinase-Kinase. </a:t>
            </a: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</a:t>
            </a: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Gesamtüberleben. </a:t>
            </a: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FS </a:t>
            </a:r>
            <a:r>
              <a:rPr kumimoji="0" lang="de-DE" sz="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gressionsfreies Überleben.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llebaek</a:t>
            </a: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, et al. ESMO 2025. Poster 1646P. 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0E55183-7D6B-984F-A092-6006521D3A5D}"/>
              </a:ext>
            </a:extLst>
          </p:cNvPr>
          <p:cNvSpPr txBox="1"/>
          <p:nvPr/>
        </p:nvSpPr>
        <p:spPr>
          <a:xfrm>
            <a:off x="2131219" y="1214595"/>
            <a:ext cx="6096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FS nach </a:t>
            </a:r>
            <a:r>
              <a:rPr kumimoji="0" lang="de-DE" sz="1600" b="1" i="1" u="none" strike="noStrike" kern="1200" cap="none" spc="0" normalizeH="0" baseline="0" noProof="0" dirty="0" err="1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pensity</a:t>
            </a:r>
            <a:r>
              <a:rPr kumimoji="0" lang="de-DE" sz="1600" b="1" i="1" u="none" strike="noStrike" kern="1200" cap="none" spc="0" normalizeH="0" baseline="0" noProof="0" dirty="0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core </a:t>
            </a:r>
            <a:r>
              <a:rPr kumimoji="0" lang="de-DE" sz="1600" b="1" i="1" u="none" strike="noStrike" kern="1200" cap="none" spc="0" normalizeH="0" baseline="0" noProof="0" dirty="0" err="1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tching</a:t>
            </a:r>
            <a:r>
              <a:rPr kumimoji="0" lang="de-DE" sz="1600" b="1" i="1" u="none" strike="noStrike" kern="1200" cap="none" spc="0" normalizeH="0" baseline="0" noProof="0" dirty="0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graphicFrame>
        <p:nvGraphicFramePr>
          <p:cNvPr id="19" name="Tabelle 18">
            <a:extLst>
              <a:ext uri="{FF2B5EF4-FFF2-40B4-BE49-F238E27FC236}">
                <a16:creationId xmlns:a16="http://schemas.microsoft.com/office/drawing/2014/main" id="{315A316D-E8CE-5C38-B6C1-E3D0A387FB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1347658"/>
              </p:ext>
            </p:extLst>
          </p:nvPr>
        </p:nvGraphicFramePr>
        <p:xfrm>
          <a:off x="666384" y="4086589"/>
          <a:ext cx="4766400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2000">
                  <a:extLst>
                    <a:ext uri="{9D8B030D-6E8A-4147-A177-3AD203B41FA5}">
                      <a16:colId xmlns:a16="http://schemas.microsoft.com/office/drawing/2014/main" val="1378299196"/>
                    </a:ext>
                  </a:extLst>
                </a:gridCol>
                <a:gridCol w="248400">
                  <a:extLst>
                    <a:ext uri="{9D8B030D-6E8A-4147-A177-3AD203B41FA5}">
                      <a16:colId xmlns:a16="http://schemas.microsoft.com/office/drawing/2014/main" val="2720059670"/>
                    </a:ext>
                  </a:extLst>
                </a:gridCol>
                <a:gridCol w="248400">
                  <a:extLst>
                    <a:ext uri="{9D8B030D-6E8A-4147-A177-3AD203B41FA5}">
                      <a16:colId xmlns:a16="http://schemas.microsoft.com/office/drawing/2014/main" val="3558843235"/>
                    </a:ext>
                  </a:extLst>
                </a:gridCol>
                <a:gridCol w="248400">
                  <a:extLst>
                    <a:ext uri="{9D8B030D-6E8A-4147-A177-3AD203B41FA5}">
                      <a16:colId xmlns:a16="http://schemas.microsoft.com/office/drawing/2014/main" val="642524864"/>
                    </a:ext>
                  </a:extLst>
                </a:gridCol>
                <a:gridCol w="248400">
                  <a:extLst>
                    <a:ext uri="{9D8B030D-6E8A-4147-A177-3AD203B41FA5}">
                      <a16:colId xmlns:a16="http://schemas.microsoft.com/office/drawing/2014/main" val="400611306"/>
                    </a:ext>
                  </a:extLst>
                </a:gridCol>
                <a:gridCol w="248400">
                  <a:extLst>
                    <a:ext uri="{9D8B030D-6E8A-4147-A177-3AD203B41FA5}">
                      <a16:colId xmlns:a16="http://schemas.microsoft.com/office/drawing/2014/main" val="3315586355"/>
                    </a:ext>
                  </a:extLst>
                </a:gridCol>
                <a:gridCol w="248400">
                  <a:extLst>
                    <a:ext uri="{9D8B030D-6E8A-4147-A177-3AD203B41FA5}">
                      <a16:colId xmlns:a16="http://schemas.microsoft.com/office/drawing/2014/main" val="1430594064"/>
                    </a:ext>
                  </a:extLst>
                </a:gridCol>
                <a:gridCol w="248400">
                  <a:extLst>
                    <a:ext uri="{9D8B030D-6E8A-4147-A177-3AD203B41FA5}">
                      <a16:colId xmlns:a16="http://schemas.microsoft.com/office/drawing/2014/main" val="3098826525"/>
                    </a:ext>
                  </a:extLst>
                </a:gridCol>
                <a:gridCol w="248400">
                  <a:extLst>
                    <a:ext uri="{9D8B030D-6E8A-4147-A177-3AD203B41FA5}">
                      <a16:colId xmlns:a16="http://schemas.microsoft.com/office/drawing/2014/main" val="3997508032"/>
                    </a:ext>
                  </a:extLst>
                </a:gridCol>
                <a:gridCol w="248400">
                  <a:extLst>
                    <a:ext uri="{9D8B030D-6E8A-4147-A177-3AD203B41FA5}">
                      <a16:colId xmlns:a16="http://schemas.microsoft.com/office/drawing/2014/main" val="2238665104"/>
                    </a:ext>
                  </a:extLst>
                </a:gridCol>
                <a:gridCol w="248400">
                  <a:extLst>
                    <a:ext uri="{9D8B030D-6E8A-4147-A177-3AD203B41FA5}">
                      <a16:colId xmlns:a16="http://schemas.microsoft.com/office/drawing/2014/main" val="1973714109"/>
                    </a:ext>
                  </a:extLst>
                </a:gridCol>
                <a:gridCol w="248400">
                  <a:extLst>
                    <a:ext uri="{9D8B030D-6E8A-4147-A177-3AD203B41FA5}">
                      <a16:colId xmlns:a16="http://schemas.microsoft.com/office/drawing/2014/main" val="2348681457"/>
                    </a:ext>
                  </a:extLst>
                </a:gridCol>
                <a:gridCol w="248400">
                  <a:extLst>
                    <a:ext uri="{9D8B030D-6E8A-4147-A177-3AD203B41FA5}">
                      <a16:colId xmlns:a16="http://schemas.microsoft.com/office/drawing/2014/main" val="1616841387"/>
                    </a:ext>
                  </a:extLst>
                </a:gridCol>
                <a:gridCol w="248400">
                  <a:extLst>
                    <a:ext uri="{9D8B030D-6E8A-4147-A177-3AD203B41FA5}">
                      <a16:colId xmlns:a16="http://schemas.microsoft.com/office/drawing/2014/main" val="2970693511"/>
                    </a:ext>
                  </a:extLst>
                </a:gridCol>
                <a:gridCol w="248400">
                  <a:extLst>
                    <a:ext uri="{9D8B030D-6E8A-4147-A177-3AD203B41FA5}">
                      <a16:colId xmlns:a16="http://schemas.microsoft.com/office/drawing/2014/main" val="1949858827"/>
                    </a:ext>
                  </a:extLst>
                </a:gridCol>
                <a:gridCol w="248400">
                  <a:extLst>
                    <a:ext uri="{9D8B030D-6E8A-4147-A177-3AD203B41FA5}">
                      <a16:colId xmlns:a16="http://schemas.microsoft.com/office/drawing/2014/main" val="2491663293"/>
                    </a:ext>
                  </a:extLst>
                </a:gridCol>
                <a:gridCol w="248400">
                  <a:extLst>
                    <a:ext uri="{9D8B030D-6E8A-4147-A177-3AD203B41FA5}">
                      <a16:colId xmlns:a16="http://schemas.microsoft.com/office/drawing/2014/main" val="3259900859"/>
                    </a:ext>
                  </a:extLst>
                </a:gridCol>
              </a:tblGrid>
              <a:tr h="60743">
                <a:tc>
                  <a:txBody>
                    <a:bodyPr/>
                    <a:lstStyle/>
                    <a:p>
                      <a:r>
                        <a:rPr lang="de-DE" sz="800" b="1" dirty="0">
                          <a:solidFill>
                            <a:srgbClr val="FF585D"/>
                          </a:solidFill>
                        </a:rPr>
                        <a:t>1L BRAF/</a:t>
                      </a:r>
                      <a:r>
                        <a:rPr lang="de-DE" sz="800" b="1" dirty="0" err="1">
                          <a:solidFill>
                            <a:srgbClr val="FF585D"/>
                          </a:solidFill>
                        </a:rPr>
                        <a:t>MEKi</a:t>
                      </a:r>
                      <a:endParaRPr lang="de-DE" sz="800" b="1" dirty="0">
                        <a:solidFill>
                          <a:srgbClr val="FF585D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/>
                      <a:r>
                        <a:rPr lang="de-DE" sz="800" b="0" dirty="0">
                          <a:solidFill>
                            <a:srgbClr val="FF585D"/>
                          </a:solidFill>
                        </a:rPr>
                        <a:t>65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rgbClr val="FF585D"/>
                          </a:solidFill>
                        </a:rPr>
                        <a:t>38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rgbClr val="FF585D"/>
                          </a:solidFill>
                        </a:rPr>
                        <a:t>2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rgbClr val="FF585D"/>
                          </a:solidFill>
                        </a:rPr>
                        <a:t>13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rgbClr val="FF585D"/>
                          </a:solidFill>
                        </a:rPr>
                        <a:t>9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rgbClr val="FF585D"/>
                          </a:solidFill>
                        </a:rPr>
                        <a:t>7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rgbClr val="FF585D"/>
                          </a:solidFill>
                        </a:rPr>
                        <a:t>5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rgbClr val="FF585D"/>
                          </a:solidFill>
                        </a:rPr>
                        <a:t>4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rgbClr val="FF585D"/>
                          </a:solidFill>
                        </a:rPr>
                        <a:t>3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rgbClr val="FF585D"/>
                          </a:solidFill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rgbClr val="FF585D"/>
                          </a:solidFill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rgbClr val="FF585D"/>
                          </a:solidFill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rgbClr val="FF585D"/>
                          </a:solidFill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rgbClr val="FF585D"/>
                          </a:solidFill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rgbClr val="FF585D"/>
                          </a:solidFill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rgbClr val="FF585D"/>
                          </a:solidFill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35971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1" dirty="0">
                          <a:solidFill>
                            <a:schemeClr val="accent6"/>
                          </a:solidFill>
                        </a:rPr>
                        <a:t>2L BRAF/</a:t>
                      </a:r>
                      <a:r>
                        <a:rPr lang="de-DE" sz="800" b="1" dirty="0" err="1">
                          <a:solidFill>
                            <a:schemeClr val="accent6"/>
                          </a:solidFill>
                        </a:rPr>
                        <a:t>MEKi</a:t>
                      </a:r>
                      <a:endParaRPr lang="de-DE" sz="800" b="1" dirty="0">
                        <a:solidFill>
                          <a:schemeClr val="accent6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accent6"/>
                          </a:solidFill>
                        </a:rPr>
                        <a:t>65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accent6"/>
                          </a:solidFill>
                        </a:rPr>
                        <a:t>39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accent6"/>
                          </a:solidFill>
                        </a:rPr>
                        <a:t>24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accent6"/>
                          </a:solidFill>
                        </a:rPr>
                        <a:t>15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accent6"/>
                          </a:solidFill>
                        </a:rPr>
                        <a:t>1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accent6"/>
                          </a:solidFill>
                        </a:rPr>
                        <a:t>8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accent6"/>
                          </a:solidFill>
                        </a:rPr>
                        <a:t>6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accent6"/>
                          </a:solidFill>
                        </a:rPr>
                        <a:t>4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accent6"/>
                          </a:solidFill>
                        </a:rPr>
                        <a:t>3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accent6"/>
                          </a:solidFill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accent6"/>
                          </a:solidFill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accent6"/>
                          </a:solidFill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accent6"/>
                          </a:solidFill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accent6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accent6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accent6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0541496"/>
                  </a:ext>
                </a:extLst>
              </a:tr>
            </a:tbl>
          </a:graphicData>
        </a:graphic>
      </p:graphicFrame>
      <p:graphicFrame>
        <p:nvGraphicFramePr>
          <p:cNvPr id="22" name="Tabelle 21">
            <a:extLst>
              <a:ext uri="{FF2B5EF4-FFF2-40B4-BE49-F238E27FC236}">
                <a16:creationId xmlns:a16="http://schemas.microsoft.com/office/drawing/2014/main" id="{417C9192-E816-3E2D-8D7E-5A1B40F824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9123799"/>
              </p:ext>
            </p:extLst>
          </p:nvPr>
        </p:nvGraphicFramePr>
        <p:xfrm>
          <a:off x="3862880" y="1726565"/>
          <a:ext cx="2124000" cy="8205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6000">
                  <a:extLst>
                    <a:ext uri="{9D8B030D-6E8A-4147-A177-3AD203B41FA5}">
                      <a16:colId xmlns:a16="http://schemas.microsoft.com/office/drawing/2014/main" val="4136499233"/>
                    </a:ext>
                  </a:extLst>
                </a:gridCol>
                <a:gridCol w="684000">
                  <a:extLst>
                    <a:ext uri="{9D8B030D-6E8A-4147-A177-3AD203B41FA5}">
                      <a16:colId xmlns:a16="http://schemas.microsoft.com/office/drawing/2014/main" val="363488844"/>
                    </a:ext>
                  </a:extLst>
                </a:gridCol>
                <a:gridCol w="684000">
                  <a:extLst>
                    <a:ext uri="{9D8B030D-6E8A-4147-A177-3AD203B41FA5}">
                      <a16:colId xmlns:a16="http://schemas.microsoft.com/office/drawing/2014/main" val="1171629828"/>
                    </a:ext>
                  </a:extLst>
                </a:gridCol>
              </a:tblGrid>
              <a:tr h="273505">
                <a:tc>
                  <a:txBody>
                    <a:bodyPr/>
                    <a:lstStyle/>
                    <a:p>
                      <a:endParaRPr lang="de-DE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1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1" dirty="0">
                          <a:solidFill>
                            <a:schemeClr val="tx1"/>
                          </a:solidFill>
                        </a:rPr>
                        <a:t>95%-KI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2806014"/>
                  </a:ext>
                </a:extLst>
              </a:tr>
              <a:tr h="273505">
                <a:tc>
                  <a:txBody>
                    <a:bodyPr/>
                    <a:lstStyle/>
                    <a:p>
                      <a:r>
                        <a:rPr lang="de-DE" sz="800" b="0" dirty="0">
                          <a:solidFill>
                            <a:schemeClr val="tx1"/>
                          </a:solidFill>
                        </a:rPr>
                        <a:t>1L BRAF/</a:t>
                      </a:r>
                      <a:r>
                        <a:rPr lang="de-DE" sz="800" b="0" dirty="0" err="1">
                          <a:solidFill>
                            <a:schemeClr val="tx1"/>
                          </a:solidFill>
                        </a:rPr>
                        <a:t>MEKi</a:t>
                      </a:r>
                      <a:endParaRPr lang="de-DE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tx1"/>
                          </a:solidFill>
                        </a:rPr>
                        <a:t>7,7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tx1"/>
                          </a:solidFill>
                        </a:rPr>
                        <a:t>6,9–8,3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579295"/>
                  </a:ext>
                </a:extLst>
              </a:tr>
              <a:tr h="27350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/>
                          </a:solidFill>
                        </a:rPr>
                        <a:t>2L BRAF/</a:t>
                      </a:r>
                      <a:r>
                        <a:rPr lang="de-DE" sz="800" b="0" dirty="0" err="1">
                          <a:solidFill>
                            <a:schemeClr val="tx1"/>
                          </a:solidFill>
                        </a:rPr>
                        <a:t>MEKi</a:t>
                      </a:r>
                      <a:endParaRPr lang="de-DE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tx1"/>
                          </a:solidFill>
                        </a:rPr>
                        <a:t>8,4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tx1"/>
                          </a:solidFill>
                        </a:rPr>
                        <a:t>7,8–9,8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8700640"/>
                  </a:ext>
                </a:extLst>
              </a:tr>
            </a:tbl>
          </a:graphicData>
        </a:graphic>
      </p:graphicFrame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2490A257-F36D-BD43-B064-1A9C63160F4C}"/>
              </a:ext>
            </a:extLst>
          </p:cNvPr>
          <p:cNvCxnSpPr/>
          <p:nvPr/>
        </p:nvCxnSpPr>
        <p:spPr>
          <a:xfrm>
            <a:off x="3367072" y="2150327"/>
            <a:ext cx="402336" cy="0"/>
          </a:xfrm>
          <a:prstGeom prst="line">
            <a:avLst/>
          </a:prstGeom>
          <a:ln w="222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8336AF1F-2A40-7430-68E3-214C4EBD3E58}"/>
              </a:ext>
            </a:extLst>
          </p:cNvPr>
          <p:cNvCxnSpPr/>
          <p:nvPr/>
        </p:nvCxnSpPr>
        <p:spPr>
          <a:xfrm>
            <a:off x="3367072" y="2416809"/>
            <a:ext cx="402336" cy="0"/>
          </a:xfrm>
          <a:prstGeom prst="line">
            <a:avLst/>
          </a:prstGeom>
          <a:ln w="222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26, chunk 11">
            <a:extLst>
              <a:ext uri="{FF2B5EF4-FFF2-40B4-BE49-F238E27FC236}">
                <a16:creationId xmlns:a16="http://schemas.microsoft.com/office/drawing/2014/main" id="{226AC46B-DBF3-C7C3-0909-C3A7D9E1AE1A}"/>
              </a:ext>
            </a:extLst>
          </p:cNvPr>
          <p:cNvSpPr txBox="1"/>
          <p:nvPr/>
        </p:nvSpPr>
        <p:spPr>
          <a:xfrm>
            <a:off x="5238749" y="3563755"/>
            <a:ext cx="940244" cy="9233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algn="r">
              <a:defRPr sz="1200">
                <a:solidFill>
                  <a:srgbClr val="595959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ensiert</a:t>
            </a:r>
          </a:p>
        </p:txBody>
      </p:sp>
      <p:grpSp>
        <p:nvGrpSpPr>
          <p:cNvPr id="8" name="Grafik 14">
            <a:extLst>
              <a:ext uri="{FF2B5EF4-FFF2-40B4-BE49-F238E27FC236}">
                <a16:creationId xmlns:a16="http://schemas.microsoft.com/office/drawing/2014/main" id="{8011AB0E-C22D-5A50-1208-0DB3BAB9EAB3}"/>
              </a:ext>
            </a:extLst>
          </p:cNvPr>
          <p:cNvGrpSpPr/>
          <p:nvPr/>
        </p:nvGrpSpPr>
        <p:grpSpPr>
          <a:xfrm>
            <a:off x="1581995" y="1569750"/>
            <a:ext cx="3985300" cy="1934791"/>
            <a:chOff x="1340944" y="1726878"/>
            <a:chExt cx="5663395" cy="2749476"/>
          </a:xfrm>
          <a:solidFill>
            <a:srgbClr val="FF585D"/>
          </a:solidFill>
        </p:grpSpPr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8F7EFAF8-193B-D594-7390-51EFEA0C3A0B}"/>
                </a:ext>
              </a:extLst>
            </p:cNvPr>
            <p:cNvSpPr/>
            <p:nvPr/>
          </p:nvSpPr>
          <p:spPr>
            <a:xfrm>
              <a:off x="1344496" y="1726878"/>
              <a:ext cx="5631293" cy="2729555"/>
            </a:xfrm>
            <a:custGeom>
              <a:avLst/>
              <a:gdLst>
                <a:gd name="connsiteX0" fmla="*/ 0 w 5631293"/>
                <a:gd name="connsiteY0" fmla="*/ 0 h 2729555"/>
                <a:gd name="connsiteX1" fmla="*/ 3426 w 5631293"/>
                <a:gd name="connsiteY1" fmla="*/ 0 h 2729555"/>
                <a:gd name="connsiteX2" fmla="*/ 3426 w 5631293"/>
                <a:gd name="connsiteY2" fmla="*/ 5583 h 2729555"/>
                <a:gd name="connsiteX3" fmla="*/ 1903 w 5631293"/>
                <a:gd name="connsiteY3" fmla="*/ 4441 h 2729555"/>
                <a:gd name="connsiteX4" fmla="*/ 7232 w 5631293"/>
                <a:gd name="connsiteY4" fmla="*/ 4441 h 2729555"/>
                <a:gd name="connsiteX5" fmla="*/ 7232 w 5631293"/>
                <a:gd name="connsiteY5" fmla="*/ 10024 h 2729555"/>
                <a:gd name="connsiteX6" fmla="*/ 5710 w 5631293"/>
                <a:gd name="connsiteY6" fmla="*/ 9009 h 2729555"/>
                <a:gd name="connsiteX7" fmla="*/ 14972 w 5631293"/>
                <a:gd name="connsiteY7" fmla="*/ 9009 h 2729555"/>
                <a:gd name="connsiteX8" fmla="*/ 14972 w 5631293"/>
                <a:gd name="connsiteY8" fmla="*/ 19160 h 2729555"/>
                <a:gd name="connsiteX9" fmla="*/ 13450 w 5631293"/>
                <a:gd name="connsiteY9" fmla="*/ 18018 h 2729555"/>
                <a:gd name="connsiteX10" fmla="*/ 16876 w 5631293"/>
                <a:gd name="connsiteY10" fmla="*/ 18018 h 2729555"/>
                <a:gd name="connsiteX11" fmla="*/ 16876 w 5631293"/>
                <a:gd name="connsiteY11" fmla="*/ 23601 h 2729555"/>
                <a:gd name="connsiteX12" fmla="*/ 15353 w 5631293"/>
                <a:gd name="connsiteY12" fmla="*/ 22459 h 2729555"/>
                <a:gd name="connsiteX13" fmla="*/ 20809 w 5631293"/>
                <a:gd name="connsiteY13" fmla="*/ 22459 h 2729555"/>
                <a:gd name="connsiteX14" fmla="*/ 20809 w 5631293"/>
                <a:gd name="connsiteY14" fmla="*/ 28169 h 2729555"/>
                <a:gd name="connsiteX15" fmla="*/ 19287 w 5631293"/>
                <a:gd name="connsiteY15" fmla="*/ 27027 h 2729555"/>
                <a:gd name="connsiteX16" fmla="*/ 24616 w 5631293"/>
                <a:gd name="connsiteY16" fmla="*/ 27027 h 2729555"/>
                <a:gd name="connsiteX17" fmla="*/ 24616 w 5631293"/>
                <a:gd name="connsiteY17" fmla="*/ 32736 h 2729555"/>
                <a:gd name="connsiteX18" fmla="*/ 23093 w 5631293"/>
                <a:gd name="connsiteY18" fmla="*/ 31594 h 2729555"/>
                <a:gd name="connsiteX19" fmla="*/ 26519 w 5631293"/>
                <a:gd name="connsiteY19" fmla="*/ 31594 h 2729555"/>
                <a:gd name="connsiteX20" fmla="*/ 26519 w 5631293"/>
                <a:gd name="connsiteY20" fmla="*/ 37177 h 2729555"/>
                <a:gd name="connsiteX21" fmla="*/ 24996 w 5631293"/>
                <a:gd name="connsiteY21" fmla="*/ 36035 h 2729555"/>
                <a:gd name="connsiteX22" fmla="*/ 28422 w 5631293"/>
                <a:gd name="connsiteY22" fmla="*/ 36035 h 2729555"/>
                <a:gd name="connsiteX23" fmla="*/ 28422 w 5631293"/>
                <a:gd name="connsiteY23" fmla="*/ 41618 h 2729555"/>
                <a:gd name="connsiteX24" fmla="*/ 26900 w 5631293"/>
                <a:gd name="connsiteY24" fmla="*/ 40476 h 2729555"/>
                <a:gd name="connsiteX25" fmla="*/ 30452 w 5631293"/>
                <a:gd name="connsiteY25" fmla="*/ 40476 h 2729555"/>
                <a:gd name="connsiteX26" fmla="*/ 30452 w 5631293"/>
                <a:gd name="connsiteY26" fmla="*/ 50754 h 2729555"/>
                <a:gd name="connsiteX27" fmla="*/ 28930 w 5631293"/>
                <a:gd name="connsiteY27" fmla="*/ 49612 h 2729555"/>
                <a:gd name="connsiteX28" fmla="*/ 36162 w 5631293"/>
                <a:gd name="connsiteY28" fmla="*/ 49612 h 2729555"/>
                <a:gd name="connsiteX29" fmla="*/ 36162 w 5631293"/>
                <a:gd name="connsiteY29" fmla="*/ 68772 h 2729555"/>
                <a:gd name="connsiteX30" fmla="*/ 34640 w 5631293"/>
                <a:gd name="connsiteY30" fmla="*/ 67757 h 2729555"/>
                <a:gd name="connsiteX31" fmla="*/ 38066 w 5631293"/>
                <a:gd name="connsiteY31" fmla="*/ 67757 h 2729555"/>
                <a:gd name="connsiteX32" fmla="*/ 38066 w 5631293"/>
                <a:gd name="connsiteY32" fmla="*/ 73340 h 2729555"/>
                <a:gd name="connsiteX33" fmla="*/ 36543 w 5631293"/>
                <a:gd name="connsiteY33" fmla="*/ 72198 h 2729555"/>
                <a:gd name="connsiteX34" fmla="*/ 40223 w 5631293"/>
                <a:gd name="connsiteY34" fmla="*/ 72198 h 2729555"/>
                <a:gd name="connsiteX35" fmla="*/ 40223 w 5631293"/>
                <a:gd name="connsiteY35" fmla="*/ 77781 h 2729555"/>
                <a:gd name="connsiteX36" fmla="*/ 38573 w 5631293"/>
                <a:gd name="connsiteY36" fmla="*/ 76639 h 2729555"/>
                <a:gd name="connsiteX37" fmla="*/ 42507 w 5631293"/>
                <a:gd name="connsiteY37" fmla="*/ 76639 h 2729555"/>
                <a:gd name="connsiteX38" fmla="*/ 45932 w 5631293"/>
                <a:gd name="connsiteY38" fmla="*/ 76639 h 2729555"/>
                <a:gd name="connsiteX39" fmla="*/ 45932 w 5631293"/>
                <a:gd name="connsiteY39" fmla="*/ 82349 h 2729555"/>
                <a:gd name="connsiteX40" fmla="*/ 44410 w 5631293"/>
                <a:gd name="connsiteY40" fmla="*/ 81207 h 2729555"/>
                <a:gd name="connsiteX41" fmla="*/ 47836 w 5631293"/>
                <a:gd name="connsiteY41" fmla="*/ 81207 h 2729555"/>
                <a:gd name="connsiteX42" fmla="*/ 47836 w 5631293"/>
                <a:gd name="connsiteY42" fmla="*/ 86790 h 2729555"/>
                <a:gd name="connsiteX43" fmla="*/ 46313 w 5631293"/>
                <a:gd name="connsiteY43" fmla="*/ 85774 h 2729555"/>
                <a:gd name="connsiteX44" fmla="*/ 49866 w 5631293"/>
                <a:gd name="connsiteY44" fmla="*/ 85774 h 2729555"/>
                <a:gd name="connsiteX45" fmla="*/ 49866 w 5631293"/>
                <a:gd name="connsiteY45" fmla="*/ 91357 h 2729555"/>
                <a:gd name="connsiteX46" fmla="*/ 48343 w 5631293"/>
                <a:gd name="connsiteY46" fmla="*/ 90342 h 2729555"/>
                <a:gd name="connsiteX47" fmla="*/ 51769 w 5631293"/>
                <a:gd name="connsiteY47" fmla="*/ 90342 h 2729555"/>
                <a:gd name="connsiteX48" fmla="*/ 51769 w 5631293"/>
                <a:gd name="connsiteY48" fmla="*/ 95925 h 2729555"/>
                <a:gd name="connsiteX49" fmla="*/ 50247 w 5631293"/>
                <a:gd name="connsiteY49" fmla="*/ 94783 h 2729555"/>
                <a:gd name="connsiteX50" fmla="*/ 57479 w 5631293"/>
                <a:gd name="connsiteY50" fmla="*/ 94783 h 2729555"/>
                <a:gd name="connsiteX51" fmla="*/ 57479 w 5631293"/>
                <a:gd name="connsiteY51" fmla="*/ 109502 h 2729555"/>
                <a:gd name="connsiteX52" fmla="*/ 55956 w 5631293"/>
                <a:gd name="connsiteY52" fmla="*/ 108360 h 2729555"/>
                <a:gd name="connsiteX53" fmla="*/ 61412 w 5631293"/>
                <a:gd name="connsiteY53" fmla="*/ 108360 h 2729555"/>
                <a:gd name="connsiteX54" fmla="*/ 61412 w 5631293"/>
                <a:gd name="connsiteY54" fmla="*/ 114070 h 2729555"/>
                <a:gd name="connsiteX55" fmla="*/ 59890 w 5631293"/>
                <a:gd name="connsiteY55" fmla="*/ 112928 h 2729555"/>
                <a:gd name="connsiteX56" fmla="*/ 65219 w 5631293"/>
                <a:gd name="connsiteY56" fmla="*/ 112928 h 2729555"/>
                <a:gd name="connsiteX57" fmla="*/ 65219 w 5631293"/>
                <a:gd name="connsiteY57" fmla="*/ 118638 h 2729555"/>
                <a:gd name="connsiteX58" fmla="*/ 63696 w 5631293"/>
                <a:gd name="connsiteY58" fmla="*/ 117496 h 2729555"/>
                <a:gd name="connsiteX59" fmla="*/ 67249 w 5631293"/>
                <a:gd name="connsiteY59" fmla="*/ 117496 h 2729555"/>
                <a:gd name="connsiteX60" fmla="*/ 67249 w 5631293"/>
                <a:gd name="connsiteY60" fmla="*/ 123079 h 2729555"/>
                <a:gd name="connsiteX61" fmla="*/ 65727 w 5631293"/>
                <a:gd name="connsiteY61" fmla="*/ 121937 h 2729555"/>
                <a:gd name="connsiteX62" fmla="*/ 69152 w 5631293"/>
                <a:gd name="connsiteY62" fmla="*/ 121937 h 2729555"/>
                <a:gd name="connsiteX63" fmla="*/ 69152 w 5631293"/>
                <a:gd name="connsiteY63" fmla="*/ 127520 h 2729555"/>
                <a:gd name="connsiteX64" fmla="*/ 67630 w 5631293"/>
                <a:gd name="connsiteY64" fmla="*/ 126378 h 2729555"/>
                <a:gd name="connsiteX65" fmla="*/ 69533 w 5631293"/>
                <a:gd name="connsiteY65" fmla="*/ 126378 h 2729555"/>
                <a:gd name="connsiteX66" fmla="*/ 84506 w 5631293"/>
                <a:gd name="connsiteY66" fmla="*/ 126378 h 2729555"/>
                <a:gd name="connsiteX67" fmla="*/ 84506 w 5631293"/>
                <a:gd name="connsiteY67" fmla="*/ 136655 h 2729555"/>
                <a:gd name="connsiteX68" fmla="*/ 82983 w 5631293"/>
                <a:gd name="connsiteY68" fmla="*/ 135640 h 2729555"/>
                <a:gd name="connsiteX69" fmla="*/ 96306 w 5631293"/>
                <a:gd name="connsiteY69" fmla="*/ 135640 h 2729555"/>
                <a:gd name="connsiteX70" fmla="*/ 96306 w 5631293"/>
                <a:gd name="connsiteY70" fmla="*/ 141223 h 2729555"/>
                <a:gd name="connsiteX71" fmla="*/ 94783 w 5631293"/>
                <a:gd name="connsiteY71" fmla="*/ 140081 h 2729555"/>
                <a:gd name="connsiteX72" fmla="*/ 98209 w 5631293"/>
                <a:gd name="connsiteY72" fmla="*/ 140081 h 2729555"/>
                <a:gd name="connsiteX73" fmla="*/ 98209 w 5631293"/>
                <a:gd name="connsiteY73" fmla="*/ 150232 h 2729555"/>
                <a:gd name="connsiteX74" fmla="*/ 96687 w 5631293"/>
                <a:gd name="connsiteY74" fmla="*/ 149090 h 2729555"/>
                <a:gd name="connsiteX75" fmla="*/ 100112 w 5631293"/>
                <a:gd name="connsiteY75" fmla="*/ 149090 h 2729555"/>
                <a:gd name="connsiteX76" fmla="*/ 100112 w 5631293"/>
                <a:gd name="connsiteY76" fmla="*/ 154800 h 2729555"/>
                <a:gd name="connsiteX77" fmla="*/ 98590 w 5631293"/>
                <a:gd name="connsiteY77" fmla="*/ 153658 h 2729555"/>
                <a:gd name="connsiteX78" fmla="*/ 102016 w 5631293"/>
                <a:gd name="connsiteY78" fmla="*/ 153658 h 2729555"/>
                <a:gd name="connsiteX79" fmla="*/ 102016 w 5631293"/>
                <a:gd name="connsiteY79" fmla="*/ 163936 h 2729555"/>
                <a:gd name="connsiteX80" fmla="*/ 100493 w 5631293"/>
                <a:gd name="connsiteY80" fmla="*/ 162794 h 2729555"/>
                <a:gd name="connsiteX81" fmla="*/ 103919 w 5631293"/>
                <a:gd name="connsiteY81" fmla="*/ 162794 h 2729555"/>
                <a:gd name="connsiteX82" fmla="*/ 103919 w 5631293"/>
                <a:gd name="connsiteY82" fmla="*/ 172945 h 2729555"/>
                <a:gd name="connsiteX83" fmla="*/ 102396 w 5631293"/>
                <a:gd name="connsiteY83" fmla="*/ 171803 h 2729555"/>
                <a:gd name="connsiteX84" fmla="*/ 111659 w 5631293"/>
                <a:gd name="connsiteY84" fmla="*/ 171803 h 2729555"/>
                <a:gd name="connsiteX85" fmla="*/ 111659 w 5631293"/>
                <a:gd name="connsiteY85" fmla="*/ 181953 h 2729555"/>
                <a:gd name="connsiteX86" fmla="*/ 110136 w 5631293"/>
                <a:gd name="connsiteY86" fmla="*/ 180938 h 2729555"/>
                <a:gd name="connsiteX87" fmla="*/ 113562 w 5631293"/>
                <a:gd name="connsiteY87" fmla="*/ 180938 h 2729555"/>
                <a:gd name="connsiteX88" fmla="*/ 113562 w 5631293"/>
                <a:gd name="connsiteY88" fmla="*/ 186521 h 2729555"/>
                <a:gd name="connsiteX89" fmla="*/ 112040 w 5631293"/>
                <a:gd name="connsiteY89" fmla="*/ 185506 h 2729555"/>
                <a:gd name="connsiteX90" fmla="*/ 115592 w 5631293"/>
                <a:gd name="connsiteY90" fmla="*/ 185506 h 2729555"/>
                <a:gd name="connsiteX91" fmla="*/ 115592 w 5631293"/>
                <a:gd name="connsiteY91" fmla="*/ 195657 h 2729555"/>
                <a:gd name="connsiteX92" fmla="*/ 114070 w 5631293"/>
                <a:gd name="connsiteY92" fmla="*/ 194515 h 2729555"/>
                <a:gd name="connsiteX93" fmla="*/ 117496 w 5631293"/>
                <a:gd name="connsiteY93" fmla="*/ 194515 h 2729555"/>
                <a:gd name="connsiteX94" fmla="*/ 117496 w 5631293"/>
                <a:gd name="connsiteY94" fmla="*/ 204666 h 2729555"/>
                <a:gd name="connsiteX95" fmla="*/ 115973 w 5631293"/>
                <a:gd name="connsiteY95" fmla="*/ 203524 h 2729555"/>
                <a:gd name="connsiteX96" fmla="*/ 117876 w 5631293"/>
                <a:gd name="connsiteY96" fmla="*/ 203524 h 2729555"/>
                <a:gd name="connsiteX97" fmla="*/ 123206 w 5631293"/>
                <a:gd name="connsiteY97" fmla="*/ 203524 h 2729555"/>
                <a:gd name="connsiteX98" fmla="*/ 123206 w 5631293"/>
                <a:gd name="connsiteY98" fmla="*/ 209234 h 2729555"/>
                <a:gd name="connsiteX99" fmla="*/ 121683 w 5631293"/>
                <a:gd name="connsiteY99" fmla="*/ 208092 h 2729555"/>
                <a:gd name="connsiteX100" fmla="*/ 127139 w 5631293"/>
                <a:gd name="connsiteY100" fmla="*/ 208092 h 2729555"/>
                <a:gd name="connsiteX101" fmla="*/ 127139 w 5631293"/>
                <a:gd name="connsiteY101" fmla="*/ 218370 h 2729555"/>
                <a:gd name="connsiteX102" fmla="*/ 125616 w 5631293"/>
                <a:gd name="connsiteY102" fmla="*/ 217228 h 2729555"/>
                <a:gd name="connsiteX103" fmla="*/ 129042 w 5631293"/>
                <a:gd name="connsiteY103" fmla="*/ 217228 h 2729555"/>
                <a:gd name="connsiteX104" fmla="*/ 129042 w 5631293"/>
                <a:gd name="connsiteY104" fmla="*/ 222937 h 2729555"/>
                <a:gd name="connsiteX105" fmla="*/ 127520 w 5631293"/>
                <a:gd name="connsiteY105" fmla="*/ 221795 h 2729555"/>
                <a:gd name="connsiteX106" fmla="*/ 129423 w 5631293"/>
                <a:gd name="connsiteY106" fmla="*/ 221795 h 2729555"/>
                <a:gd name="connsiteX107" fmla="*/ 132976 w 5631293"/>
                <a:gd name="connsiteY107" fmla="*/ 221795 h 2729555"/>
                <a:gd name="connsiteX108" fmla="*/ 132976 w 5631293"/>
                <a:gd name="connsiteY108" fmla="*/ 232073 h 2729555"/>
                <a:gd name="connsiteX109" fmla="*/ 131453 w 5631293"/>
                <a:gd name="connsiteY109" fmla="*/ 230931 h 2729555"/>
                <a:gd name="connsiteX110" fmla="*/ 134879 w 5631293"/>
                <a:gd name="connsiteY110" fmla="*/ 230931 h 2729555"/>
                <a:gd name="connsiteX111" fmla="*/ 134879 w 5631293"/>
                <a:gd name="connsiteY111" fmla="*/ 236641 h 2729555"/>
                <a:gd name="connsiteX112" fmla="*/ 133356 w 5631293"/>
                <a:gd name="connsiteY112" fmla="*/ 235499 h 2729555"/>
                <a:gd name="connsiteX113" fmla="*/ 136909 w 5631293"/>
                <a:gd name="connsiteY113" fmla="*/ 235499 h 2729555"/>
                <a:gd name="connsiteX114" fmla="*/ 136909 w 5631293"/>
                <a:gd name="connsiteY114" fmla="*/ 245650 h 2729555"/>
                <a:gd name="connsiteX115" fmla="*/ 135260 w 5631293"/>
                <a:gd name="connsiteY115" fmla="*/ 244508 h 2729555"/>
                <a:gd name="connsiteX116" fmla="*/ 138812 w 5631293"/>
                <a:gd name="connsiteY116" fmla="*/ 244508 h 2729555"/>
                <a:gd name="connsiteX117" fmla="*/ 138812 w 5631293"/>
                <a:gd name="connsiteY117" fmla="*/ 259353 h 2729555"/>
                <a:gd name="connsiteX118" fmla="*/ 137290 w 5631293"/>
                <a:gd name="connsiteY118" fmla="*/ 258338 h 2729555"/>
                <a:gd name="connsiteX119" fmla="*/ 140716 w 5631293"/>
                <a:gd name="connsiteY119" fmla="*/ 258338 h 2729555"/>
                <a:gd name="connsiteX120" fmla="*/ 140716 w 5631293"/>
                <a:gd name="connsiteY120" fmla="*/ 268616 h 2729555"/>
                <a:gd name="connsiteX121" fmla="*/ 139193 w 5631293"/>
                <a:gd name="connsiteY121" fmla="*/ 267474 h 2729555"/>
                <a:gd name="connsiteX122" fmla="*/ 142746 w 5631293"/>
                <a:gd name="connsiteY122" fmla="*/ 267474 h 2729555"/>
                <a:gd name="connsiteX123" fmla="*/ 142746 w 5631293"/>
                <a:gd name="connsiteY123" fmla="*/ 273184 h 2729555"/>
                <a:gd name="connsiteX124" fmla="*/ 141223 w 5631293"/>
                <a:gd name="connsiteY124" fmla="*/ 272042 h 2729555"/>
                <a:gd name="connsiteX125" fmla="*/ 144649 w 5631293"/>
                <a:gd name="connsiteY125" fmla="*/ 272042 h 2729555"/>
                <a:gd name="connsiteX126" fmla="*/ 144649 w 5631293"/>
                <a:gd name="connsiteY126" fmla="*/ 277752 h 2729555"/>
                <a:gd name="connsiteX127" fmla="*/ 143127 w 5631293"/>
                <a:gd name="connsiteY127" fmla="*/ 276610 h 2729555"/>
                <a:gd name="connsiteX128" fmla="*/ 146552 w 5631293"/>
                <a:gd name="connsiteY128" fmla="*/ 276610 h 2729555"/>
                <a:gd name="connsiteX129" fmla="*/ 146552 w 5631293"/>
                <a:gd name="connsiteY129" fmla="*/ 282320 h 2729555"/>
                <a:gd name="connsiteX130" fmla="*/ 145030 w 5631293"/>
                <a:gd name="connsiteY130" fmla="*/ 281178 h 2729555"/>
                <a:gd name="connsiteX131" fmla="*/ 148456 w 5631293"/>
                <a:gd name="connsiteY131" fmla="*/ 281178 h 2729555"/>
                <a:gd name="connsiteX132" fmla="*/ 148456 w 5631293"/>
                <a:gd name="connsiteY132" fmla="*/ 296023 h 2729555"/>
                <a:gd name="connsiteX133" fmla="*/ 146933 w 5631293"/>
                <a:gd name="connsiteY133" fmla="*/ 294881 h 2729555"/>
                <a:gd name="connsiteX134" fmla="*/ 150359 w 5631293"/>
                <a:gd name="connsiteY134" fmla="*/ 294881 h 2729555"/>
                <a:gd name="connsiteX135" fmla="*/ 150359 w 5631293"/>
                <a:gd name="connsiteY135" fmla="*/ 305159 h 2729555"/>
                <a:gd name="connsiteX136" fmla="*/ 148836 w 5631293"/>
                <a:gd name="connsiteY136" fmla="*/ 304017 h 2729555"/>
                <a:gd name="connsiteX137" fmla="*/ 152389 w 5631293"/>
                <a:gd name="connsiteY137" fmla="*/ 304017 h 2729555"/>
                <a:gd name="connsiteX138" fmla="*/ 152389 w 5631293"/>
                <a:gd name="connsiteY138" fmla="*/ 323557 h 2729555"/>
                <a:gd name="connsiteX139" fmla="*/ 150867 w 5631293"/>
                <a:gd name="connsiteY139" fmla="*/ 322415 h 2729555"/>
                <a:gd name="connsiteX140" fmla="*/ 154292 w 5631293"/>
                <a:gd name="connsiteY140" fmla="*/ 322415 h 2729555"/>
                <a:gd name="connsiteX141" fmla="*/ 154292 w 5631293"/>
                <a:gd name="connsiteY141" fmla="*/ 332693 h 2729555"/>
                <a:gd name="connsiteX142" fmla="*/ 152770 w 5631293"/>
                <a:gd name="connsiteY142" fmla="*/ 331551 h 2729555"/>
                <a:gd name="connsiteX143" fmla="*/ 156196 w 5631293"/>
                <a:gd name="connsiteY143" fmla="*/ 331551 h 2729555"/>
                <a:gd name="connsiteX144" fmla="*/ 156196 w 5631293"/>
                <a:gd name="connsiteY144" fmla="*/ 337261 h 2729555"/>
                <a:gd name="connsiteX145" fmla="*/ 154673 w 5631293"/>
                <a:gd name="connsiteY145" fmla="*/ 336119 h 2729555"/>
                <a:gd name="connsiteX146" fmla="*/ 158099 w 5631293"/>
                <a:gd name="connsiteY146" fmla="*/ 336119 h 2729555"/>
                <a:gd name="connsiteX147" fmla="*/ 158099 w 5631293"/>
                <a:gd name="connsiteY147" fmla="*/ 341829 h 2729555"/>
                <a:gd name="connsiteX148" fmla="*/ 156576 w 5631293"/>
                <a:gd name="connsiteY148" fmla="*/ 340687 h 2729555"/>
                <a:gd name="connsiteX149" fmla="*/ 160002 w 5631293"/>
                <a:gd name="connsiteY149" fmla="*/ 340687 h 2729555"/>
                <a:gd name="connsiteX150" fmla="*/ 160002 w 5631293"/>
                <a:gd name="connsiteY150" fmla="*/ 350965 h 2729555"/>
                <a:gd name="connsiteX151" fmla="*/ 158480 w 5631293"/>
                <a:gd name="connsiteY151" fmla="*/ 349950 h 2729555"/>
                <a:gd name="connsiteX152" fmla="*/ 162032 w 5631293"/>
                <a:gd name="connsiteY152" fmla="*/ 349950 h 2729555"/>
                <a:gd name="connsiteX153" fmla="*/ 162032 w 5631293"/>
                <a:gd name="connsiteY153" fmla="*/ 355532 h 2729555"/>
                <a:gd name="connsiteX154" fmla="*/ 160510 w 5631293"/>
                <a:gd name="connsiteY154" fmla="*/ 354517 h 2729555"/>
                <a:gd name="connsiteX155" fmla="*/ 163936 w 5631293"/>
                <a:gd name="connsiteY155" fmla="*/ 354517 h 2729555"/>
                <a:gd name="connsiteX156" fmla="*/ 163936 w 5631293"/>
                <a:gd name="connsiteY156" fmla="*/ 364795 h 2729555"/>
                <a:gd name="connsiteX157" fmla="*/ 162413 w 5631293"/>
                <a:gd name="connsiteY157" fmla="*/ 363653 h 2729555"/>
                <a:gd name="connsiteX158" fmla="*/ 165839 w 5631293"/>
                <a:gd name="connsiteY158" fmla="*/ 363653 h 2729555"/>
                <a:gd name="connsiteX159" fmla="*/ 165839 w 5631293"/>
                <a:gd name="connsiteY159" fmla="*/ 387761 h 2729555"/>
                <a:gd name="connsiteX160" fmla="*/ 164316 w 5631293"/>
                <a:gd name="connsiteY160" fmla="*/ 386619 h 2729555"/>
                <a:gd name="connsiteX161" fmla="*/ 167742 w 5631293"/>
                <a:gd name="connsiteY161" fmla="*/ 386619 h 2729555"/>
                <a:gd name="connsiteX162" fmla="*/ 167742 w 5631293"/>
                <a:gd name="connsiteY162" fmla="*/ 406160 h 2729555"/>
                <a:gd name="connsiteX163" fmla="*/ 166220 w 5631293"/>
                <a:gd name="connsiteY163" fmla="*/ 405018 h 2729555"/>
                <a:gd name="connsiteX164" fmla="*/ 169646 w 5631293"/>
                <a:gd name="connsiteY164" fmla="*/ 405018 h 2729555"/>
                <a:gd name="connsiteX165" fmla="*/ 169646 w 5631293"/>
                <a:gd name="connsiteY165" fmla="*/ 415295 h 2729555"/>
                <a:gd name="connsiteX166" fmla="*/ 168123 w 5631293"/>
                <a:gd name="connsiteY166" fmla="*/ 414153 h 2729555"/>
                <a:gd name="connsiteX167" fmla="*/ 171676 w 5631293"/>
                <a:gd name="connsiteY167" fmla="*/ 414153 h 2729555"/>
                <a:gd name="connsiteX168" fmla="*/ 171676 w 5631293"/>
                <a:gd name="connsiteY168" fmla="*/ 424558 h 2729555"/>
                <a:gd name="connsiteX169" fmla="*/ 170153 w 5631293"/>
                <a:gd name="connsiteY169" fmla="*/ 423416 h 2729555"/>
                <a:gd name="connsiteX170" fmla="*/ 173579 w 5631293"/>
                <a:gd name="connsiteY170" fmla="*/ 423416 h 2729555"/>
                <a:gd name="connsiteX171" fmla="*/ 173579 w 5631293"/>
                <a:gd name="connsiteY171" fmla="*/ 433694 h 2729555"/>
                <a:gd name="connsiteX172" fmla="*/ 172056 w 5631293"/>
                <a:gd name="connsiteY172" fmla="*/ 432552 h 2729555"/>
                <a:gd name="connsiteX173" fmla="*/ 175482 w 5631293"/>
                <a:gd name="connsiteY173" fmla="*/ 432552 h 2729555"/>
                <a:gd name="connsiteX174" fmla="*/ 175482 w 5631293"/>
                <a:gd name="connsiteY174" fmla="*/ 442956 h 2729555"/>
                <a:gd name="connsiteX175" fmla="*/ 173960 w 5631293"/>
                <a:gd name="connsiteY175" fmla="*/ 441814 h 2729555"/>
                <a:gd name="connsiteX176" fmla="*/ 177386 w 5631293"/>
                <a:gd name="connsiteY176" fmla="*/ 441814 h 2729555"/>
                <a:gd name="connsiteX177" fmla="*/ 177386 w 5631293"/>
                <a:gd name="connsiteY177" fmla="*/ 461355 h 2729555"/>
                <a:gd name="connsiteX178" fmla="*/ 175863 w 5631293"/>
                <a:gd name="connsiteY178" fmla="*/ 460213 h 2729555"/>
                <a:gd name="connsiteX179" fmla="*/ 179289 w 5631293"/>
                <a:gd name="connsiteY179" fmla="*/ 460213 h 2729555"/>
                <a:gd name="connsiteX180" fmla="*/ 179289 w 5631293"/>
                <a:gd name="connsiteY180" fmla="*/ 465923 h 2729555"/>
                <a:gd name="connsiteX181" fmla="*/ 177766 w 5631293"/>
                <a:gd name="connsiteY181" fmla="*/ 464781 h 2729555"/>
                <a:gd name="connsiteX182" fmla="*/ 183222 w 5631293"/>
                <a:gd name="connsiteY182" fmla="*/ 464781 h 2729555"/>
                <a:gd name="connsiteX183" fmla="*/ 183222 w 5631293"/>
                <a:gd name="connsiteY183" fmla="*/ 470491 h 2729555"/>
                <a:gd name="connsiteX184" fmla="*/ 181700 w 5631293"/>
                <a:gd name="connsiteY184" fmla="*/ 469475 h 2729555"/>
                <a:gd name="connsiteX185" fmla="*/ 185252 w 5631293"/>
                <a:gd name="connsiteY185" fmla="*/ 469475 h 2729555"/>
                <a:gd name="connsiteX186" fmla="*/ 185252 w 5631293"/>
                <a:gd name="connsiteY186" fmla="*/ 484321 h 2729555"/>
                <a:gd name="connsiteX187" fmla="*/ 183603 w 5631293"/>
                <a:gd name="connsiteY187" fmla="*/ 483179 h 2729555"/>
                <a:gd name="connsiteX188" fmla="*/ 189059 w 5631293"/>
                <a:gd name="connsiteY188" fmla="*/ 483179 h 2729555"/>
                <a:gd name="connsiteX189" fmla="*/ 189059 w 5631293"/>
                <a:gd name="connsiteY189" fmla="*/ 493457 h 2729555"/>
                <a:gd name="connsiteX190" fmla="*/ 187536 w 5631293"/>
                <a:gd name="connsiteY190" fmla="*/ 492442 h 2729555"/>
                <a:gd name="connsiteX191" fmla="*/ 191089 w 5631293"/>
                <a:gd name="connsiteY191" fmla="*/ 492442 h 2729555"/>
                <a:gd name="connsiteX192" fmla="*/ 191089 w 5631293"/>
                <a:gd name="connsiteY192" fmla="*/ 498152 h 2729555"/>
                <a:gd name="connsiteX193" fmla="*/ 189567 w 5631293"/>
                <a:gd name="connsiteY193" fmla="*/ 497010 h 2729555"/>
                <a:gd name="connsiteX194" fmla="*/ 192992 w 5631293"/>
                <a:gd name="connsiteY194" fmla="*/ 497010 h 2729555"/>
                <a:gd name="connsiteX195" fmla="*/ 192992 w 5631293"/>
                <a:gd name="connsiteY195" fmla="*/ 516550 h 2729555"/>
                <a:gd name="connsiteX196" fmla="*/ 191470 w 5631293"/>
                <a:gd name="connsiteY196" fmla="*/ 515408 h 2729555"/>
                <a:gd name="connsiteX197" fmla="*/ 194896 w 5631293"/>
                <a:gd name="connsiteY197" fmla="*/ 515408 h 2729555"/>
                <a:gd name="connsiteX198" fmla="*/ 194896 w 5631293"/>
                <a:gd name="connsiteY198" fmla="*/ 525812 h 2729555"/>
                <a:gd name="connsiteX199" fmla="*/ 193373 w 5631293"/>
                <a:gd name="connsiteY199" fmla="*/ 524670 h 2729555"/>
                <a:gd name="connsiteX200" fmla="*/ 196799 w 5631293"/>
                <a:gd name="connsiteY200" fmla="*/ 524670 h 2729555"/>
                <a:gd name="connsiteX201" fmla="*/ 196799 w 5631293"/>
                <a:gd name="connsiteY201" fmla="*/ 530380 h 2729555"/>
                <a:gd name="connsiteX202" fmla="*/ 195276 w 5631293"/>
                <a:gd name="connsiteY202" fmla="*/ 529238 h 2729555"/>
                <a:gd name="connsiteX203" fmla="*/ 198829 w 5631293"/>
                <a:gd name="connsiteY203" fmla="*/ 529238 h 2729555"/>
                <a:gd name="connsiteX204" fmla="*/ 198829 w 5631293"/>
                <a:gd name="connsiteY204" fmla="*/ 535075 h 2729555"/>
                <a:gd name="connsiteX205" fmla="*/ 197307 w 5631293"/>
                <a:gd name="connsiteY205" fmla="*/ 533933 h 2729555"/>
                <a:gd name="connsiteX206" fmla="*/ 200732 w 5631293"/>
                <a:gd name="connsiteY206" fmla="*/ 533933 h 2729555"/>
                <a:gd name="connsiteX207" fmla="*/ 200732 w 5631293"/>
                <a:gd name="connsiteY207" fmla="*/ 544338 h 2729555"/>
                <a:gd name="connsiteX208" fmla="*/ 199210 w 5631293"/>
                <a:gd name="connsiteY208" fmla="*/ 543196 h 2729555"/>
                <a:gd name="connsiteX209" fmla="*/ 204539 w 5631293"/>
                <a:gd name="connsiteY209" fmla="*/ 543196 h 2729555"/>
                <a:gd name="connsiteX210" fmla="*/ 204539 w 5631293"/>
                <a:gd name="connsiteY210" fmla="*/ 553600 h 2729555"/>
                <a:gd name="connsiteX211" fmla="*/ 203016 w 5631293"/>
                <a:gd name="connsiteY211" fmla="*/ 552458 h 2729555"/>
                <a:gd name="connsiteX212" fmla="*/ 206442 w 5631293"/>
                <a:gd name="connsiteY212" fmla="*/ 552458 h 2729555"/>
                <a:gd name="connsiteX213" fmla="*/ 206442 w 5631293"/>
                <a:gd name="connsiteY213" fmla="*/ 562863 h 2729555"/>
                <a:gd name="connsiteX214" fmla="*/ 204920 w 5631293"/>
                <a:gd name="connsiteY214" fmla="*/ 561721 h 2729555"/>
                <a:gd name="connsiteX215" fmla="*/ 208472 w 5631293"/>
                <a:gd name="connsiteY215" fmla="*/ 561721 h 2729555"/>
                <a:gd name="connsiteX216" fmla="*/ 208472 w 5631293"/>
                <a:gd name="connsiteY216" fmla="*/ 567431 h 2729555"/>
                <a:gd name="connsiteX217" fmla="*/ 206950 w 5631293"/>
                <a:gd name="connsiteY217" fmla="*/ 566289 h 2729555"/>
                <a:gd name="connsiteX218" fmla="*/ 210376 w 5631293"/>
                <a:gd name="connsiteY218" fmla="*/ 566289 h 2729555"/>
                <a:gd name="connsiteX219" fmla="*/ 210376 w 5631293"/>
                <a:gd name="connsiteY219" fmla="*/ 576693 h 2729555"/>
                <a:gd name="connsiteX220" fmla="*/ 208853 w 5631293"/>
                <a:gd name="connsiteY220" fmla="*/ 575552 h 2729555"/>
                <a:gd name="connsiteX221" fmla="*/ 212279 w 5631293"/>
                <a:gd name="connsiteY221" fmla="*/ 575552 h 2729555"/>
                <a:gd name="connsiteX222" fmla="*/ 212279 w 5631293"/>
                <a:gd name="connsiteY222" fmla="*/ 581261 h 2729555"/>
                <a:gd name="connsiteX223" fmla="*/ 210756 w 5631293"/>
                <a:gd name="connsiteY223" fmla="*/ 580119 h 2729555"/>
                <a:gd name="connsiteX224" fmla="*/ 214182 w 5631293"/>
                <a:gd name="connsiteY224" fmla="*/ 580119 h 2729555"/>
                <a:gd name="connsiteX225" fmla="*/ 214182 w 5631293"/>
                <a:gd name="connsiteY225" fmla="*/ 585956 h 2729555"/>
                <a:gd name="connsiteX226" fmla="*/ 212660 w 5631293"/>
                <a:gd name="connsiteY226" fmla="*/ 584814 h 2729555"/>
                <a:gd name="connsiteX227" fmla="*/ 218116 w 5631293"/>
                <a:gd name="connsiteY227" fmla="*/ 584814 h 2729555"/>
                <a:gd name="connsiteX228" fmla="*/ 218116 w 5631293"/>
                <a:gd name="connsiteY228" fmla="*/ 590524 h 2729555"/>
                <a:gd name="connsiteX229" fmla="*/ 216593 w 5631293"/>
                <a:gd name="connsiteY229" fmla="*/ 589382 h 2729555"/>
                <a:gd name="connsiteX230" fmla="*/ 220019 w 5631293"/>
                <a:gd name="connsiteY230" fmla="*/ 589382 h 2729555"/>
                <a:gd name="connsiteX231" fmla="*/ 220019 w 5631293"/>
                <a:gd name="connsiteY231" fmla="*/ 599787 h 2729555"/>
                <a:gd name="connsiteX232" fmla="*/ 218496 w 5631293"/>
                <a:gd name="connsiteY232" fmla="*/ 598645 h 2729555"/>
                <a:gd name="connsiteX233" fmla="*/ 223826 w 5631293"/>
                <a:gd name="connsiteY233" fmla="*/ 598645 h 2729555"/>
                <a:gd name="connsiteX234" fmla="*/ 223826 w 5631293"/>
                <a:gd name="connsiteY234" fmla="*/ 609049 h 2729555"/>
                <a:gd name="connsiteX235" fmla="*/ 222303 w 5631293"/>
                <a:gd name="connsiteY235" fmla="*/ 607907 h 2729555"/>
                <a:gd name="connsiteX236" fmla="*/ 225729 w 5631293"/>
                <a:gd name="connsiteY236" fmla="*/ 607907 h 2729555"/>
                <a:gd name="connsiteX237" fmla="*/ 225729 w 5631293"/>
                <a:gd name="connsiteY237" fmla="*/ 618312 h 2729555"/>
                <a:gd name="connsiteX238" fmla="*/ 224206 w 5631293"/>
                <a:gd name="connsiteY238" fmla="*/ 617297 h 2729555"/>
                <a:gd name="connsiteX239" fmla="*/ 226236 w 5631293"/>
                <a:gd name="connsiteY239" fmla="*/ 617297 h 2729555"/>
                <a:gd name="connsiteX240" fmla="*/ 231566 w 5631293"/>
                <a:gd name="connsiteY240" fmla="*/ 617297 h 2729555"/>
                <a:gd name="connsiteX241" fmla="*/ 231566 w 5631293"/>
                <a:gd name="connsiteY241" fmla="*/ 622880 h 2729555"/>
                <a:gd name="connsiteX242" fmla="*/ 230043 w 5631293"/>
                <a:gd name="connsiteY242" fmla="*/ 621865 h 2729555"/>
                <a:gd name="connsiteX243" fmla="*/ 233596 w 5631293"/>
                <a:gd name="connsiteY243" fmla="*/ 621865 h 2729555"/>
                <a:gd name="connsiteX244" fmla="*/ 233596 w 5631293"/>
                <a:gd name="connsiteY244" fmla="*/ 627574 h 2729555"/>
                <a:gd name="connsiteX245" fmla="*/ 231946 w 5631293"/>
                <a:gd name="connsiteY245" fmla="*/ 626432 h 2729555"/>
                <a:gd name="connsiteX246" fmla="*/ 235499 w 5631293"/>
                <a:gd name="connsiteY246" fmla="*/ 626432 h 2729555"/>
                <a:gd name="connsiteX247" fmla="*/ 235499 w 5631293"/>
                <a:gd name="connsiteY247" fmla="*/ 636837 h 2729555"/>
                <a:gd name="connsiteX248" fmla="*/ 233976 w 5631293"/>
                <a:gd name="connsiteY248" fmla="*/ 635695 h 2729555"/>
                <a:gd name="connsiteX249" fmla="*/ 237529 w 5631293"/>
                <a:gd name="connsiteY249" fmla="*/ 635695 h 2729555"/>
                <a:gd name="connsiteX250" fmla="*/ 237529 w 5631293"/>
                <a:gd name="connsiteY250" fmla="*/ 646227 h 2729555"/>
                <a:gd name="connsiteX251" fmla="*/ 236007 w 5631293"/>
                <a:gd name="connsiteY251" fmla="*/ 645085 h 2729555"/>
                <a:gd name="connsiteX252" fmla="*/ 239432 w 5631293"/>
                <a:gd name="connsiteY252" fmla="*/ 645085 h 2729555"/>
                <a:gd name="connsiteX253" fmla="*/ 239432 w 5631293"/>
                <a:gd name="connsiteY253" fmla="*/ 655489 h 2729555"/>
                <a:gd name="connsiteX254" fmla="*/ 237910 w 5631293"/>
                <a:gd name="connsiteY254" fmla="*/ 654347 h 2729555"/>
                <a:gd name="connsiteX255" fmla="*/ 241336 w 5631293"/>
                <a:gd name="connsiteY255" fmla="*/ 654347 h 2729555"/>
                <a:gd name="connsiteX256" fmla="*/ 241336 w 5631293"/>
                <a:gd name="connsiteY256" fmla="*/ 660184 h 2729555"/>
                <a:gd name="connsiteX257" fmla="*/ 239813 w 5631293"/>
                <a:gd name="connsiteY257" fmla="*/ 659042 h 2729555"/>
                <a:gd name="connsiteX258" fmla="*/ 243239 w 5631293"/>
                <a:gd name="connsiteY258" fmla="*/ 659042 h 2729555"/>
                <a:gd name="connsiteX259" fmla="*/ 243239 w 5631293"/>
                <a:gd name="connsiteY259" fmla="*/ 674268 h 2729555"/>
                <a:gd name="connsiteX260" fmla="*/ 241716 w 5631293"/>
                <a:gd name="connsiteY260" fmla="*/ 673126 h 2729555"/>
                <a:gd name="connsiteX261" fmla="*/ 245142 w 5631293"/>
                <a:gd name="connsiteY261" fmla="*/ 673126 h 2729555"/>
                <a:gd name="connsiteX262" fmla="*/ 245142 w 5631293"/>
                <a:gd name="connsiteY262" fmla="*/ 678836 h 2729555"/>
                <a:gd name="connsiteX263" fmla="*/ 243620 w 5631293"/>
                <a:gd name="connsiteY263" fmla="*/ 677694 h 2729555"/>
                <a:gd name="connsiteX264" fmla="*/ 247172 w 5631293"/>
                <a:gd name="connsiteY264" fmla="*/ 677694 h 2729555"/>
                <a:gd name="connsiteX265" fmla="*/ 247172 w 5631293"/>
                <a:gd name="connsiteY265" fmla="*/ 697615 h 2729555"/>
                <a:gd name="connsiteX266" fmla="*/ 245650 w 5631293"/>
                <a:gd name="connsiteY266" fmla="*/ 696473 h 2729555"/>
                <a:gd name="connsiteX267" fmla="*/ 249076 w 5631293"/>
                <a:gd name="connsiteY267" fmla="*/ 696473 h 2729555"/>
                <a:gd name="connsiteX268" fmla="*/ 249076 w 5631293"/>
                <a:gd name="connsiteY268" fmla="*/ 711573 h 2729555"/>
                <a:gd name="connsiteX269" fmla="*/ 247553 w 5631293"/>
                <a:gd name="connsiteY269" fmla="*/ 710431 h 2729555"/>
                <a:gd name="connsiteX270" fmla="*/ 250979 w 5631293"/>
                <a:gd name="connsiteY270" fmla="*/ 710431 h 2729555"/>
                <a:gd name="connsiteX271" fmla="*/ 250979 w 5631293"/>
                <a:gd name="connsiteY271" fmla="*/ 730352 h 2729555"/>
                <a:gd name="connsiteX272" fmla="*/ 249456 w 5631293"/>
                <a:gd name="connsiteY272" fmla="*/ 729210 h 2729555"/>
                <a:gd name="connsiteX273" fmla="*/ 252882 w 5631293"/>
                <a:gd name="connsiteY273" fmla="*/ 729210 h 2729555"/>
                <a:gd name="connsiteX274" fmla="*/ 252882 w 5631293"/>
                <a:gd name="connsiteY274" fmla="*/ 735046 h 2729555"/>
                <a:gd name="connsiteX275" fmla="*/ 251360 w 5631293"/>
                <a:gd name="connsiteY275" fmla="*/ 733904 h 2729555"/>
                <a:gd name="connsiteX276" fmla="*/ 254786 w 5631293"/>
                <a:gd name="connsiteY276" fmla="*/ 733904 h 2729555"/>
                <a:gd name="connsiteX277" fmla="*/ 254786 w 5631293"/>
                <a:gd name="connsiteY277" fmla="*/ 753698 h 2729555"/>
                <a:gd name="connsiteX278" fmla="*/ 253263 w 5631293"/>
                <a:gd name="connsiteY278" fmla="*/ 752556 h 2729555"/>
                <a:gd name="connsiteX279" fmla="*/ 258719 w 5631293"/>
                <a:gd name="connsiteY279" fmla="*/ 752556 h 2729555"/>
                <a:gd name="connsiteX280" fmla="*/ 258719 w 5631293"/>
                <a:gd name="connsiteY280" fmla="*/ 772351 h 2729555"/>
                <a:gd name="connsiteX281" fmla="*/ 257196 w 5631293"/>
                <a:gd name="connsiteY281" fmla="*/ 771209 h 2729555"/>
                <a:gd name="connsiteX282" fmla="*/ 260622 w 5631293"/>
                <a:gd name="connsiteY282" fmla="*/ 771209 h 2729555"/>
                <a:gd name="connsiteX283" fmla="*/ 260622 w 5631293"/>
                <a:gd name="connsiteY283" fmla="*/ 781740 h 2729555"/>
                <a:gd name="connsiteX284" fmla="*/ 259100 w 5631293"/>
                <a:gd name="connsiteY284" fmla="*/ 780598 h 2729555"/>
                <a:gd name="connsiteX285" fmla="*/ 262526 w 5631293"/>
                <a:gd name="connsiteY285" fmla="*/ 780598 h 2729555"/>
                <a:gd name="connsiteX286" fmla="*/ 262526 w 5631293"/>
                <a:gd name="connsiteY286" fmla="*/ 791130 h 2729555"/>
                <a:gd name="connsiteX287" fmla="*/ 261003 w 5631293"/>
                <a:gd name="connsiteY287" fmla="*/ 789988 h 2729555"/>
                <a:gd name="connsiteX288" fmla="*/ 264556 w 5631293"/>
                <a:gd name="connsiteY288" fmla="*/ 789988 h 2729555"/>
                <a:gd name="connsiteX289" fmla="*/ 264556 w 5631293"/>
                <a:gd name="connsiteY289" fmla="*/ 805087 h 2729555"/>
                <a:gd name="connsiteX290" fmla="*/ 263033 w 5631293"/>
                <a:gd name="connsiteY290" fmla="*/ 803945 h 2729555"/>
                <a:gd name="connsiteX291" fmla="*/ 266459 w 5631293"/>
                <a:gd name="connsiteY291" fmla="*/ 803945 h 2729555"/>
                <a:gd name="connsiteX292" fmla="*/ 266459 w 5631293"/>
                <a:gd name="connsiteY292" fmla="*/ 809782 h 2729555"/>
                <a:gd name="connsiteX293" fmla="*/ 264936 w 5631293"/>
                <a:gd name="connsiteY293" fmla="*/ 808640 h 2729555"/>
                <a:gd name="connsiteX294" fmla="*/ 268362 w 5631293"/>
                <a:gd name="connsiteY294" fmla="*/ 808640 h 2729555"/>
                <a:gd name="connsiteX295" fmla="*/ 268362 w 5631293"/>
                <a:gd name="connsiteY295" fmla="*/ 823866 h 2729555"/>
                <a:gd name="connsiteX296" fmla="*/ 266840 w 5631293"/>
                <a:gd name="connsiteY296" fmla="*/ 822724 h 2729555"/>
                <a:gd name="connsiteX297" fmla="*/ 270266 w 5631293"/>
                <a:gd name="connsiteY297" fmla="*/ 822724 h 2729555"/>
                <a:gd name="connsiteX298" fmla="*/ 270266 w 5631293"/>
                <a:gd name="connsiteY298" fmla="*/ 833255 h 2729555"/>
                <a:gd name="connsiteX299" fmla="*/ 268743 w 5631293"/>
                <a:gd name="connsiteY299" fmla="*/ 832113 h 2729555"/>
                <a:gd name="connsiteX300" fmla="*/ 272169 w 5631293"/>
                <a:gd name="connsiteY300" fmla="*/ 832113 h 2729555"/>
                <a:gd name="connsiteX301" fmla="*/ 272169 w 5631293"/>
                <a:gd name="connsiteY301" fmla="*/ 837950 h 2729555"/>
                <a:gd name="connsiteX302" fmla="*/ 270646 w 5631293"/>
                <a:gd name="connsiteY302" fmla="*/ 836808 h 2729555"/>
                <a:gd name="connsiteX303" fmla="*/ 274199 w 5631293"/>
                <a:gd name="connsiteY303" fmla="*/ 836808 h 2729555"/>
                <a:gd name="connsiteX304" fmla="*/ 274199 w 5631293"/>
                <a:gd name="connsiteY304" fmla="*/ 842518 h 2729555"/>
                <a:gd name="connsiteX305" fmla="*/ 272676 w 5631293"/>
                <a:gd name="connsiteY305" fmla="*/ 841503 h 2729555"/>
                <a:gd name="connsiteX306" fmla="*/ 276102 w 5631293"/>
                <a:gd name="connsiteY306" fmla="*/ 841503 h 2729555"/>
                <a:gd name="connsiteX307" fmla="*/ 276102 w 5631293"/>
                <a:gd name="connsiteY307" fmla="*/ 847340 h 2729555"/>
                <a:gd name="connsiteX308" fmla="*/ 274580 w 5631293"/>
                <a:gd name="connsiteY308" fmla="*/ 846198 h 2729555"/>
                <a:gd name="connsiteX309" fmla="*/ 278006 w 5631293"/>
                <a:gd name="connsiteY309" fmla="*/ 846198 h 2729555"/>
                <a:gd name="connsiteX310" fmla="*/ 278006 w 5631293"/>
                <a:gd name="connsiteY310" fmla="*/ 856729 h 2729555"/>
                <a:gd name="connsiteX311" fmla="*/ 276483 w 5631293"/>
                <a:gd name="connsiteY311" fmla="*/ 855587 h 2729555"/>
                <a:gd name="connsiteX312" fmla="*/ 281939 w 5631293"/>
                <a:gd name="connsiteY312" fmla="*/ 855587 h 2729555"/>
                <a:gd name="connsiteX313" fmla="*/ 281939 w 5631293"/>
                <a:gd name="connsiteY313" fmla="*/ 861297 h 2729555"/>
                <a:gd name="connsiteX314" fmla="*/ 280290 w 5631293"/>
                <a:gd name="connsiteY314" fmla="*/ 860282 h 2729555"/>
                <a:gd name="connsiteX315" fmla="*/ 285872 w 5631293"/>
                <a:gd name="connsiteY315" fmla="*/ 860282 h 2729555"/>
                <a:gd name="connsiteX316" fmla="*/ 285872 w 5631293"/>
                <a:gd name="connsiteY316" fmla="*/ 870687 h 2729555"/>
                <a:gd name="connsiteX317" fmla="*/ 284350 w 5631293"/>
                <a:gd name="connsiteY317" fmla="*/ 869545 h 2729555"/>
                <a:gd name="connsiteX318" fmla="*/ 287776 w 5631293"/>
                <a:gd name="connsiteY318" fmla="*/ 869545 h 2729555"/>
                <a:gd name="connsiteX319" fmla="*/ 287776 w 5631293"/>
                <a:gd name="connsiteY319" fmla="*/ 884771 h 2729555"/>
                <a:gd name="connsiteX320" fmla="*/ 286253 w 5631293"/>
                <a:gd name="connsiteY320" fmla="*/ 883629 h 2729555"/>
                <a:gd name="connsiteX321" fmla="*/ 289679 w 5631293"/>
                <a:gd name="connsiteY321" fmla="*/ 883629 h 2729555"/>
                <a:gd name="connsiteX322" fmla="*/ 289679 w 5631293"/>
                <a:gd name="connsiteY322" fmla="*/ 889466 h 2729555"/>
                <a:gd name="connsiteX323" fmla="*/ 288156 w 5631293"/>
                <a:gd name="connsiteY323" fmla="*/ 888324 h 2729555"/>
                <a:gd name="connsiteX324" fmla="*/ 292090 w 5631293"/>
                <a:gd name="connsiteY324" fmla="*/ 888324 h 2729555"/>
                <a:gd name="connsiteX325" fmla="*/ 295516 w 5631293"/>
                <a:gd name="connsiteY325" fmla="*/ 888324 h 2729555"/>
                <a:gd name="connsiteX326" fmla="*/ 295516 w 5631293"/>
                <a:gd name="connsiteY326" fmla="*/ 898855 h 2729555"/>
                <a:gd name="connsiteX327" fmla="*/ 293993 w 5631293"/>
                <a:gd name="connsiteY327" fmla="*/ 897713 h 2729555"/>
                <a:gd name="connsiteX328" fmla="*/ 297419 w 5631293"/>
                <a:gd name="connsiteY328" fmla="*/ 897713 h 2729555"/>
                <a:gd name="connsiteX329" fmla="*/ 297419 w 5631293"/>
                <a:gd name="connsiteY329" fmla="*/ 903550 h 2729555"/>
                <a:gd name="connsiteX330" fmla="*/ 295896 w 5631293"/>
                <a:gd name="connsiteY330" fmla="*/ 902408 h 2729555"/>
                <a:gd name="connsiteX331" fmla="*/ 299322 w 5631293"/>
                <a:gd name="connsiteY331" fmla="*/ 902408 h 2729555"/>
                <a:gd name="connsiteX332" fmla="*/ 299322 w 5631293"/>
                <a:gd name="connsiteY332" fmla="*/ 908245 h 2729555"/>
                <a:gd name="connsiteX333" fmla="*/ 297800 w 5631293"/>
                <a:gd name="connsiteY333" fmla="*/ 907103 h 2729555"/>
                <a:gd name="connsiteX334" fmla="*/ 301226 w 5631293"/>
                <a:gd name="connsiteY334" fmla="*/ 907103 h 2729555"/>
                <a:gd name="connsiteX335" fmla="*/ 301226 w 5631293"/>
                <a:gd name="connsiteY335" fmla="*/ 912939 h 2729555"/>
                <a:gd name="connsiteX336" fmla="*/ 299703 w 5631293"/>
                <a:gd name="connsiteY336" fmla="*/ 911797 h 2729555"/>
                <a:gd name="connsiteX337" fmla="*/ 303256 w 5631293"/>
                <a:gd name="connsiteY337" fmla="*/ 911797 h 2729555"/>
                <a:gd name="connsiteX338" fmla="*/ 303256 w 5631293"/>
                <a:gd name="connsiteY338" fmla="*/ 917634 h 2729555"/>
                <a:gd name="connsiteX339" fmla="*/ 301733 w 5631293"/>
                <a:gd name="connsiteY339" fmla="*/ 916492 h 2729555"/>
                <a:gd name="connsiteX340" fmla="*/ 308966 w 5631293"/>
                <a:gd name="connsiteY340" fmla="*/ 916492 h 2729555"/>
                <a:gd name="connsiteX341" fmla="*/ 308966 w 5631293"/>
                <a:gd name="connsiteY341" fmla="*/ 936413 h 2729555"/>
                <a:gd name="connsiteX342" fmla="*/ 307443 w 5631293"/>
                <a:gd name="connsiteY342" fmla="*/ 935271 h 2729555"/>
                <a:gd name="connsiteX343" fmla="*/ 310869 w 5631293"/>
                <a:gd name="connsiteY343" fmla="*/ 935271 h 2729555"/>
                <a:gd name="connsiteX344" fmla="*/ 310869 w 5631293"/>
                <a:gd name="connsiteY344" fmla="*/ 945803 h 2729555"/>
                <a:gd name="connsiteX345" fmla="*/ 309346 w 5631293"/>
                <a:gd name="connsiteY345" fmla="*/ 944788 h 2729555"/>
                <a:gd name="connsiteX346" fmla="*/ 312899 w 5631293"/>
                <a:gd name="connsiteY346" fmla="*/ 944788 h 2729555"/>
                <a:gd name="connsiteX347" fmla="*/ 312899 w 5631293"/>
                <a:gd name="connsiteY347" fmla="*/ 955319 h 2729555"/>
                <a:gd name="connsiteX348" fmla="*/ 311376 w 5631293"/>
                <a:gd name="connsiteY348" fmla="*/ 954177 h 2729555"/>
                <a:gd name="connsiteX349" fmla="*/ 314802 w 5631293"/>
                <a:gd name="connsiteY349" fmla="*/ 954177 h 2729555"/>
                <a:gd name="connsiteX350" fmla="*/ 314802 w 5631293"/>
                <a:gd name="connsiteY350" fmla="*/ 969403 h 2729555"/>
                <a:gd name="connsiteX351" fmla="*/ 313280 w 5631293"/>
                <a:gd name="connsiteY351" fmla="*/ 968261 h 2729555"/>
                <a:gd name="connsiteX352" fmla="*/ 316706 w 5631293"/>
                <a:gd name="connsiteY352" fmla="*/ 968261 h 2729555"/>
                <a:gd name="connsiteX353" fmla="*/ 316706 w 5631293"/>
                <a:gd name="connsiteY353" fmla="*/ 974098 h 2729555"/>
                <a:gd name="connsiteX354" fmla="*/ 315183 w 5631293"/>
                <a:gd name="connsiteY354" fmla="*/ 973083 h 2729555"/>
                <a:gd name="connsiteX355" fmla="*/ 318609 w 5631293"/>
                <a:gd name="connsiteY355" fmla="*/ 973083 h 2729555"/>
                <a:gd name="connsiteX356" fmla="*/ 318609 w 5631293"/>
                <a:gd name="connsiteY356" fmla="*/ 993004 h 2729555"/>
                <a:gd name="connsiteX357" fmla="*/ 317086 w 5631293"/>
                <a:gd name="connsiteY357" fmla="*/ 991862 h 2729555"/>
                <a:gd name="connsiteX358" fmla="*/ 320512 w 5631293"/>
                <a:gd name="connsiteY358" fmla="*/ 991862 h 2729555"/>
                <a:gd name="connsiteX359" fmla="*/ 320512 w 5631293"/>
                <a:gd name="connsiteY359" fmla="*/ 1007215 h 2729555"/>
                <a:gd name="connsiteX360" fmla="*/ 318990 w 5631293"/>
                <a:gd name="connsiteY360" fmla="*/ 1006073 h 2729555"/>
                <a:gd name="connsiteX361" fmla="*/ 322542 w 5631293"/>
                <a:gd name="connsiteY361" fmla="*/ 1006073 h 2729555"/>
                <a:gd name="connsiteX362" fmla="*/ 322542 w 5631293"/>
                <a:gd name="connsiteY362" fmla="*/ 1011910 h 2729555"/>
                <a:gd name="connsiteX363" fmla="*/ 321020 w 5631293"/>
                <a:gd name="connsiteY363" fmla="*/ 1010768 h 2729555"/>
                <a:gd name="connsiteX364" fmla="*/ 324446 w 5631293"/>
                <a:gd name="connsiteY364" fmla="*/ 1010768 h 2729555"/>
                <a:gd name="connsiteX365" fmla="*/ 324446 w 5631293"/>
                <a:gd name="connsiteY365" fmla="*/ 1021426 h 2729555"/>
                <a:gd name="connsiteX366" fmla="*/ 322923 w 5631293"/>
                <a:gd name="connsiteY366" fmla="*/ 1020284 h 2729555"/>
                <a:gd name="connsiteX367" fmla="*/ 326349 w 5631293"/>
                <a:gd name="connsiteY367" fmla="*/ 1020284 h 2729555"/>
                <a:gd name="connsiteX368" fmla="*/ 326349 w 5631293"/>
                <a:gd name="connsiteY368" fmla="*/ 1030816 h 2729555"/>
                <a:gd name="connsiteX369" fmla="*/ 324826 w 5631293"/>
                <a:gd name="connsiteY369" fmla="*/ 1029674 h 2729555"/>
                <a:gd name="connsiteX370" fmla="*/ 328252 w 5631293"/>
                <a:gd name="connsiteY370" fmla="*/ 1029674 h 2729555"/>
                <a:gd name="connsiteX371" fmla="*/ 328252 w 5631293"/>
                <a:gd name="connsiteY371" fmla="*/ 1063933 h 2729555"/>
                <a:gd name="connsiteX372" fmla="*/ 326730 w 5631293"/>
                <a:gd name="connsiteY372" fmla="*/ 1062791 h 2729555"/>
                <a:gd name="connsiteX373" fmla="*/ 330409 w 5631293"/>
                <a:gd name="connsiteY373" fmla="*/ 1062791 h 2729555"/>
                <a:gd name="connsiteX374" fmla="*/ 330409 w 5631293"/>
                <a:gd name="connsiteY374" fmla="*/ 1073449 h 2729555"/>
                <a:gd name="connsiteX375" fmla="*/ 328760 w 5631293"/>
                <a:gd name="connsiteY375" fmla="*/ 1072307 h 2729555"/>
                <a:gd name="connsiteX376" fmla="*/ 332312 w 5631293"/>
                <a:gd name="connsiteY376" fmla="*/ 1072307 h 2729555"/>
                <a:gd name="connsiteX377" fmla="*/ 332312 w 5631293"/>
                <a:gd name="connsiteY377" fmla="*/ 1078017 h 2729555"/>
                <a:gd name="connsiteX378" fmla="*/ 330790 w 5631293"/>
                <a:gd name="connsiteY378" fmla="*/ 1077002 h 2729555"/>
                <a:gd name="connsiteX379" fmla="*/ 334216 w 5631293"/>
                <a:gd name="connsiteY379" fmla="*/ 1077002 h 2729555"/>
                <a:gd name="connsiteX380" fmla="*/ 334216 w 5631293"/>
                <a:gd name="connsiteY380" fmla="*/ 1082839 h 2729555"/>
                <a:gd name="connsiteX381" fmla="*/ 332693 w 5631293"/>
                <a:gd name="connsiteY381" fmla="*/ 1081697 h 2729555"/>
                <a:gd name="connsiteX382" fmla="*/ 338022 w 5631293"/>
                <a:gd name="connsiteY382" fmla="*/ 1081697 h 2729555"/>
                <a:gd name="connsiteX383" fmla="*/ 338022 w 5631293"/>
                <a:gd name="connsiteY383" fmla="*/ 1087660 h 2729555"/>
                <a:gd name="connsiteX384" fmla="*/ 336500 w 5631293"/>
                <a:gd name="connsiteY384" fmla="*/ 1086518 h 2729555"/>
                <a:gd name="connsiteX385" fmla="*/ 340052 w 5631293"/>
                <a:gd name="connsiteY385" fmla="*/ 1086518 h 2729555"/>
                <a:gd name="connsiteX386" fmla="*/ 340052 w 5631293"/>
                <a:gd name="connsiteY386" fmla="*/ 1092228 h 2729555"/>
                <a:gd name="connsiteX387" fmla="*/ 338530 w 5631293"/>
                <a:gd name="connsiteY387" fmla="*/ 1091213 h 2729555"/>
                <a:gd name="connsiteX388" fmla="*/ 341956 w 5631293"/>
                <a:gd name="connsiteY388" fmla="*/ 1091213 h 2729555"/>
                <a:gd name="connsiteX389" fmla="*/ 341956 w 5631293"/>
                <a:gd name="connsiteY389" fmla="*/ 1097050 h 2729555"/>
                <a:gd name="connsiteX390" fmla="*/ 340433 w 5631293"/>
                <a:gd name="connsiteY390" fmla="*/ 1095908 h 2729555"/>
                <a:gd name="connsiteX391" fmla="*/ 343859 w 5631293"/>
                <a:gd name="connsiteY391" fmla="*/ 1095908 h 2729555"/>
                <a:gd name="connsiteX392" fmla="*/ 343859 w 5631293"/>
                <a:gd name="connsiteY392" fmla="*/ 1101745 h 2729555"/>
                <a:gd name="connsiteX393" fmla="*/ 342336 w 5631293"/>
                <a:gd name="connsiteY393" fmla="*/ 1100603 h 2729555"/>
                <a:gd name="connsiteX394" fmla="*/ 345762 w 5631293"/>
                <a:gd name="connsiteY394" fmla="*/ 1100603 h 2729555"/>
                <a:gd name="connsiteX395" fmla="*/ 345762 w 5631293"/>
                <a:gd name="connsiteY395" fmla="*/ 1106439 h 2729555"/>
                <a:gd name="connsiteX396" fmla="*/ 344240 w 5631293"/>
                <a:gd name="connsiteY396" fmla="*/ 1105297 h 2729555"/>
                <a:gd name="connsiteX397" fmla="*/ 347666 w 5631293"/>
                <a:gd name="connsiteY397" fmla="*/ 1105297 h 2729555"/>
                <a:gd name="connsiteX398" fmla="*/ 347666 w 5631293"/>
                <a:gd name="connsiteY398" fmla="*/ 1115956 h 2729555"/>
                <a:gd name="connsiteX399" fmla="*/ 346143 w 5631293"/>
                <a:gd name="connsiteY399" fmla="*/ 1114814 h 2729555"/>
                <a:gd name="connsiteX400" fmla="*/ 349696 w 5631293"/>
                <a:gd name="connsiteY400" fmla="*/ 1114814 h 2729555"/>
                <a:gd name="connsiteX401" fmla="*/ 349696 w 5631293"/>
                <a:gd name="connsiteY401" fmla="*/ 1120651 h 2729555"/>
                <a:gd name="connsiteX402" fmla="*/ 348173 w 5631293"/>
                <a:gd name="connsiteY402" fmla="*/ 1119509 h 2729555"/>
                <a:gd name="connsiteX403" fmla="*/ 351599 w 5631293"/>
                <a:gd name="connsiteY403" fmla="*/ 1119509 h 2729555"/>
                <a:gd name="connsiteX404" fmla="*/ 351599 w 5631293"/>
                <a:gd name="connsiteY404" fmla="*/ 1125472 h 2729555"/>
                <a:gd name="connsiteX405" fmla="*/ 350076 w 5631293"/>
                <a:gd name="connsiteY405" fmla="*/ 1124330 h 2729555"/>
                <a:gd name="connsiteX406" fmla="*/ 353502 w 5631293"/>
                <a:gd name="connsiteY406" fmla="*/ 1124330 h 2729555"/>
                <a:gd name="connsiteX407" fmla="*/ 353502 w 5631293"/>
                <a:gd name="connsiteY407" fmla="*/ 1130167 h 2729555"/>
                <a:gd name="connsiteX408" fmla="*/ 351980 w 5631293"/>
                <a:gd name="connsiteY408" fmla="*/ 1129025 h 2729555"/>
                <a:gd name="connsiteX409" fmla="*/ 357309 w 5631293"/>
                <a:gd name="connsiteY409" fmla="*/ 1129025 h 2729555"/>
                <a:gd name="connsiteX410" fmla="*/ 357309 w 5631293"/>
                <a:gd name="connsiteY410" fmla="*/ 1139683 h 2729555"/>
                <a:gd name="connsiteX411" fmla="*/ 355786 w 5631293"/>
                <a:gd name="connsiteY411" fmla="*/ 1138541 h 2729555"/>
                <a:gd name="connsiteX412" fmla="*/ 359339 w 5631293"/>
                <a:gd name="connsiteY412" fmla="*/ 1138541 h 2729555"/>
                <a:gd name="connsiteX413" fmla="*/ 359339 w 5631293"/>
                <a:gd name="connsiteY413" fmla="*/ 1168106 h 2729555"/>
                <a:gd name="connsiteX414" fmla="*/ 357816 w 5631293"/>
                <a:gd name="connsiteY414" fmla="*/ 1166964 h 2729555"/>
                <a:gd name="connsiteX415" fmla="*/ 361242 w 5631293"/>
                <a:gd name="connsiteY415" fmla="*/ 1166964 h 2729555"/>
                <a:gd name="connsiteX416" fmla="*/ 361242 w 5631293"/>
                <a:gd name="connsiteY416" fmla="*/ 1172800 h 2729555"/>
                <a:gd name="connsiteX417" fmla="*/ 359720 w 5631293"/>
                <a:gd name="connsiteY417" fmla="*/ 1171785 h 2729555"/>
                <a:gd name="connsiteX418" fmla="*/ 365049 w 5631293"/>
                <a:gd name="connsiteY418" fmla="*/ 1171785 h 2729555"/>
                <a:gd name="connsiteX419" fmla="*/ 365049 w 5631293"/>
                <a:gd name="connsiteY419" fmla="*/ 1177622 h 2729555"/>
                <a:gd name="connsiteX420" fmla="*/ 363526 w 5631293"/>
                <a:gd name="connsiteY420" fmla="*/ 1176480 h 2729555"/>
                <a:gd name="connsiteX421" fmla="*/ 366952 w 5631293"/>
                <a:gd name="connsiteY421" fmla="*/ 1176480 h 2729555"/>
                <a:gd name="connsiteX422" fmla="*/ 366952 w 5631293"/>
                <a:gd name="connsiteY422" fmla="*/ 1187012 h 2729555"/>
                <a:gd name="connsiteX423" fmla="*/ 365430 w 5631293"/>
                <a:gd name="connsiteY423" fmla="*/ 1185870 h 2729555"/>
                <a:gd name="connsiteX424" fmla="*/ 368982 w 5631293"/>
                <a:gd name="connsiteY424" fmla="*/ 1185870 h 2729555"/>
                <a:gd name="connsiteX425" fmla="*/ 368982 w 5631293"/>
                <a:gd name="connsiteY425" fmla="*/ 1201350 h 2729555"/>
                <a:gd name="connsiteX426" fmla="*/ 367460 w 5631293"/>
                <a:gd name="connsiteY426" fmla="*/ 1200208 h 2729555"/>
                <a:gd name="connsiteX427" fmla="*/ 370886 w 5631293"/>
                <a:gd name="connsiteY427" fmla="*/ 1200208 h 2729555"/>
                <a:gd name="connsiteX428" fmla="*/ 370886 w 5631293"/>
                <a:gd name="connsiteY428" fmla="*/ 1210739 h 2729555"/>
                <a:gd name="connsiteX429" fmla="*/ 369363 w 5631293"/>
                <a:gd name="connsiteY429" fmla="*/ 1209597 h 2729555"/>
                <a:gd name="connsiteX430" fmla="*/ 372789 w 5631293"/>
                <a:gd name="connsiteY430" fmla="*/ 1209597 h 2729555"/>
                <a:gd name="connsiteX431" fmla="*/ 372789 w 5631293"/>
                <a:gd name="connsiteY431" fmla="*/ 1220255 h 2729555"/>
                <a:gd name="connsiteX432" fmla="*/ 371266 w 5631293"/>
                <a:gd name="connsiteY432" fmla="*/ 1219114 h 2729555"/>
                <a:gd name="connsiteX433" fmla="*/ 374692 w 5631293"/>
                <a:gd name="connsiteY433" fmla="*/ 1219114 h 2729555"/>
                <a:gd name="connsiteX434" fmla="*/ 374692 w 5631293"/>
                <a:gd name="connsiteY434" fmla="*/ 1234467 h 2729555"/>
                <a:gd name="connsiteX435" fmla="*/ 373170 w 5631293"/>
                <a:gd name="connsiteY435" fmla="*/ 1233325 h 2729555"/>
                <a:gd name="connsiteX436" fmla="*/ 376595 w 5631293"/>
                <a:gd name="connsiteY436" fmla="*/ 1233325 h 2729555"/>
                <a:gd name="connsiteX437" fmla="*/ 376595 w 5631293"/>
                <a:gd name="connsiteY437" fmla="*/ 1243983 h 2729555"/>
                <a:gd name="connsiteX438" fmla="*/ 375073 w 5631293"/>
                <a:gd name="connsiteY438" fmla="*/ 1242841 h 2729555"/>
                <a:gd name="connsiteX439" fmla="*/ 378752 w 5631293"/>
                <a:gd name="connsiteY439" fmla="*/ 1242841 h 2729555"/>
                <a:gd name="connsiteX440" fmla="*/ 378752 w 5631293"/>
                <a:gd name="connsiteY440" fmla="*/ 1253499 h 2729555"/>
                <a:gd name="connsiteX441" fmla="*/ 377103 w 5631293"/>
                <a:gd name="connsiteY441" fmla="*/ 1252357 h 2729555"/>
                <a:gd name="connsiteX442" fmla="*/ 380656 w 5631293"/>
                <a:gd name="connsiteY442" fmla="*/ 1252357 h 2729555"/>
                <a:gd name="connsiteX443" fmla="*/ 380656 w 5631293"/>
                <a:gd name="connsiteY443" fmla="*/ 1263016 h 2729555"/>
                <a:gd name="connsiteX444" fmla="*/ 379133 w 5631293"/>
                <a:gd name="connsiteY444" fmla="*/ 1261874 h 2729555"/>
                <a:gd name="connsiteX445" fmla="*/ 382559 w 5631293"/>
                <a:gd name="connsiteY445" fmla="*/ 1261874 h 2729555"/>
                <a:gd name="connsiteX446" fmla="*/ 382559 w 5631293"/>
                <a:gd name="connsiteY446" fmla="*/ 1272405 h 2729555"/>
                <a:gd name="connsiteX447" fmla="*/ 381036 w 5631293"/>
                <a:gd name="connsiteY447" fmla="*/ 1271263 h 2729555"/>
                <a:gd name="connsiteX448" fmla="*/ 384462 w 5631293"/>
                <a:gd name="connsiteY448" fmla="*/ 1271263 h 2729555"/>
                <a:gd name="connsiteX449" fmla="*/ 384462 w 5631293"/>
                <a:gd name="connsiteY449" fmla="*/ 1281922 h 2729555"/>
                <a:gd name="connsiteX450" fmla="*/ 382940 w 5631293"/>
                <a:gd name="connsiteY450" fmla="*/ 1280780 h 2729555"/>
                <a:gd name="connsiteX451" fmla="*/ 386366 w 5631293"/>
                <a:gd name="connsiteY451" fmla="*/ 1280780 h 2729555"/>
                <a:gd name="connsiteX452" fmla="*/ 386366 w 5631293"/>
                <a:gd name="connsiteY452" fmla="*/ 1286616 h 2729555"/>
                <a:gd name="connsiteX453" fmla="*/ 384843 w 5631293"/>
                <a:gd name="connsiteY453" fmla="*/ 1285474 h 2729555"/>
                <a:gd name="connsiteX454" fmla="*/ 388396 w 5631293"/>
                <a:gd name="connsiteY454" fmla="*/ 1285474 h 2729555"/>
                <a:gd name="connsiteX455" fmla="*/ 388396 w 5631293"/>
                <a:gd name="connsiteY455" fmla="*/ 1305649 h 2729555"/>
                <a:gd name="connsiteX456" fmla="*/ 386873 w 5631293"/>
                <a:gd name="connsiteY456" fmla="*/ 1304507 h 2729555"/>
                <a:gd name="connsiteX457" fmla="*/ 390299 w 5631293"/>
                <a:gd name="connsiteY457" fmla="*/ 1304507 h 2729555"/>
                <a:gd name="connsiteX458" fmla="*/ 390299 w 5631293"/>
                <a:gd name="connsiteY458" fmla="*/ 1315039 h 2729555"/>
                <a:gd name="connsiteX459" fmla="*/ 388776 w 5631293"/>
                <a:gd name="connsiteY459" fmla="*/ 1313897 h 2729555"/>
                <a:gd name="connsiteX460" fmla="*/ 392202 w 5631293"/>
                <a:gd name="connsiteY460" fmla="*/ 1313897 h 2729555"/>
                <a:gd name="connsiteX461" fmla="*/ 392202 w 5631293"/>
                <a:gd name="connsiteY461" fmla="*/ 1319860 h 2729555"/>
                <a:gd name="connsiteX462" fmla="*/ 390680 w 5631293"/>
                <a:gd name="connsiteY462" fmla="*/ 1318718 h 2729555"/>
                <a:gd name="connsiteX463" fmla="*/ 396136 w 5631293"/>
                <a:gd name="connsiteY463" fmla="*/ 1318718 h 2729555"/>
                <a:gd name="connsiteX464" fmla="*/ 396136 w 5631293"/>
                <a:gd name="connsiteY464" fmla="*/ 1324555 h 2729555"/>
                <a:gd name="connsiteX465" fmla="*/ 394613 w 5631293"/>
                <a:gd name="connsiteY465" fmla="*/ 1323540 h 2729555"/>
                <a:gd name="connsiteX466" fmla="*/ 396516 w 5631293"/>
                <a:gd name="connsiteY466" fmla="*/ 1323540 h 2729555"/>
                <a:gd name="connsiteX467" fmla="*/ 399942 w 5631293"/>
                <a:gd name="connsiteY467" fmla="*/ 1323540 h 2729555"/>
                <a:gd name="connsiteX468" fmla="*/ 399942 w 5631293"/>
                <a:gd name="connsiteY468" fmla="*/ 1334072 h 2729555"/>
                <a:gd name="connsiteX469" fmla="*/ 398420 w 5631293"/>
                <a:gd name="connsiteY469" fmla="*/ 1333056 h 2729555"/>
                <a:gd name="connsiteX470" fmla="*/ 401846 w 5631293"/>
                <a:gd name="connsiteY470" fmla="*/ 1333056 h 2729555"/>
                <a:gd name="connsiteX471" fmla="*/ 401846 w 5631293"/>
                <a:gd name="connsiteY471" fmla="*/ 1348283 h 2729555"/>
                <a:gd name="connsiteX472" fmla="*/ 400323 w 5631293"/>
                <a:gd name="connsiteY472" fmla="*/ 1347141 h 2729555"/>
                <a:gd name="connsiteX473" fmla="*/ 403749 w 5631293"/>
                <a:gd name="connsiteY473" fmla="*/ 1347141 h 2729555"/>
                <a:gd name="connsiteX474" fmla="*/ 403749 w 5631293"/>
                <a:gd name="connsiteY474" fmla="*/ 1353104 h 2729555"/>
                <a:gd name="connsiteX475" fmla="*/ 402226 w 5631293"/>
                <a:gd name="connsiteY475" fmla="*/ 1351962 h 2729555"/>
                <a:gd name="connsiteX476" fmla="*/ 407682 w 5631293"/>
                <a:gd name="connsiteY476" fmla="*/ 1351962 h 2729555"/>
                <a:gd name="connsiteX477" fmla="*/ 407682 w 5631293"/>
                <a:gd name="connsiteY477" fmla="*/ 1372137 h 2729555"/>
                <a:gd name="connsiteX478" fmla="*/ 406160 w 5631293"/>
                <a:gd name="connsiteY478" fmla="*/ 1370995 h 2729555"/>
                <a:gd name="connsiteX479" fmla="*/ 409586 w 5631293"/>
                <a:gd name="connsiteY479" fmla="*/ 1370995 h 2729555"/>
                <a:gd name="connsiteX480" fmla="*/ 409586 w 5631293"/>
                <a:gd name="connsiteY480" fmla="*/ 1376832 h 2729555"/>
                <a:gd name="connsiteX481" fmla="*/ 408063 w 5631293"/>
                <a:gd name="connsiteY481" fmla="*/ 1375817 h 2729555"/>
                <a:gd name="connsiteX482" fmla="*/ 411489 w 5631293"/>
                <a:gd name="connsiteY482" fmla="*/ 1375817 h 2729555"/>
                <a:gd name="connsiteX483" fmla="*/ 411489 w 5631293"/>
                <a:gd name="connsiteY483" fmla="*/ 1386475 h 2729555"/>
                <a:gd name="connsiteX484" fmla="*/ 409966 w 5631293"/>
                <a:gd name="connsiteY484" fmla="*/ 1385333 h 2729555"/>
                <a:gd name="connsiteX485" fmla="*/ 417326 w 5631293"/>
                <a:gd name="connsiteY485" fmla="*/ 1385333 h 2729555"/>
                <a:gd name="connsiteX486" fmla="*/ 417326 w 5631293"/>
                <a:gd name="connsiteY486" fmla="*/ 1391170 h 2729555"/>
                <a:gd name="connsiteX487" fmla="*/ 415803 w 5631293"/>
                <a:gd name="connsiteY487" fmla="*/ 1390028 h 2729555"/>
                <a:gd name="connsiteX488" fmla="*/ 419229 w 5631293"/>
                <a:gd name="connsiteY488" fmla="*/ 1390028 h 2729555"/>
                <a:gd name="connsiteX489" fmla="*/ 419229 w 5631293"/>
                <a:gd name="connsiteY489" fmla="*/ 1400686 h 2729555"/>
                <a:gd name="connsiteX490" fmla="*/ 417706 w 5631293"/>
                <a:gd name="connsiteY490" fmla="*/ 1399544 h 2729555"/>
                <a:gd name="connsiteX491" fmla="*/ 423035 w 5631293"/>
                <a:gd name="connsiteY491" fmla="*/ 1399544 h 2729555"/>
                <a:gd name="connsiteX492" fmla="*/ 423035 w 5631293"/>
                <a:gd name="connsiteY492" fmla="*/ 1405508 h 2729555"/>
                <a:gd name="connsiteX493" fmla="*/ 421513 w 5631293"/>
                <a:gd name="connsiteY493" fmla="*/ 1404366 h 2729555"/>
                <a:gd name="connsiteX494" fmla="*/ 428999 w 5631293"/>
                <a:gd name="connsiteY494" fmla="*/ 1404366 h 2729555"/>
                <a:gd name="connsiteX495" fmla="*/ 428999 w 5631293"/>
                <a:gd name="connsiteY495" fmla="*/ 1410203 h 2729555"/>
                <a:gd name="connsiteX496" fmla="*/ 427476 w 5631293"/>
                <a:gd name="connsiteY496" fmla="*/ 1409061 h 2729555"/>
                <a:gd name="connsiteX497" fmla="*/ 430902 w 5631293"/>
                <a:gd name="connsiteY497" fmla="*/ 1409061 h 2729555"/>
                <a:gd name="connsiteX498" fmla="*/ 430902 w 5631293"/>
                <a:gd name="connsiteY498" fmla="*/ 1415024 h 2729555"/>
                <a:gd name="connsiteX499" fmla="*/ 429380 w 5631293"/>
                <a:gd name="connsiteY499" fmla="*/ 1414009 h 2729555"/>
                <a:gd name="connsiteX500" fmla="*/ 434836 w 5631293"/>
                <a:gd name="connsiteY500" fmla="*/ 1414009 h 2729555"/>
                <a:gd name="connsiteX501" fmla="*/ 434836 w 5631293"/>
                <a:gd name="connsiteY501" fmla="*/ 1419846 h 2729555"/>
                <a:gd name="connsiteX502" fmla="*/ 433313 w 5631293"/>
                <a:gd name="connsiteY502" fmla="*/ 1418704 h 2729555"/>
                <a:gd name="connsiteX503" fmla="*/ 436739 w 5631293"/>
                <a:gd name="connsiteY503" fmla="*/ 1418704 h 2729555"/>
                <a:gd name="connsiteX504" fmla="*/ 436739 w 5631293"/>
                <a:gd name="connsiteY504" fmla="*/ 1424668 h 2729555"/>
                <a:gd name="connsiteX505" fmla="*/ 435216 w 5631293"/>
                <a:gd name="connsiteY505" fmla="*/ 1423526 h 2729555"/>
                <a:gd name="connsiteX506" fmla="*/ 438642 w 5631293"/>
                <a:gd name="connsiteY506" fmla="*/ 1423526 h 2729555"/>
                <a:gd name="connsiteX507" fmla="*/ 438642 w 5631293"/>
                <a:gd name="connsiteY507" fmla="*/ 1443700 h 2729555"/>
                <a:gd name="connsiteX508" fmla="*/ 437120 w 5631293"/>
                <a:gd name="connsiteY508" fmla="*/ 1442558 h 2729555"/>
                <a:gd name="connsiteX509" fmla="*/ 440546 w 5631293"/>
                <a:gd name="connsiteY509" fmla="*/ 1442558 h 2729555"/>
                <a:gd name="connsiteX510" fmla="*/ 440546 w 5631293"/>
                <a:gd name="connsiteY510" fmla="*/ 1453217 h 2729555"/>
                <a:gd name="connsiteX511" fmla="*/ 439023 w 5631293"/>
                <a:gd name="connsiteY511" fmla="*/ 1452075 h 2729555"/>
                <a:gd name="connsiteX512" fmla="*/ 442449 w 5631293"/>
                <a:gd name="connsiteY512" fmla="*/ 1452075 h 2729555"/>
                <a:gd name="connsiteX513" fmla="*/ 442449 w 5631293"/>
                <a:gd name="connsiteY513" fmla="*/ 1457912 h 2729555"/>
                <a:gd name="connsiteX514" fmla="*/ 440926 w 5631293"/>
                <a:gd name="connsiteY514" fmla="*/ 1456770 h 2729555"/>
                <a:gd name="connsiteX515" fmla="*/ 450189 w 5631293"/>
                <a:gd name="connsiteY515" fmla="*/ 1456770 h 2729555"/>
                <a:gd name="connsiteX516" fmla="*/ 450189 w 5631293"/>
                <a:gd name="connsiteY516" fmla="*/ 1462733 h 2729555"/>
                <a:gd name="connsiteX517" fmla="*/ 448666 w 5631293"/>
                <a:gd name="connsiteY517" fmla="*/ 1461591 h 2729555"/>
                <a:gd name="connsiteX518" fmla="*/ 452092 w 5631293"/>
                <a:gd name="connsiteY518" fmla="*/ 1461591 h 2729555"/>
                <a:gd name="connsiteX519" fmla="*/ 452092 w 5631293"/>
                <a:gd name="connsiteY519" fmla="*/ 1472250 h 2729555"/>
                <a:gd name="connsiteX520" fmla="*/ 450570 w 5631293"/>
                <a:gd name="connsiteY520" fmla="*/ 1471108 h 2729555"/>
                <a:gd name="connsiteX521" fmla="*/ 456026 w 5631293"/>
                <a:gd name="connsiteY521" fmla="*/ 1471108 h 2729555"/>
                <a:gd name="connsiteX522" fmla="*/ 456026 w 5631293"/>
                <a:gd name="connsiteY522" fmla="*/ 1477071 h 2729555"/>
                <a:gd name="connsiteX523" fmla="*/ 454503 w 5631293"/>
                <a:gd name="connsiteY523" fmla="*/ 1475929 h 2729555"/>
                <a:gd name="connsiteX524" fmla="*/ 457929 w 5631293"/>
                <a:gd name="connsiteY524" fmla="*/ 1475929 h 2729555"/>
                <a:gd name="connsiteX525" fmla="*/ 457929 w 5631293"/>
                <a:gd name="connsiteY525" fmla="*/ 1486588 h 2729555"/>
                <a:gd name="connsiteX526" fmla="*/ 456406 w 5631293"/>
                <a:gd name="connsiteY526" fmla="*/ 1485446 h 2729555"/>
                <a:gd name="connsiteX527" fmla="*/ 465669 w 5631293"/>
                <a:gd name="connsiteY527" fmla="*/ 1485446 h 2729555"/>
                <a:gd name="connsiteX528" fmla="*/ 465669 w 5631293"/>
                <a:gd name="connsiteY528" fmla="*/ 1496104 h 2729555"/>
                <a:gd name="connsiteX529" fmla="*/ 464146 w 5631293"/>
                <a:gd name="connsiteY529" fmla="*/ 1494962 h 2729555"/>
                <a:gd name="connsiteX530" fmla="*/ 467572 w 5631293"/>
                <a:gd name="connsiteY530" fmla="*/ 1494962 h 2729555"/>
                <a:gd name="connsiteX531" fmla="*/ 467572 w 5631293"/>
                <a:gd name="connsiteY531" fmla="*/ 1500926 h 2729555"/>
                <a:gd name="connsiteX532" fmla="*/ 466050 w 5631293"/>
                <a:gd name="connsiteY532" fmla="*/ 1499784 h 2729555"/>
                <a:gd name="connsiteX533" fmla="*/ 469475 w 5631293"/>
                <a:gd name="connsiteY533" fmla="*/ 1499784 h 2729555"/>
                <a:gd name="connsiteX534" fmla="*/ 469475 w 5631293"/>
                <a:gd name="connsiteY534" fmla="*/ 1515137 h 2729555"/>
                <a:gd name="connsiteX535" fmla="*/ 467953 w 5631293"/>
                <a:gd name="connsiteY535" fmla="*/ 1514122 h 2729555"/>
                <a:gd name="connsiteX536" fmla="*/ 471506 w 5631293"/>
                <a:gd name="connsiteY536" fmla="*/ 1514122 h 2729555"/>
                <a:gd name="connsiteX537" fmla="*/ 471506 w 5631293"/>
                <a:gd name="connsiteY537" fmla="*/ 1519958 h 2729555"/>
                <a:gd name="connsiteX538" fmla="*/ 469983 w 5631293"/>
                <a:gd name="connsiteY538" fmla="*/ 1518816 h 2729555"/>
                <a:gd name="connsiteX539" fmla="*/ 473409 w 5631293"/>
                <a:gd name="connsiteY539" fmla="*/ 1518816 h 2729555"/>
                <a:gd name="connsiteX540" fmla="*/ 473409 w 5631293"/>
                <a:gd name="connsiteY540" fmla="*/ 1529475 h 2729555"/>
                <a:gd name="connsiteX541" fmla="*/ 471886 w 5631293"/>
                <a:gd name="connsiteY541" fmla="*/ 1528333 h 2729555"/>
                <a:gd name="connsiteX542" fmla="*/ 475439 w 5631293"/>
                <a:gd name="connsiteY542" fmla="*/ 1528333 h 2729555"/>
                <a:gd name="connsiteX543" fmla="*/ 475439 w 5631293"/>
                <a:gd name="connsiteY543" fmla="*/ 1534296 h 2729555"/>
                <a:gd name="connsiteX544" fmla="*/ 473916 w 5631293"/>
                <a:gd name="connsiteY544" fmla="*/ 1533155 h 2729555"/>
                <a:gd name="connsiteX545" fmla="*/ 477342 w 5631293"/>
                <a:gd name="connsiteY545" fmla="*/ 1533155 h 2729555"/>
                <a:gd name="connsiteX546" fmla="*/ 477342 w 5631293"/>
                <a:gd name="connsiteY546" fmla="*/ 1543813 h 2729555"/>
                <a:gd name="connsiteX547" fmla="*/ 475820 w 5631293"/>
                <a:gd name="connsiteY547" fmla="*/ 1542798 h 2729555"/>
                <a:gd name="connsiteX548" fmla="*/ 479246 w 5631293"/>
                <a:gd name="connsiteY548" fmla="*/ 1542798 h 2729555"/>
                <a:gd name="connsiteX549" fmla="*/ 479246 w 5631293"/>
                <a:gd name="connsiteY549" fmla="*/ 1562846 h 2729555"/>
                <a:gd name="connsiteX550" fmla="*/ 477723 w 5631293"/>
                <a:gd name="connsiteY550" fmla="*/ 1561831 h 2729555"/>
                <a:gd name="connsiteX551" fmla="*/ 481276 w 5631293"/>
                <a:gd name="connsiteY551" fmla="*/ 1561831 h 2729555"/>
                <a:gd name="connsiteX552" fmla="*/ 481276 w 5631293"/>
                <a:gd name="connsiteY552" fmla="*/ 1567667 h 2729555"/>
                <a:gd name="connsiteX553" fmla="*/ 479753 w 5631293"/>
                <a:gd name="connsiteY553" fmla="*/ 1566525 h 2729555"/>
                <a:gd name="connsiteX554" fmla="*/ 483179 w 5631293"/>
                <a:gd name="connsiteY554" fmla="*/ 1566525 h 2729555"/>
                <a:gd name="connsiteX555" fmla="*/ 483179 w 5631293"/>
                <a:gd name="connsiteY555" fmla="*/ 1572489 h 2729555"/>
                <a:gd name="connsiteX556" fmla="*/ 481656 w 5631293"/>
                <a:gd name="connsiteY556" fmla="*/ 1571347 h 2729555"/>
                <a:gd name="connsiteX557" fmla="*/ 485082 w 5631293"/>
                <a:gd name="connsiteY557" fmla="*/ 1571347 h 2729555"/>
                <a:gd name="connsiteX558" fmla="*/ 485082 w 5631293"/>
                <a:gd name="connsiteY558" fmla="*/ 1582005 h 2729555"/>
                <a:gd name="connsiteX559" fmla="*/ 483560 w 5631293"/>
                <a:gd name="connsiteY559" fmla="*/ 1580990 h 2729555"/>
                <a:gd name="connsiteX560" fmla="*/ 486986 w 5631293"/>
                <a:gd name="connsiteY560" fmla="*/ 1580990 h 2729555"/>
                <a:gd name="connsiteX561" fmla="*/ 486986 w 5631293"/>
                <a:gd name="connsiteY561" fmla="*/ 1586827 h 2729555"/>
                <a:gd name="connsiteX562" fmla="*/ 485463 w 5631293"/>
                <a:gd name="connsiteY562" fmla="*/ 1585685 h 2729555"/>
                <a:gd name="connsiteX563" fmla="*/ 488889 w 5631293"/>
                <a:gd name="connsiteY563" fmla="*/ 1585685 h 2729555"/>
                <a:gd name="connsiteX564" fmla="*/ 488889 w 5631293"/>
                <a:gd name="connsiteY564" fmla="*/ 1596343 h 2729555"/>
                <a:gd name="connsiteX565" fmla="*/ 487366 w 5631293"/>
                <a:gd name="connsiteY565" fmla="*/ 1595201 h 2729555"/>
                <a:gd name="connsiteX566" fmla="*/ 490919 w 5631293"/>
                <a:gd name="connsiteY566" fmla="*/ 1595201 h 2729555"/>
                <a:gd name="connsiteX567" fmla="*/ 490919 w 5631293"/>
                <a:gd name="connsiteY567" fmla="*/ 1601165 h 2729555"/>
                <a:gd name="connsiteX568" fmla="*/ 489396 w 5631293"/>
                <a:gd name="connsiteY568" fmla="*/ 1600023 h 2729555"/>
                <a:gd name="connsiteX569" fmla="*/ 492822 w 5631293"/>
                <a:gd name="connsiteY569" fmla="*/ 1600023 h 2729555"/>
                <a:gd name="connsiteX570" fmla="*/ 492822 w 5631293"/>
                <a:gd name="connsiteY570" fmla="*/ 1620325 h 2729555"/>
                <a:gd name="connsiteX571" fmla="*/ 491300 w 5631293"/>
                <a:gd name="connsiteY571" fmla="*/ 1619183 h 2729555"/>
                <a:gd name="connsiteX572" fmla="*/ 498532 w 5631293"/>
                <a:gd name="connsiteY572" fmla="*/ 1619183 h 2729555"/>
                <a:gd name="connsiteX573" fmla="*/ 498532 w 5631293"/>
                <a:gd name="connsiteY573" fmla="*/ 1625146 h 2729555"/>
                <a:gd name="connsiteX574" fmla="*/ 497010 w 5631293"/>
                <a:gd name="connsiteY574" fmla="*/ 1624004 h 2729555"/>
                <a:gd name="connsiteX575" fmla="*/ 504369 w 5631293"/>
                <a:gd name="connsiteY575" fmla="*/ 1624004 h 2729555"/>
                <a:gd name="connsiteX576" fmla="*/ 504369 w 5631293"/>
                <a:gd name="connsiteY576" fmla="*/ 1634663 h 2729555"/>
                <a:gd name="connsiteX577" fmla="*/ 502846 w 5631293"/>
                <a:gd name="connsiteY577" fmla="*/ 1633521 h 2729555"/>
                <a:gd name="connsiteX578" fmla="*/ 510206 w 5631293"/>
                <a:gd name="connsiteY578" fmla="*/ 1633521 h 2729555"/>
                <a:gd name="connsiteX579" fmla="*/ 510206 w 5631293"/>
                <a:gd name="connsiteY579" fmla="*/ 1644306 h 2729555"/>
                <a:gd name="connsiteX580" fmla="*/ 508683 w 5631293"/>
                <a:gd name="connsiteY580" fmla="*/ 1643164 h 2729555"/>
                <a:gd name="connsiteX581" fmla="*/ 512109 w 5631293"/>
                <a:gd name="connsiteY581" fmla="*/ 1643164 h 2729555"/>
                <a:gd name="connsiteX582" fmla="*/ 512109 w 5631293"/>
                <a:gd name="connsiteY582" fmla="*/ 1649001 h 2729555"/>
                <a:gd name="connsiteX583" fmla="*/ 510586 w 5631293"/>
                <a:gd name="connsiteY583" fmla="*/ 1647859 h 2729555"/>
                <a:gd name="connsiteX584" fmla="*/ 514012 w 5631293"/>
                <a:gd name="connsiteY584" fmla="*/ 1647859 h 2729555"/>
                <a:gd name="connsiteX585" fmla="*/ 514012 w 5631293"/>
                <a:gd name="connsiteY585" fmla="*/ 1653822 h 2729555"/>
                <a:gd name="connsiteX586" fmla="*/ 512490 w 5631293"/>
                <a:gd name="connsiteY586" fmla="*/ 1652680 h 2729555"/>
                <a:gd name="connsiteX587" fmla="*/ 519849 w 5631293"/>
                <a:gd name="connsiteY587" fmla="*/ 1652680 h 2729555"/>
                <a:gd name="connsiteX588" fmla="*/ 519849 w 5631293"/>
                <a:gd name="connsiteY588" fmla="*/ 1658644 h 2729555"/>
                <a:gd name="connsiteX589" fmla="*/ 518326 w 5631293"/>
                <a:gd name="connsiteY589" fmla="*/ 1657502 h 2729555"/>
                <a:gd name="connsiteX590" fmla="*/ 529619 w 5631293"/>
                <a:gd name="connsiteY590" fmla="*/ 1657502 h 2729555"/>
                <a:gd name="connsiteX591" fmla="*/ 529619 w 5631293"/>
                <a:gd name="connsiteY591" fmla="*/ 1663339 h 2729555"/>
                <a:gd name="connsiteX592" fmla="*/ 528096 w 5631293"/>
                <a:gd name="connsiteY592" fmla="*/ 1662324 h 2729555"/>
                <a:gd name="connsiteX593" fmla="*/ 531522 w 5631293"/>
                <a:gd name="connsiteY593" fmla="*/ 1662324 h 2729555"/>
                <a:gd name="connsiteX594" fmla="*/ 531522 w 5631293"/>
                <a:gd name="connsiteY594" fmla="*/ 1668160 h 2729555"/>
                <a:gd name="connsiteX595" fmla="*/ 530000 w 5631293"/>
                <a:gd name="connsiteY595" fmla="*/ 1667018 h 2729555"/>
                <a:gd name="connsiteX596" fmla="*/ 535329 w 5631293"/>
                <a:gd name="connsiteY596" fmla="*/ 1667018 h 2729555"/>
                <a:gd name="connsiteX597" fmla="*/ 535329 w 5631293"/>
                <a:gd name="connsiteY597" fmla="*/ 1682498 h 2729555"/>
                <a:gd name="connsiteX598" fmla="*/ 533806 w 5631293"/>
                <a:gd name="connsiteY598" fmla="*/ 1681356 h 2729555"/>
                <a:gd name="connsiteX599" fmla="*/ 537359 w 5631293"/>
                <a:gd name="connsiteY599" fmla="*/ 1681356 h 2729555"/>
                <a:gd name="connsiteX600" fmla="*/ 537359 w 5631293"/>
                <a:gd name="connsiteY600" fmla="*/ 1692015 h 2729555"/>
                <a:gd name="connsiteX601" fmla="*/ 535836 w 5631293"/>
                <a:gd name="connsiteY601" fmla="*/ 1690873 h 2729555"/>
                <a:gd name="connsiteX602" fmla="*/ 539262 w 5631293"/>
                <a:gd name="connsiteY602" fmla="*/ 1690873 h 2729555"/>
                <a:gd name="connsiteX603" fmla="*/ 539262 w 5631293"/>
                <a:gd name="connsiteY603" fmla="*/ 1696963 h 2729555"/>
                <a:gd name="connsiteX604" fmla="*/ 537740 w 5631293"/>
                <a:gd name="connsiteY604" fmla="*/ 1695821 h 2729555"/>
                <a:gd name="connsiteX605" fmla="*/ 543069 w 5631293"/>
                <a:gd name="connsiteY605" fmla="*/ 1695821 h 2729555"/>
                <a:gd name="connsiteX606" fmla="*/ 543069 w 5631293"/>
                <a:gd name="connsiteY606" fmla="*/ 1701658 h 2729555"/>
                <a:gd name="connsiteX607" fmla="*/ 541546 w 5631293"/>
                <a:gd name="connsiteY607" fmla="*/ 1700516 h 2729555"/>
                <a:gd name="connsiteX608" fmla="*/ 544972 w 5631293"/>
                <a:gd name="connsiteY608" fmla="*/ 1700516 h 2729555"/>
                <a:gd name="connsiteX609" fmla="*/ 544972 w 5631293"/>
                <a:gd name="connsiteY609" fmla="*/ 1706480 h 2729555"/>
                <a:gd name="connsiteX610" fmla="*/ 543450 w 5631293"/>
                <a:gd name="connsiteY610" fmla="*/ 1705338 h 2729555"/>
                <a:gd name="connsiteX611" fmla="*/ 547002 w 5631293"/>
                <a:gd name="connsiteY611" fmla="*/ 1705338 h 2729555"/>
                <a:gd name="connsiteX612" fmla="*/ 547002 w 5631293"/>
                <a:gd name="connsiteY612" fmla="*/ 1711174 h 2729555"/>
                <a:gd name="connsiteX613" fmla="*/ 545480 w 5631293"/>
                <a:gd name="connsiteY613" fmla="*/ 1710032 h 2729555"/>
                <a:gd name="connsiteX614" fmla="*/ 560452 w 5631293"/>
                <a:gd name="connsiteY614" fmla="*/ 1710032 h 2729555"/>
                <a:gd name="connsiteX615" fmla="*/ 560452 w 5631293"/>
                <a:gd name="connsiteY615" fmla="*/ 1720818 h 2729555"/>
                <a:gd name="connsiteX616" fmla="*/ 558930 w 5631293"/>
                <a:gd name="connsiteY616" fmla="*/ 1719676 h 2729555"/>
                <a:gd name="connsiteX617" fmla="*/ 562355 w 5631293"/>
                <a:gd name="connsiteY617" fmla="*/ 1719676 h 2729555"/>
                <a:gd name="connsiteX618" fmla="*/ 562355 w 5631293"/>
                <a:gd name="connsiteY618" fmla="*/ 1725639 h 2729555"/>
                <a:gd name="connsiteX619" fmla="*/ 560833 w 5631293"/>
                <a:gd name="connsiteY619" fmla="*/ 1724497 h 2729555"/>
                <a:gd name="connsiteX620" fmla="*/ 564259 w 5631293"/>
                <a:gd name="connsiteY620" fmla="*/ 1724497 h 2729555"/>
                <a:gd name="connsiteX621" fmla="*/ 564259 w 5631293"/>
                <a:gd name="connsiteY621" fmla="*/ 1739977 h 2729555"/>
                <a:gd name="connsiteX622" fmla="*/ 562736 w 5631293"/>
                <a:gd name="connsiteY622" fmla="*/ 1738835 h 2729555"/>
                <a:gd name="connsiteX623" fmla="*/ 564766 w 5631293"/>
                <a:gd name="connsiteY623" fmla="*/ 1738835 h 2729555"/>
                <a:gd name="connsiteX624" fmla="*/ 572126 w 5631293"/>
                <a:gd name="connsiteY624" fmla="*/ 1738835 h 2729555"/>
                <a:gd name="connsiteX625" fmla="*/ 572126 w 5631293"/>
                <a:gd name="connsiteY625" fmla="*/ 1744672 h 2729555"/>
                <a:gd name="connsiteX626" fmla="*/ 570603 w 5631293"/>
                <a:gd name="connsiteY626" fmla="*/ 1743657 h 2729555"/>
                <a:gd name="connsiteX627" fmla="*/ 576059 w 5631293"/>
                <a:gd name="connsiteY627" fmla="*/ 1743657 h 2729555"/>
                <a:gd name="connsiteX628" fmla="*/ 576059 w 5631293"/>
                <a:gd name="connsiteY628" fmla="*/ 1749621 h 2729555"/>
                <a:gd name="connsiteX629" fmla="*/ 574536 w 5631293"/>
                <a:gd name="connsiteY629" fmla="*/ 1748479 h 2729555"/>
                <a:gd name="connsiteX630" fmla="*/ 585702 w 5631293"/>
                <a:gd name="connsiteY630" fmla="*/ 1748479 h 2729555"/>
                <a:gd name="connsiteX631" fmla="*/ 585702 w 5631293"/>
                <a:gd name="connsiteY631" fmla="*/ 1759137 h 2729555"/>
                <a:gd name="connsiteX632" fmla="*/ 584180 w 5631293"/>
                <a:gd name="connsiteY632" fmla="*/ 1758122 h 2729555"/>
                <a:gd name="connsiteX633" fmla="*/ 591412 w 5631293"/>
                <a:gd name="connsiteY633" fmla="*/ 1758122 h 2729555"/>
                <a:gd name="connsiteX634" fmla="*/ 591412 w 5631293"/>
                <a:gd name="connsiteY634" fmla="*/ 1764086 h 2729555"/>
                <a:gd name="connsiteX635" fmla="*/ 589890 w 5631293"/>
                <a:gd name="connsiteY635" fmla="*/ 1762944 h 2729555"/>
                <a:gd name="connsiteX636" fmla="*/ 593442 w 5631293"/>
                <a:gd name="connsiteY636" fmla="*/ 1762944 h 2729555"/>
                <a:gd name="connsiteX637" fmla="*/ 593442 w 5631293"/>
                <a:gd name="connsiteY637" fmla="*/ 1768907 h 2729555"/>
                <a:gd name="connsiteX638" fmla="*/ 591920 w 5631293"/>
                <a:gd name="connsiteY638" fmla="*/ 1767765 h 2729555"/>
                <a:gd name="connsiteX639" fmla="*/ 597249 w 5631293"/>
                <a:gd name="connsiteY639" fmla="*/ 1767765 h 2729555"/>
                <a:gd name="connsiteX640" fmla="*/ 597249 w 5631293"/>
                <a:gd name="connsiteY640" fmla="*/ 1778677 h 2729555"/>
                <a:gd name="connsiteX641" fmla="*/ 595726 w 5631293"/>
                <a:gd name="connsiteY641" fmla="*/ 1777536 h 2729555"/>
                <a:gd name="connsiteX642" fmla="*/ 601055 w 5631293"/>
                <a:gd name="connsiteY642" fmla="*/ 1777536 h 2729555"/>
                <a:gd name="connsiteX643" fmla="*/ 601055 w 5631293"/>
                <a:gd name="connsiteY643" fmla="*/ 1788194 h 2729555"/>
                <a:gd name="connsiteX644" fmla="*/ 599533 w 5631293"/>
                <a:gd name="connsiteY644" fmla="*/ 1787179 h 2729555"/>
                <a:gd name="connsiteX645" fmla="*/ 608795 w 5631293"/>
                <a:gd name="connsiteY645" fmla="*/ 1787179 h 2729555"/>
                <a:gd name="connsiteX646" fmla="*/ 608795 w 5631293"/>
                <a:gd name="connsiteY646" fmla="*/ 1793142 h 2729555"/>
                <a:gd name="connsiteX647" fmla="*/ 607273 w 5631293"/>
                <a:gd name="connsiteY647" fmla="*/ 1792000 h 2729555"/>
                <a:gd name="connsiteX648" fmla="*/ 610699 w 5631293"/>
                <a:gd name="connsiteY648" fmla="*/ 1792000 h 2729555"/>
                <a:gd name="connsiteX649" fmla="*/ 610699 w 5631293"/>
                <a:gd name="connsiteY649" fmla="*/ 1797964 h 2729555"/>
                <a:gd name="connsiteX650" fmla="*/ 609176 w 5631293"/>
                <a:gd name="connsiteY650" fmla="*/ 1796822 h 2729555"/>
                <a:gd name="connsiteX651" fmla="*/ 612729 w 5631293"/>
                <a:gd name="connsiteY651" fmla="*/ 1796822 h 2729555"/>
                <a:gd name="connsiteX652" fmla="*/ 612729 w 5631293"/>
                <a:gd name="connsiteY652" fmla="*/ 1807607 h 2729555"/>
                <a:gd name="connsiteX653" fmla="*/ 611206 w 5631293"/>
                <a:gd name="connsiteY653" fmla="*/ 1806592 h 2729555"/>
                <a:gd name="connsiteX654" fmla="*/ 620469 w 5631293"/>
                <a:gd name="connsiteY654" fmla="*/ 1806592 h 2729555"/>
                <a:gd name="connsiteX655" fmla="*/ 620469 w 5631293"/>
                <a:gd name="connsiteY655" fmla="*/ 1812556 h 2729555"/>
                <a:gd name="connsiteX656" fmla="*/ 618946 w 5631293"/>
                <a:gd name="connsiteY656" fmla="*/ 1811414 h 2729555"/>
                <a:gd name="connsiteX657" fmla="*/ 622499 w 5631293"/>
                <a:gd name="connsiteY657" fmla="*/ 1811414 h 2729555"/>
                <a:gd name="connsiteX658" fmla="*/ 622499 w 5631293"/>
                <a:gd name="connsiteY658" fmla="*/ 1817377 h 2729555"/>
                <a:gd name="connsiteX659" fmla="*/ 620976 w 5631293"/>
                <a:gd name="connsiteY659" fmla="*/ 1816236 h 2729555"/>
                <a:gd name="connsiteX660" fmla="*/ 628209 w 5631293"/>
                <a:gd name="connsiteY660" fmla="*/ 1816236 h 2729555"/>
                <a:gd name="connsiteX661" fmla="*/ 628209 w 5631293"/>
                <a:gd name="connsiteY661" fmla="*/ 1822072 h 2729555"/>
                <a:gd name="connsiteX662" fmla="*/ 626686 w 5631293"/>
                <a:gd name="connsiteY662" fmla="*/ 1821057 h 2729555"/>
                <a:gd name="connsiteX663" fmla="*/ 630112 w 5631293"/>
                <a:gd name="connsiteY663" fmla="*/ 1821057 h 2729555"/>
                <a:gd name="connsiteX664" fmla="*/ 630112 w 5631293"/>
                <a:gd name="connsiteY664" fmla="*/ 1827021 h 2729555"/>
                <a:gd name="connsiteX665" fmla="*/ 628590 w 5631293"/>
                <a:gd name="connsiteY665" fmla="*/ 1825879 h 2729555"/>
                <a:gd name="connsiteX666" fmla="*/ 632142 w 5631293"/>
                <a:gd name="connsiteY666" fmla="*/ 1825879 h 2729555"/>
                <a:gd name="connsiteX667" fmla="*/ 632142 w 5631293"/>
                <a:gd name="connsiteY667" fmla="*/ 1831842 h 2729555"/>
                <a:gd name="connsiteX668" fmla="*/ 630620 w 5631293"/>
                <a:gd name="connsiteY668" fmla="*/ 1830700 h 2729555"/>
                <a:gd name="connsiteX669" fmla="*/ 634426 w 5631293"/>
                <a:gd name="connsiteY669" fmla="*/ 1830700 h 2729555"/>
                <a:gd name="connsiteX670" fmla="*/ 639755 w 5631293"/>
                <a:gd name="connsiteY670" fmla="*/ 1830700 h 2729555"/>
                <a:gd name="connsiteX671" fmla="*/ 639755 w 5631293"/>
                <a:gd name="connsiteY671" fmla="*/ 1836664 h 2729555"/>
                <a:gd name="connsiteX672" fmla="*/ 638233 w 5631293"/>
                <a:gd name="connsiteY672" fmla="*/ 1835522 h 2729555"/>
                <a:gd name="connsiteX673" fmla="*/ 643689 w 5631293"/>
                <a:gd name="connsiteY673" fmla="*/ 1835522 h 2729555"/>
                <a:gd name="connsiteX674" fmla="*/ 643689 w 5631293"/>
                <a:gd name="connsiteY674" fmla="*/ 1841613 h 2729555"/>
                <a:gd name="connsiteX675" fmla="*/ 642166 w 5631293"/>
                <a:gd name="connsiteY675" fmla="*/ 1840470 h 2729555"/>
                <a:gd name="connsiteX676" fmla="*/ 649526 w 5631293"/>
                <a:gd name="connsiteY676" fmla="*/ 1840470 h 2729555"/>
                <a:gd name="connsiteX677" fmla="*/ 649526 w 5631293"/>
                <a:gd name="connsiteY677" fmla="*/ 1846561 h 2729555"/>
                <a:gd name="connsiteX678" fmla="*/ 648003 w 5631293"/>
                <a:gd name="connsiteY678" fmla="*/ 1845419 h 2729555"/>
                <a:gd name="connsiteX679" fmla="*/ 657139 w 5631293"/>
                <a:gd name="connsiteY679" fmla="*/ 1845419 h 2729555"/>
                <a:gd name="connsiteX680" fmla="*/ 657139 w 5631293"/>
                <a:gd name="connsiteY680" fmla="*/ 1851383 h 2729555"/>
                <a:gd name="connsiteX681" fmla="*/ 655616 w 5631293"/>
                <a:gd name="connsiteY681" fmla="*/ 1850241 h 2729555"/>
                <a:gd name="connsiteX682" fmla="*/ 659169 w 5631293"/>
                <a:gd name="connsiteY682" fmla="*/ 1850241 h 2729555"/>
                <a:gd name="connsiteX683" fmla="*/ 659169 w 5631293"/>
                <a:gd name="connsiteY683" fmla="*/ 1861026 h 2729555"/>
                <a:gd name="connsiteX684" fmla="*/ 657646 w 5631293"/>
                <a:gd name="connsiteY684" fmla="*/ 1860011 h 2729555"/>
                <a:gd name="connsiteX685" fmla="*/ 661072 w 5631293"/>
                <a:gd name="connsiteY685" fmla="*/ 1860011 h 2729555"/>
                <a:gd name="connsiteX686" fmla="*/ 661072 w 5631293"/>
                <a:gd name="connsiteY686" fmla="*/ 1865975 h 2729555"/>
                <a:gd name="connsiteX687" fmla="*/ 659550 w 5631293"/>
                <a:gd name="connsiteY687" fmla="*/ 1864832 h 2729555"/>
                <a:gd name="connsiteX688" fmla="*/ 662975 w 5631293"/>
                <a:gd name="connsiteY688" fmla="*/ 1864832 h 2729555"/>
                <a:gd name="connsiteX689" fmla="*/ 662975 w 5631293"/>
                <a:gd name="connsiteY689" fmla="*/ 1875618 h 2729555"/>
                <a:gd name="connsiteX690" fmla="*/ 661453 w 5631293"/>
                <a:gd name="connsiteY690" fmla="*/ 1874476 h 2729555"/>
                <a:gd name="connsiteX691" fmla="*/ 666909 w 5631293"/>
                <a:gd name="connsiteY691" fmla="*/ 1874476 h 2729555"/>
                <a:gd name="connsiteX692" fmla="*/ 666909 w 5631293"/>
                <a:gd name="connsiteY692" fmla="*/ 1880439 h 2729555"/>
                <a:gd name="connsiteX693" fmla="*/ 665259 w 5631293"/>
                <a:gd name="connsiteY693" fmla="*/ 1879424 h 2729555"/>
                <a:gd name="connsiteX694" fmla="*/ 672746 w 5631293"/>
                <a:gd name="connsiteY694" fmla="*/ 1879424 h 2729555"/>
                <a:gd name="connsiteX695" fmla="*/ 672746 w 5631293"/>
                <a:gd name="connsiteY695" fmla="*/ 1885388 h 2729555"/>
                <a:gd name="connsiteX696" fmla="*/ 671223 w 5631293"/>
                <a:gd name="connsiteY696" fmla="*/ 1884246 h 2729555"/>
                <a:gd name="connsiteX697" fmla="*/ 676552 w 5631293"/>
                <a:gd name="connsiteY697" fmla="*/ 1884246 h 2729555"/>
                <a:gd name="connsiteX698" fmla="*/ 676552 w 5631293"/>
                <a:gd name="connsiteY698" fmla="*/ 1890209 h 2729555"/>
                <a:gd name="connsiteX699" fmla="*/ 675030 w 5631293"/>
                <a:gd name="connsiteY699" fmla="*/ 1889068 h 2729555"/>
                <a:gd name="connsiteX700" fmla="*/ 682389 w 5631293"/>
                <a:gd name="connsiteY700" fmla="*/ 1889068 h 2729555"/>
                <a:gd name="connsiteX701" fmla="*/ 682389 w 5631293"/>
                <a:gd name="connsiteY701" fmla="*/ 1895031 h 2729555"/>
                <a:gd name="connsiteX702" fmla="*/ 680866 w 5631293"/>
                <a:gd name="connsiteY702" fmla="*/ 1893889 h 2729555"/>
                <a:gd name="connsiteX703" fmla="*/ 688226 w 5631293"/>
                <a:gd name="connsiteY703" fmla="*/ 1893889 h 2729555"/>
                <a:gd name="connsiteX704" fmla="*/ 688226 w 5631293"/>
                <a:gd name="connsiteY704" fmla="*/ 1899980 h 2729555"/>
                <a:gd name="connsiteX705" fmla="*/ 686703 w 5631293"/>
                <a:gd name="connsiteY705" fmla="*/ 1898838 h 2729555"/>
                <a:gd name="connsiteX706" fmla="*/ 693935 w 5631293"/>
                <a:gd name="connsiteY706" fmla="*/ 1898838 h 2729555"/>
                <a:gd name="connsiteX707" fmla="*/ 693935 w 5631293"/>
                <a:gd name="connsiteY707" fmla="*/ 1904928 h 2729555"/>
                <a:gd name="connsiteX708" fmla="*/ 692413 w 5631293"/>
                <a:gd name="connsiteY708" fmla="*/ 1903786 h 2729555"/>
                <a:gd name="connsiteX709" fmla="*/ 695839 w 5631293"/>
                <a:gd name="connsiteY709" fmla="*/ 1903786 h 2729555"/>
                <a:gd name="connsiteX710" fmla="*/ 695839 w 5631293"/>
                <a:gd name="connsiteY710" fmla="*/ 1914572 h 2729555"/>
                <a:gd name="connsiteX711" fmla="*/ 694316 w 5631293"/>
                <a:gd name="connsiteY711" fmla="*/ 1913430 h 2729555"/>
                <a:gd name="connsiteX712" fmla="*/ 699772 w 5631293"/>
                <a:gd name="connsiteY712" fmla="*/ 1913430 h 2729555"/>
                <a:gd name="connsiteX713" fmla="*/ 699772 w 5631293"/>
                <a:gd name="connsiteY713" fmla="*/ 1919393 h 2729555"/>
                <a:gd name="connsiteX714" fmla="*/ 698249 w 5631293"/>
                <a:gd name="connsiteY714" fmla="*/ 1918378 h 2729555"/>
                <a:gd name="connsiteX715" fmla="*/ 701675 w 5631293"/>
                <a:gd name="connsiteY715" fmla="*/ 1918378 h 2729555"/>
                <a:gd name="connsiteX716" fmla="*/ 701675 w 5631293"/>
                <a:gd name="connsiteY716" fmla="*/ 1924342 h 2729555"/>
                <a:gd name="connsiteX717" fmla="*/ 700153 w 5631293"/>
                <a:gd name="connsiteY717" fmla="*/ 1923200 h 2729555"/>
                <a:gd name="connsiteX718" fmla="*/ 707512 w 5631293"/>
                <a:gd name="connsiteY718" fmla="*/ 1923200 h 2729555"/>
                <a:gd name="connsiteX719" fmla="*/ 707512 w 5631293"/>
                <a:gd name="connsiteY719" fmla="*/ 1929163 h 2729555"/>
                <a:gd name="connsiteX720" fmla="*/ 705989 w 5631293"/>
                <a:gd name="connsiteY720" fmla="*/ 1928021 h 2729555"/>
                <a:gd name="connsiteX721" fmla="*/ 715379 w 5631293"/>
                <a:gd name="connsiteY721" fmla="*/ 1928021 h 2729555"/>
                <a:gd name="connsiteX722" fmla="*/ 715379 w 5631293"/>
                <a:gd name="connsiteY722" fmla="*/ 1938807 h 2729555"/>
                <a:gd name="connsiteX723" fmla="*/ 713729 w 5631293"/>
                <a:gd name="connsiteY723" fmla="*/ 1937791 h 2729555"/>
                <a:gd name="connsiteX724" fmla="*/ 719186 w 5631293"/>
                <a:gd name="connsiteY724" fmla="*/ 1937791 h 2729555"/>
                <a:gd name="connsiteX725" fmla="*/ 719186 w 5631293"/>
                <a:gd name="connsiteY725" fmla="*/ 1948704 h 2729555"/>
                <a:gd name="connsiteX726" fmla="*/ 717663 w 5631293"/>
                <a:gd name="connsiteY726" fmla="*/ 1947562 h 2729555"/>
                <a:gd name="connsiteX727" fmla="*/ 721089 w 5631293"/>
                <a:gd name="connsiteY727" fmla="*/ 1947562 h 2729555"/>
                <a:gd name="connsiteX728" fmla="*/ 721089 w 5631293"/>
                <a:gd name="connsiteY728" fmla="*/ 1953525 h 2729555"/>
                <a:gd name="connsiteX729" fmla="*/ 719566 w 5631293"/>
                <a:gd name="connsiteY729" fmla="*/ 1952383 h 2729555"/>
                <a:gd name="connsiteX730" fmla="*/ 722992 w 5631293"/>
                <a:gd name="connsiteY730" fmla="*/ 1952383 h 2729555"/>
                <a:gd name="connsiteX731" fmla="*/ 722992 w 5631293"/>
                <a:gd name="connsiteY731" fmla="*/ 1958347 h 2729555"/>
                <a:gd name="connsiteX732" fmla="*/ 721469 w 5631293"/>
                <a:gd name="connsiteY732" fmla="*/ 1957205 h 2729555"/>
                <a:gd name="connsiteX733" fmla="*/ 725022 w 5631293"/>
                <a:gd name="connsiteY733" fmla="*/ 1957205 h 2729555"/>
                <a:gd name="connsiteX734" fmla="*/ 725022 w 5631293"/>
                <a:gd name="connsiteY734" fmla="*/ 1972939 h 2729555"/>
                <a:gd name="connsiteX735" fmla="*/ 723500 w 5631293"/>
                <a:gd name="connsiteY735" fmla="*/ 1971797 h 2729555"/>
                <a:gd name="connsiteX736" fmla="*/ 732635 w 5631293"/>
                <a:gd name="connsiteY736" fmla="*/ 1971797 h 2729555"/>
                <a:gd name="connsiteX737" fmla="*/ 732635 w 5631293"/>
                <a:gd name="connsiteY737" fmla="*/ 1987531 h 2729555"/>
                <a:gd name="connsiteX738" fmla="*/ 731113 w 5631293"/>
                <a:gd name="connsiteY738" fmla="*/ 1986389 h 2729555"/>
                <a:gd name="connsiteX739" fmla="*/ 738472 w 5631293"/>
                <a:gd name="connsiteY739" fmla="*/ 1986389 h 2729555"/>
                <a:gd name="connsiteX740" fmla="*/ 738472 w 5631293"/>
                <a:gd name="connsiteY740" fmla="*/ 1997301 h 2729555"/>
                <a:gd name="connsiteX741" fmla="*/ 736950 w 5631293"/>
                <a:gd name="connsiteY741" fmla="*/ 1996159 h 2729555"/>
                <a:gd name="connsiteX742" fmla="*/ 746212 w 5631293"/>
                <a:gd name="connsiteY742" fmla="*/ 1996159 h 2729555"/>
                <a:gd name="connsiteX743" fmla="*/ 746212 w 5631293"/>
                <a:gd name="connsiteY743" fmla="*/ 2002122 h 2729555"/>
                <a:gd name="connsiteX744" fmla="*/ 744690 w 5631293"/>
                <a:gd name="connsiteY744" fmla="*/ 2001107 h 2729555"/>
                <a:gd name="connsiteX745" fmla="*/ 748115 w 5631293"/>
                <a:gd name="connsiteY745" fmla="*/ 2001107 h 2729555"/>
                <a:gd name="connsiteX746" fmla="*/ 748115 w 5631293"/>
                <a:gd name="connsiteY746" fmla="*/ 2007071 h 2729555"/>
                <a:gd name="connsiteX747" fmla="*/ 746593 w 5631293"/>
                <a:gd name="connsiteY747" fmla="*/ 2005929 h 2729555"/>
                <a:gd name="connsiteX748" fmla="*/ 755855 w 5631293"/>
                <a:gd name="connsiteY748" fmla="*/ 2005929 h 2729555"/>
                <a:gd name="connsiteX749" fmla="*/ 755855 w 5631293"/>
                <a:gd name="connsiteY749" fmla="*/ 2011893 h 2729555"/>
                <a:gd name="connsiteX750" fmla="*/ 754333 w 5631293"/>
                <a:gd name="connsiteY750" fmla="*/ 2010750 h 2729555"/>
                <a:gd name="connsiteX751" fmla="*/ 769432 w 5631293"/>
                <a:gd name="connsiteY751" fmla="*/ 2010750 h 2729555"/>
                <a:gd name="connsiteX752" fmla="*/ 769432 w 5631293"/>
                <a:gd name="connsiteY752" fmla="*/ 2016714 h 2729555"/>
                <a:gd name="connsiteX753" fmla="*/ 767910 w 5631293"/>
                <a:gd name="connsiteY753" fmla="*/ 2015572 h 2729555"/>
                <a:gd name="connsiteX754" fmla="*/ 773366 w 5631293"/>
                <a:gd name="connsiteY754" fmla="*/ 2015572 h 2729555"/>
                <a:gd name="connsiteX755" fmla="*/ 773366 w 5631293"/>
                <a:gd name="connsiteY755" fmla="*/ 2026484 h 2729555"/>
                <a:gd name="connsiteX756" fmla="*/ 771843 w 5631293"/>
                <a:gd name="connsiteY756" fmla="*/ 2025342 h 2729555"/>
                <a:gd name="connsiteX757" fmla="*/ 775269 w 5631293"/>
                <a:gd name="connsiteY757" fmla="*/ 2025342 h 2729555"/>
                <a:gd name="connsiteX758" fmla="*/ 775269 w 5631293"/>
                <a:gd name="connsiteY758" fmla="*/ 2031306 h 2729555"/>
                <a:gd name="connsiteX759" fmla="*/ 773746 w 5631293"/>
                <a:gd name="connsiteY759" fmla="*/ 2030164 h 2729555"/>
                <a:gd name="connsiteX760" fmla="*/ 777172 w 5631293"/>
                <a:gd name="connsiteY760" fmla="*/ 2030164 h 2729555"/>
                <a:gd name="connsiteX761" fmla="*/ 777172 w 5631293"/>
                <a:gd name="connsiteY761" fmla="*/ 2036128 h 2729555"/>
                <a:gd name="connsiteX762" fmla="*/ 775650 w 5631293"/>
                <a:gd name="connsiteY762" fmla="*/ 2034986 h 2729555"/>
                <a:gd name="connsiteX763" fmla="*/ 798362 w 5631293"/>
                <a:gd name="connsiteY763" fmla="*/ 2034986 h 2729555"/>
                <a:gd name="connsiteX764" fmla="*/ 798362 w 5631293"/>
                <a:gd name="connsiteY764" fmla="*/ 2041076 h 2729555"/>
                <a:gd name="connsiteX765" fmla="*/ 796839 w 5631293"/>
                <a:gd name="connsiteY765" fmla="*/ 2039934 h 2729555"/>
                <a:gd name="connsiteX766" fmla="*/ 800392 w 5631293"/>
                <a:gd name="connsiteY766" fmla="*/ 2039934 h 2729555"/>
                <a:gd name="connsiteX767" fmla="*/ 800392 w 5631293"/>
                <a:gd name="connsiteY767" fmla="*/ 2050973 h 2729555"/>
                <a:gd name="connsiteX768" fmla="*/ 798869 w 5631293"/>
                <a:gd name="connsiteY768" fmla="*/ 2049831 h 2729555"/>
                <a:gd name="connsiteX769" fmla="*/ 802295 w 5631293"/>
                <a:gd name="connsiteY769" fmla="*/ 2049831 h 2729555"/>
                <a:gd name="connsiteX770" fmla="*/ 802295 w 5631293"/>
                <a:gd name="connsiteY770" fmla="*/ 2065819 h 2729555"/>
                <a:gd name="connsiteX771" fmla="*/ 800773 w 5631293"/>
                <a:gd name="connsiteY771" fmla="*/ 2064677 h 2729555"/>
                <a:gd name="connsiteX772" fmla="*/ 806102 w 5631293"/>
                <a:gd name="connsiteY772" fmla="*/ 2064677 h 2729555"/>
                <a:gd name="connsiteX773" fmla="*/ 806102 w 5631293"/>
                <a:gd name="connsiteY773" fmla="*/ 2070767 h 2729555"/>
                <a:gd name="connsiteX774" fmla="*/ 804579 w 5631293"/>
                <a:gd name="connsiteY774" fmla="*/ 2069625 h 2729555"/>
                <a:gd name="connsiteX775" fmla="*/ 808005 w 5631293"/>
                <a:gd name="connsiteY775" fmla="*/ 2069625 h 2729555"/>
                <a:gd name="connsiteX776" fmla="*/ 808005 w 5631293"/>
                <a:gd name="connsiteY776" fmla="*/ 2075716 h 2729555"/>
                <a:gd name="connsiteX777" fmla="*/ 806483 w 5631293"/>
                <a:gd name="connsiteY777" fmla="*/ 2074574 h 2729555"/>
                <a:gd name="connsiteX778" fmla="*/ 813969 w 5631293"/>
                <a:gd name="connsiteY778" fmla="*/ 2074574 h 2729555"/>
                <a:gd name="connsiteX779" fmla="*/ 813969 w 5631293"/>
                <a:gd name="connsiteY779" fmla="*/ 2080664 h 2729555"/>
                <a:gd name="connsiteX780" fmla="*/ 812446 w 5631293"/>
                <a:gd name="connsiteY780" fmla="*/ 2079522 h 2729555"/>
                <a:gd name="connsiteX781" fmla="*/ 817775 w 5631293"/>
                <a:gd name="connsiteY781" fmla="*/ 2079522 h 2729555"/>
                <a:gd name="connsiteX782" fmla="*/ 817775 w 5631293"/>
                <a:gd name="connsiteY782" fmla="*/ 2085613 h 2729555"/>
                <a:gd name="connsiteX783" fmla="*/ 816253 w 5631293"/>
                <a:gd name="connsiteY783" fmla="*/ 2084471 h 2729555"/>
                <a:gd name="connsiteX784" fmla="*/ 821709 w 5631293"/>
                <a:gd name="connsiteY784" fmla="*/ 2084471 h 2729555"/>
                <a:gd name="connsiteX785" fmla="*/ 821709 w 5631293"/>
                <a:gd name="connsiteY785" fmla="*/ 2090561 h 2729555"/>
                <a:gd name="connsiteX786" fmla="*/ 820186 w 5631293"/>
                <a:gd name="connsiteY786" fmla="*/ 2089419 h 2729555"/>
                <a:gd name="connsiteX787" fmla="*/ 825896 w 5631293"/>
                <a:gd name="connsiteY787" fmla="*/ 2089419 h 2729555"/>
                <a:gd name="connsiteX788" fmla="*/ 827926 w 5631293"/>
                <a:gd name="connsiteY788" fmla="*/ 2089419 h 2729555"/>
                <a:gd name="connsiteX789" fmla="*/ 844802 w 5631293"/>
                <a:gd name="connsiteY789" fmla="*/ 2089419 h 2729555"/>
                <a:gd name="connsiteX790" fmla="*/ 844802 w 5631293"/>
                <a:gd name="connsiteY790" fmla="*/ 2105788 h 2729555"/>
                <a:gd name="connsiteX791" fmla="*/ 843279 w 5631293"/>
                <a:gd name="connsiteY791" fmla="*/ 2104646 h 2729555"/>
                <a:gd name="connsiteX792" fmla="*/ 850639 w 5631293"/>
                <a:gd name="connsiteY792" fmla="*/ 2104646 h 2729555"/>
                <a:gd name="connsiteX793" fmla="*/ 850639 w 5631293"/>
                <a:gd name="connsiteY793" fmla="*/ 2110863 h 2729555"/>
                <a:gd name="connsiteX794" fmla="*/ 849116 w 5631293"/>
                <a:gd name="connsiteY794" fmla="*/ 2109721 h 2729555"/>
                <a:gd name="connsiteX795" fmla="*/ 852542 w 5631293"/>
                <a:gd name="connsiteY795" fmla="*/ 2109721 h 2729555"/>
                <a:gd name="connsiteX796" fmla="*/ 852542 w 5631293"/>
                <a:gd name="connsiteY796" fmla="*/ 2115939 h 2729555"/>
                <a:gd name="connsiteX797" fmla="*/ 851019 w 5631293"/>
                <a:gd name="connsiteY797" fmla="*/ 2114797 h 2729555"/>
                <a:gd name="connsiteX798" fmla="*/ 856475 w 5631293"/>
                <a:gd name="connsiteY798" fmla="*/ 2114797 h 2729555"/>
                <a:gd name="connsiteX799" fmla="*/ 856475 w 5631293"/>
                <a:gd name="connsiteY799" fmla="*/ 2126089 h 2729555"/>
                <a:gd name="connsiteX800" fmla="*/ 854953 w 5631293"/>
                <a:gd name="connsiteY800" fmla="*/ 2124947 h 2729555"/>
                <a:gd name="connsiteX801" fmla="*/ 860409 w 5631293"/>
                <a:gd name="connsiteY801" fmla="*/ 2124947 h 2729555"/>
                <a:gd name="connsiteX802" fmla="*/ 860409 w 5631293"/>
                <a:gd name="connsiteY802" fmla="*/ 2131165 h 2729555"/>
                <a:gd name="connsiteX803" fmla="*/ 858759 w 5631293"/>
                <a:gd name="connsiteY803" fmla="*/ 2130023 h 2729555"/>
                <a:gd name="connsiteX804" fmla="*/ 879695 w 5631293"/>
                <a:gd name="connsiteY804" fmla="*/ 2130023 h 2729555"/>
                <a:gd name="connsiteX805" fmla="*/ 879695 w 5631293"/>
                <a:gd name="connsiteY805" fmla="*/ 2136113 h 2729555"/>
                <a:gd name="connsiteX806" fmla="*/ 878173 w 5631293"/>
                <a:gd name="connsiteY806" fmla="*/ 2135098 h 2729555"/>
                <a:gd name="connsiteX807" fmla="*/ 887435 w 5631293"/>
                <a:gd name="connsiteY807" fmla="*/ 2135098 h 2729555"/>
                <a:gd name="connsiteX808" fmla="*/ 887435 w 5631293"/>
                <a:gd name="connsiteY808" fmla="*/ 2141189 h 2729555"/>
                <a:gd name="connsiteX809" fmla="*/ 885913 w 5631293"/>
                <a:gd name="connsiteY809" fmla="*/ 2140047 h 2729555"/>
                <a:gd name="connsiteX810" fmla="*/ 895175 w 5631293"/>
                <a:gd name="connsiteY810" fmla="*/ 2140047 h 2729555"/>
                <a:gd name="connsiteX811" fmla="*/ 895175 w 5631293"/>
                <a:gd name="connsiteY811" fmla="*/ 2151339 h 2729555"/>
                <a:gd name="connsiteX812" fmla="*/ 893653 w 5631293"/>
                <a:gd name="connsiteY812" fmla="*/ 2150324 h 2729555"/>
                <a:gd name="connsiteX813" fmla="*/ 897079 w 5631293"/>
                <a:gd name="connsiteY813" fmla="*/ 2150324 h 2729555"/>
                <a:gd name="connsiteX814" fmla="*/ 897079 w 5631293"/>
                <a:gd name="connsiteY814" fmla="*/ 2156415 h 2729555"/>
                <a:gd name="connsiteX815" fmla="*/ 895556 w 5631293"/>
                <a:gd name="connsiteY815" fmla="*/ 2155273 h 2729555"/>
                <a:gd name="connsiteX816" fmla="*/ 900885 w 5631293"/>
                <a:gd name="connsiteY816" fmla="*/ 2155273 h 2729555"/>
                <a:gd name="connsiteX817" fmla="*/ 900885 w 5631293"/>
                <a:gd name="connsiteY817" fmla="*/ 2161490 h 2729555"/>
                <a:gd name="connsiteX818" fmla="*/ 899363 w 5631293"/>
                <a:gd name="connsiteY818" fmla="*/ 2160348 h 2729555"/>
                <a:gd name="connsiteX819" fmla="*/ 920299 w 5631293"/>
                <a:gd name="connsiteY819" fmla="*/ 2160348 h 2729555"/>
                <a:gd name="connsiteX820" fmla="*/ 920299 w 5631293"/>
                <a:gd name="connsiteY820" fmla="*/ 2166566 h 2729555"/>
                <a:gd name="connsiteX821" fmla="*/ 918776 w 5631293"/>
                <a:gd name="connsiteY821" fmla="*/ 2165424 h 2729555"/>
                <a:gd name="connsiteX822" fmla="*/ 933875 w 5631293"/>
                <a:gd name="connsiteY822" fmla="*/ 2165424 h 2729555"/>
                <a:gd name="connsiteX823" fmla="*/ 933875 w 5631293"/>
                <a:gd name="connsiteY823" fmla="*/ 2171514 h 2729555"/>
                <a:gd name="connsiteX824" fmla="*/ 932353 w 5631293"/>
                <a:gd name="connsiteY824" fmla="*/ 2170499 h 2729555"/>
                <a:gd name="connsiteX825" fmla="*/ 935779 w 5631293"/>
                <a:gd name="connsiteY825" fmla="*/ 2170499 h 2729555"/>
                <a:gd name="connsiteX826" fmla="*/ 935779 w 5631293"/>
                <a:gd name="connsiteY826" fmla="*/ 2176716 h 2729555"/>
                <a:gd name="connsiteX827" fmla="*/ 934256 w 5631293"/>
                <a:gd name="connsiteY827" fmla="*/ 2175575 h 2729555"/>
                <a:gd name="connsiteX828" fmla="*/ 958999 w 5631293"/>
                <a:gd name="connsiteY828" fmla="*/ 2175575 h 2729555"/>
                <a:gd name="connsiteX829" fmla="*/ 958999 w 5631293"/>
                <a:gd name="connsiteY829" fmla="*/ 2181792 h 2729555"/>
                <a:gd name="connsiteX830" fmla="*/ 957476 w 5631293"/>
                <a:gd name="connsiteY830" fmla="*/ 2180650 h 2729555"/>
                <a:gd name="connsiteX831" fmla="*/ 961029 w 5631293"/>
                <a:gd name="connsiteY831" fmla="*/ 2180650 h 2729555"/>
                <a:gd name="connsiteX832" fmla="*/ 961029 w 5631293"/>
                <a:gd name="connsiteY832" fmla="*/ 2186740 h 2729555"/>
                <a:gd name="connsiteX833" fmla="*/ 959506 w 5631293"/>
                <a:gd name="connsiteY833" fmla="*/ 2185725 h 2729555"/>
                <a:gd name="connsiteX834" fmla="*/ 966739 w 5631293"/>
                <a:gd name="connsiteY834" fmla="*/ 2185725 h 2729555"/>
                <a:gd name="connsiteX835" fmla="*/ 966739 w 5631293"/>
                <a:gd name="connsiteY835" fmla="*/ 2191816 h 2729555"/>
                <a:gd name="connsiteX836" fmla="*/ 965216 w 5631293"/>
                <a:gd name="connsiteY836" fmla="*/ 2190674 h 2729555"/>
                <a:gd name="connsiteX837" fmla="*/ 976382 w 5631293"/>
                <a:gd name="connsiteY837" fmla="*/ 2190674 h 2729555"/>
                <a:gd name="connsiteX838" fmla="*/ 976382 w 5631293"/>
                <a:gd name="connsiteY838" fmla="*/ 2196891 h 2729555"/>
                <a:gd name="connsiteX839" fmla="*/ 974859 w 5631293"/>
                <a:gd name="connsiteY839" fmla="*/ 2195749 h 2729555"/>
                <a:gd name="connsiteX840" fmla="*/ 982219 w 5631293"/>
                <a:gd name="connsiteY840" fmla="*/ 2195749 h 2729555"/>
                <a:gd name="connsiteX841" fmla="*/ 982219 w 5631293"/>
                <a:gd name="connsiteY841" fmla="*/ 2201967 h 2729555"/>
                <a:gd name="connsiteX842" fmla="*/ 980696 w 5631293"/>
                <a:gd name="connsiteY842" fmla="*/ 2200825 h 2729555"/>
                <a:gd name="connsiteX843" fmla="*/ 984503 w 5631293"/>
                <a:gd name="connsiteY843" fmla="*/ 2200825 h 2729555"/>
                <a:gd name="connsiteX844" fmla="*/ 988055 w 5631293"/>
                <a:gd name="connsiteY844" fmla="*/ 2200825 h 2729555"/>
                <a:gd name="connsiteX845" fmla="*/ 988055 w 5631293"/>
                <a:gd name="connsiteY845" fmla="*/ 2207042 h 2729555"/>
                <a:gd name="connsiteX846" fmla="*/ 986533 w 5631293"/>
                <a:gd name="connsiteY846" fmla="*/ 2205900 h 2729555"/>
                <a:gd name="connsiteX847" fmla="*/ 997699 w 5631293"/>
                <a:gd name="connsiteY847" fmla="*/ 2205900 h 2729555"/>
                <a:gd name="connsiteX848" fmla="*/ 997699 w 5631293"/>
                <a:gd name="connsiteY848" fmla="*/ 2217193 h 2729555"/>
                <a:gd name="connsiteX849" fmla="*/ 996176 w 5631293"/>
                <a:gd name="connsiteY849" fmla="*/ 2216051 h 2729555"/>
                <a:gd name="connsiteX850" fmla="*/ 1015082 w 5631293"/>
                <a:gd name="connsiteY850" fmla="*/ 2216051 h 2729555"/>
                <a:gd name="connsiteX851" fmla="*/ 1015082 w 5631293"/>
                <a:gd name="connsiteY851" fmla="*/ 2222395 h 2729555"/>
                <a:gd name="connsiteX852" fmla="*/ 1013559 w 5631293"/>
                <a:gd name="connsiteY852" fmla="*/ 2221253 h 2729555"/>
                <a:gd name="connsiteX853" fmla="*/ 1024725 w 5631293"/>
                <a:gd name="connsiteY853" fmla="*/ 2221253 h 2729555"/>
                <a:gd name="connsiteX854" fmla="*/ 1024725 w 5631293"/>
                <a:gd name="connsiteY854" fmla="*/ 2227344 h 2729555"/>
                <a:gd name="connsiteX855" fmla="*/ 1023203 w 5631293"/>
                <a:gd name="connsiteY855" fmla="*/ 2226329 h 2729555"/>
                <a:gd name="connsiteX856" fmla="*/ 1026755 w 5631293"/>
                <a:gd name="connsiteY856" fmla="*/ 2226329 h 2729555"/>
                <a:gd name="connsiteX857" fmla="*/ 1026755 w 5631293"/>
                <a:gd name="connsiteY857" fmla="*/ 2232546 h 2729555"/>
                <a:gd name="connsiteX858" fmla="*/ 1025233 w 5631293"/>
                <a:gd name="connsiteY858" fmla="*/ 2231404 h 2729555"/>
                <a:gd name="connsiteX859" fmla="*/ 1032465 w 5631293"/>
                <a:gd name="connsiteY859" fmla="*/ 2231404 h 2729555"/>
                <a:gd name="connsiteX860" fmla="*/ 1032465 w 5631293"/>
                <a:gd name="connsiteY860" fmla="*/ 2237621 h 2729555"/>
                <a:gd name="connsiteX861" fmla="*/ 1030943 w 5631293"/>
                <a:gd name="connsiteY861" fmla="*/ 2236479 h 2729555"/>
                <a:gd name="connsiteX862" fmla="*/ 1038302 w 5631293"/>
                <a:gd name="connsiteY862" fmla="*/ 2236479 h 2729555"/>
                <a:gd name="connsiteX863" fmla="*/ 1038302 w 5631293"/>
                <a:gd name="connsiteY863" fmla="*/ 2242697 h 2729555"/>
                <a:gd name="connsiteX864" fmla="*/ 1036779 w 5631293"/>
                <a:gd name="connsiteY864" fmla="*/ 2241555 h 2729555"/>
                <a:gd name="connsiteX865" fmla="*/ 1044519 w 5631293"/>
                <a:gd name="connsiteY865" fmla="*/ 2241555 h 2729555"/>
                <a:gd name="connsiteX866" fmla="*/ 1059619 w 5631293"/>
                <a:gd name="connsiteY866" fmla="*/ 2241555 h 2729555"/>
                <a:gd name="connsiteX867" fmla="*/ 1059619 w 5631293"/>
                <a:gd name="connsiteY867" fmla="*/ 2247899 h 2729555"/>
                <a:gd name="connsiteX868" fmla="*/ 1058096 w 5631293"/>
                <a:gd name="connsiteY868" fmla="*/ 2246757 h 2729555"/>
                <a:gd name="connsiteX869" fmla="*/ 1063933 w 5631293"/>
                <a:gd name="connsiteY869" fmla="*/ 2246757 h 2729555"/>
                <a:gd name="connsiteX870" fmla="*/ 1073195 w 5631293"/>
                <a:gd name="connsiteY870" fmla="*/ 2246757 h 2729555"/>
                <a:gd name="connsiteX871" fmla="*/ 1073195 w 5631293"/>
                <a:gd name="connsiteY871" fmla="*/ 2252975 h 2729555"/>
                <a:gd name="connsiteX872" fmla="*/ 1071673 w 5631293"/>
                <a:gd name="connsiteY872" fmla="*/ 2251832 h 2729555"/>
                <a:gd name="connsiteX873" fmla="*/ 1090452 w 5631293"/>
                <a:gd name="connsiteY873" fmla="*/ 2251832 h 2729555"/>
                <a:gd name="connsiteX874" fmla="*/ 1090452 w 5631293"/>
                <a:gd name="connsiteY874" fmla="*/ 2258177 h 2729555"/>
                <a:gd name="connsiteX875" fmla="*/ 1088929 w 5631293"/>
                <a:gd name="connsiteY875" fmla="*/ 2257162 h 2729555"/>
                <a:gd name="connsiteX876" fmla="*/ 1100730 w 5631293"/>
                <a:gd name="connsiteY876" fmla="*/ 2257162 h 2729555"/>
                <a:gd name="connsiteX877" fmla="*/ 1113799 w 5631293"/>
                <a:gd name="connsiteY877" fmla="*/ 2257162 h 2729555"/>
                <a:gd name="connsiteX878" fmla="*/ 1113799 w 5631293"/>
                <a:gd name="connsiteY878" fmla="*/ 2263379 h 2729555"/>
                <a:gd name="connsiteX879" fmla="*/ 1112276 w 5631293"/>
                <a:gd name="connsiteY879" fmla="*/ 2262237 h 2729555"/>
                <a:gd name="connsiteX880" fmla="*/ 1120016 w 5631293"/>
                <a:gd name="connsiteY880" fmla="*/ 2262237 h 2729555"/>
                <a:gd name="connsiteX881" fmla="*/ 1134989 w 5631293"/>
                <a:gd name="connsiteY881" fmla="*/ 2262237 h 2729555"/>
                <a:gd name="connsiteX882" fmla="*/ 1134989 w 5631293"/>
                <a:gd name="connsiteY882" fmla="*/ 2268581 h 2729555"/>
                <a:gd name="connsiteX883" fmla="*/ 1133466 w 5631293"/>
                <a:gd name="connsiteY883" fmla="*/ 2267440 h 2729555"/>
                <a:gd name="connsiteX884" fmla="*/ 1136892 w 5631293"/>
                <a:gd name="connsiteY884" fmla="*/ 2267440 h 2729555"/>
                <a:gd name="connsiteX885" fmla="*/ 1136892 w 5631293"/>
                <a:gd name="connsiteY885" fmla="*/ 2273911 h 2729555"/>
                <a:gd name="connsiteX886" fmla="*/ 1135369 w 5631293"/>
                <a:gd name="connsiteY886" fmla="*/ 2272769 h 2729555"/>
                <a:gd name="connsiteX887" fmla="*/ 1140825 w 5631293"/>
                <a:gd name="connsiteY887" fmla="*/ 2272769 h 2729555"/>
                <a:gd name="connsiteX888" fmla="*/ 1140825 w 5631293"/>
                <a:gd name="connsiteY888" fmla="*/ 2279113 h 2729555"/>
                <a:gd name="connsiteX889" fmla="*/ 1139303 w 5631293"/>
                <a:gd name="connsiteY889" fmla="*/ 2277971 h 2729555"/>
                <a:gd name="connsiteX890" fmla="*/ 1142729 w 5631293"/>
                <a:gd name="connsiteY890" fmla="*/ 2277971 h 2729555"/>
                <a:gd name="connsiteX891" fmla="*/ 1142729 w 5631293"/>
                <a:gd name="connsiteY891" fmla="*/ 2284315 h 2729555"/>
                <a:gd name="connsiteX892" fmla="*/ 1141206 w 5631293"/>
                <a:gd name="connsiteY892" fmla="*/ 2283300 h 2729555"/>
                <a:gd name="connsiteX893" fmla="*/ 1167979 w 5631293"/>
                <a:gd name="connsiteY893" fmla="*/ 2283300 h 2729555"/>
                <a:gd name="connsiteX894" fmla="*/ 1167979 w 5631293"/>
                <a:gd name="connsiteY894" fmla="*/ 2289644 h 2729555"/>
                <a:gd name="connsiteX895" fmla="*/ 1166456 w 5631293"/>
                <a:gd name="connsiteY895" fmla="*/ 2288502 h 2729555"/>
                <a:gd name="connsiteX896" fmla="*/ 1169882 w 5631293"/>
                <a:gd name="connsiteY896" fmla="*/ 2288502 h 2729555"/>
                <a:gd name="connsiteX897" fmla="*/ 1169882 w 5631293"/>
                <a:gd name="connsiteY897" fmla="*/ 2294847 h 2729555"/>
                <a:gd name="connsiteX898" fmla="*/ 1168359 w 5631293"/>
                <a:gd name="connsiteY898" fmla="*/ 2293705 h 2729555"/>
                <a:gd name="connsiteX899" fmla="*/ 1179906 w 5631293"/>
                <a:gd name="connsiteY899" fmla="*/ 2293705 h 2729555"/>
                <a:gd name="connsiteX900" fmla="*/ 1192975 w 5631293"/>
                <a:gd name="connsiteY900" fmla="*/ 2293705 h 2729555"/>
                <a:gd name="connsiteX901" fmla="*/ 1192975 w 5631293"/>
                <a:gd name="connsiteY901" fmla="*/ 2300176 h 2729555"/>
                <a:gd name="connsiteX902" fmla="*/ 1191452 w 5631293"/>
                <a:gd name="connsiteY902" fmla="*/ 2299034 h 2729555"/>
                <a:gd name="connsiteX903" fmla="*/ 1214799 w 5631293"/>
                <a:gd name="connsiteY903" fmla="*/ 2299034 h 2729555"/>
                <a:gd name="connsiteX904" fmla="*/ 1243349 w 5631293"/>
                <a:gd name="connsiteY904" fmla="*/ 2299034 h 2729555"/>
                <a:gd name="connsiteX905" fmla="*/ 1243349 w 5631293"/>
                <a:gd name="connsiteY905" fmla="*/ 2305505 h 2729555"/>
                <a:gd name="connsiteX906" fmla="*/ 1241826 w 5631293"/>
                <a:gd name="connsiteY906" fmla="*/ 2304363 h 2729555"/>
                <a:gd name="connsiteX907" fmla="*/ 1247282 w 5631293"/>
                <a:gd name="connsiteY907" fmla="*/ 2304363 h 2729555"/>
                <a:gd name="connsiteX908" fmla="*/ 1247282 w 5631293"/>
                <a:gd name="connsiteY908" fmla="*/ 2310834 h 2729555"/>
                <a:gd name="connsiteX909" fmla="*/ 1245759 w 5631293"/>
                <a:gd name="connsiteY909" fmla="*/ 2309692 h 2729555"/>
                <a:gd name="connsiteX910" fmla="*/ 1249185 w 5631293"/>
                <a:gd name="connsiteY910" fmla="*/ 2309692 h 2729555"/>
                <a:gd name="connsiteX911" fmla="*/ 1249185 w 5631293"/>
                <a:gd name="connsiteY911" fmla="*/ 2316163 h 2729555"/>
                <a:gd name="connsiteX912" fmla="*/ 1247663 w 5631293"/>
                <a:gd name="connsiteY912" fmla="*/ 2315021 h 2729555"/>
                <a:gd name="connsiteX913" fmla="*/ 1251215 w 5631293"/>
                <a:gd name="connsiteY913" fmla="*/ 2315021 h 2729555"/>
                <a:gd name="connsiteX914" fmla="*/ 1251215 w 5631293"/>
                <a:gd name="connsiteY914" fmla="*/ 2321493 h 2729555"/>
                <a:gd name="connsiteX915" fmla="*/ 1249693 w 5631293"/>
                <a:gd name="connsiteY915" fmla="*/ 2320351 h 2729555"/>
                <a:gd name="connsiteX916" fmla="*/ 1263143 w 5631293"/>
                <a:gd name="connsiteY916" fmla="*/ 2320351 h 2729555"/>
                <a:gd name="connsiteX917" fmla="*/ 1266569 w 5631293"/>
                <a:gd name="connsiteY917" fmla="*/ 2320351 h 2729555"/>
                <a:gd name="connsiteX918" fmla="*/ 1266569 w 5631293"/>
                <a:gd name="connsiteY918" fmla="*/ 2326822 h 2729555"/>
                <a:gd name="connsiteX919" fmla="*/ 1265046 w 5631293"/>
                <a:gd name="connsiteY919" fmla="*/ 2325680 h 2729555"/>
                <a:gd name="connsiteX920" fmla="*/ 1291692 w 5631293"/>
                <a:gd name="connsiteY920" fmla="*/ 2325680 h 2729555"/>
                <a:gd name="connsiteX921" fmla="*/ 1291692 w 5631293"/>
                <a:gd name="connsiteY921" fmla="*/ 2332278 h 2729555"/>
                <a:gd name="connsiteX922" fmla="*/ 1290169 w 5631293"/>
                <a:gd name="connsiteY922" fmla="*/ 2331136 h 2729555"/>
                <a:gd name="connsiteX923" fmla="*/ 1295625 w 5631293"/>
                <a:gd name="connsiteY923" fmla="*/ 2331136 h 2729555"/>
                <a:gd name="connsiteX924" fmla="*/ 1295625 w 5631293"/>
                <a:gd name="connsiteY924" fmla="*/ 2343063 h 2729555"/>
                <a:gd name="connsiteX925" fmla="*/ 1294103 w 5631293"/>
                <a:gd name="connsiteY925" fmla="*/ 2341921 h 2729555"/>
                <a:gd name="connsiteX926" fmla="*/ 1309202 w 5631293"/>
                <a:gd name="connsiteY926" fmla="*/ 2341921 h 2729555"/>
                <a:gd name="connsiteX927" fmla="*/ 1309202 w 5631293"/>
                <a:gd name="connsiteY927" fmla="*/ 2348392 h 2729555"/>
                <a:gd name="connsiteX928" fmla="*/ 1307679 w 5631293"/>
                <a:gd name="connsiteY928" fmla="*/ 2347250 h 2729555"/>
                <a:gd name="connsiteX929" fmla="*/ 1315419 w 5631293"/>
                <a:gd name="connsiteY929" fmla="*/ 2347250 h 2729555"/>
                <a:gd name="connsiteX930" fmla="*/ 1332295 w 5631293"/>
                <a:gd name="connsiteY930" fmla="*/ 2347250 h 2729555"/>
                <a:gd name="connsiteX931" fmla="*/ 1332295 w 5631293"/>
                <a:gd name="connsiteY931" fmla="*/ 2353848 h 2729555"/>
                <a:gd name="connsiteX932" fmla="*/ 1330773 w 5631293"/>
                <a:gd name="connsiteY932" fmla="*/ 2352706 h 2729555"/>
                <a:gd name="connsiteX933" fmla="*/ 1347902 w 5631293"/>
                <a:gd name="connsiteY933" fmla="*/ 2352706 h 2729555"/>
                <a:gd name="connsiteX934" fmla="*/ 1347902 w 5631293"/>
                <a:gd name="connsiteY934" fmla="*/ 2359304 h 2729555"/>
                <a:gd name="connsiteX935" fmla="*/ 1346379 w 5631293"/>
                <a:gd name="connsiteY935" fmla="*/ 2358162 h 2729555"/>
                <a:gd name="connsiteX936" fmla="*/ 1359449 w 5631293"/>
                <a:gd name="connsiteY936" fmla="*/ 2358162 h 2729555"/>
                <a:gd name="connsiteX937" fmla="*/ 1359449 w 5631293"/>
                <a:gd name="connsiteY937" fmla="*/ 2364633 h 2729555"/>
                <a:gd name="connsiteX938" fmla="*/ 1357926 w 5631293"/>
                <a:gd name="connsiteY938" fmla="*/ 2363492 h 2729555"/>
                <a:gd name="connsiteX939" fmla="*/ 1365666 w 5631293"/>
                <a:gd name="connsiteY939" fmla="*/ 2363492 h 2729555"/>
                <a:gd name="connsiteX940" fmla="*/ 1374929 w 5631293"/>
                <a:gd name="connsiteY940" fmla="*/ 2363492 h 2729555"/>
                <a:gd name="connsiteX941" fmla="*/ 1374929 w 5631293"/>
                <a:gd name="connsiteY941" fmla="*/ 2370216 h 2729555"/>
                <a:gd name="connsiteX942" fmla="*/ 1373406 w 5631293"/>
                <a:gd name="connsiteY942" fmla="*/ 2369075 h 2729555"/>
                <a:gd name="connsiteX943" fmla="*/ 1378735 w 5631293"/>
                <a:gd name="connsiteY943" fmla="*/ 2369075 h 2729555"/>
                <a:gd name="connsiteX944" fmla="*/ 1378735 w 5631293"/>
                <a:gd name="connsiteY944" fmla="*/ 2375673 h 2729555"/>
                <a:gd name="connsiteX945" fmla="*/ 1377212 w 5631293"/>
                <a:gd name="connsiteY945" fmla="*/ 2374531 h 2729555"/>
                <a:gd name="connsiteX946" fmla="*/ 1392439 w 5631293"/>
                <a:gd name="connsiteY946" fmla="*/ 2374531 h 2729555"/>
                <a:gd name="connsiteX947" fmla="*/ 1392439 w 5631293"/>
                <a:gd name="connsiteY947" fmla="*/ 2381256 h 2729555"/>
                <a:gd name="connsiteX948" fmla="*/ 1390916 w 5631293"/>
                <a:gd name="connsiteY948" fmla="*/ 2380113 h 2729555"/>
                <a:gd name="connsiteX949" fmla="*/ 1392819 w 5631293"/>
                <a:gd name="connsiteY949" fmla="*/ 2380113 h 2729555"/>
                <a:gd name="connsiteX950" fmla="*/ 1396626 w 5631293"/>
                <a:gd name="connsiteY950" fmla="*/ 2380113 h 2729555"/>
                <a:gd name="connsiteX951" fmla="*/ 1402463 w 5631293"/>
                <a:gd name="connsiteY951" fmla="*/ 2380113 h 2729555"/>
                <a:gd name="connsiteX952" fmla="*/ 1410203 w 5631293"/>
                <a:gd name="connsiteY952" fmla="*/ 2380113 h 2729555"/>
                <a:gd name="connsiteX953" fmla="*/ 1415532 w 5631293"/>
                <a:gd name="connsiteY953" fmla="*/ 2380113 h 2729555"/>
                <a:gd name="connsiteX954" fmla="*/ 1415532 w 5631293"/>
                <a:gd name="connsiteY954" fmla="*/ 2386965 h 2729555"/>
                <a:gd name="connsiteX955" fmla="*/ 1414009 w 5631293"/>
                <a:gd name="connsiteY955" fmla="*/ 2385823 h 2729555"/>
                <a:gd name="connsiteX956" fmla="*/ 1425175 w 5631293"/>
                <a:gd name="connsiteY956" fmla="*/ 2385823 h 2729555"/>
                <a:gd name="connsiteX957" fmla="*/ 1425175 w 5631293"/>
                <a:gd name="connsiteY957" fmla="*/ 2392675 h 2729555"/>
                <a:gd name="connsiteX958" fmla="*/ 1423653 w 5631293"/>
                <a:gd name="connsiteY958" fmla="*/ 2391533 h 2729555"/>
                <a:gd name="connsiteX959" fmla="*/ 1450806 w 5631293"/>
                <a:gd name="connsiteY959" fmla="*/ 2391533 h 2729555"/>
                <a:gd name="connsiteX960" fmla="*/ 1461972 w 5631293"/>
                <a:gd name="connsiteY960" fmla="*/ 2391533 h 2729555"/>
                <a:gd name="connsiteX961" fmla="*/ 1461972 w 5631293"/>
                <a:gd name="connsiteY961" fmla="*/ 2404349 h 2729555"/>
                <a:gd name="connsiteX962" fmla="*/ 1460449 w 5631293"/>
                <a:gd name="connsiteY962" fmla="*/ 2403207 h 2729555"/>
                <a:gd name="connsiteX963" fmla="*/ 1494962 w 5631293"/>
                <a:gd name="connsiteY963" fmla="*/ 2403207 h 2729555"/>
                <a:gd name="connsiteX964" fmla="*/ 1494962 w 5631293"/>
                <a:gd name="connsiteY964" fmla="*/ 2410185 h 2729555"/>
                <a:gd name="connsiteX965" fmla="*/ 1493439 w 5631293"/>
                <a:gd name="connsiteY965" fmla="*/ 2409043 h 2729555"/>
                <a:gd name="connsiteX966" fmla="*/ 1506509 w 5631293"/>
                <a:gd name="connsiteY966" fmla="*/ 2409043 h 2729555"/>
                <a:gd name="connsiteX967" fmla="*/ 1506509 w 5631293"/>
                <a:gd name="connsiteY967" fmla="*/ 2415895 h 2729555"/>
                <a:gd name="connsiteX968" fmla="*/ 1504986 w 5631293"/>
                <a:gd name="connsiteY968" fmla="*/ 2414880 h 2729555"/>
                <a:gd name="connsiteX969" fmla="*/ 1521862 w 5631293"/>
                <a:gd name="connsiteY969" fmla="*/ 2414880 h 2729555"/>
                <a:gd name="connsiteX970" fmla="*/ 1521862 w 5631293"/>
                <a:gd name="connsiteY970" fmla="*/ 2421859 h 2729555"/>
                <a:gd name="connsiteX971" fmla="*/ 1520339 w 5631293"/>
                <a:gd name="connsiteY971" fmla="*/ 2420717 h 2729555"/>
                <a:gd name="connsiteX972" fmla="*/ 1533662 w 5631293"/>
                <a:gd name="connsiteY972" fmla="*/ 2420717 h 2729555"/>
                <a:gd name="connsiteX973" fmla="*/ 1533662 w 5631293"/>
                <a:gd name="connsiteY973" fmla="*/ 2433405 h 2729555"/>
                <a:gd name="connsiteX974" fmla="*/ 1532012 w 5631293"/>
                <a:gd name="connsiteY974" fmla="*/ 2432263 h 2729555"/>
                <a:gd name="connsiteX975" fmla="*/ 1557136 w 5631293"/>
                <a:gd name="connsiteY975" fmla="*/ 2432263 h 2729555"/>
                <a:gd name="connsiteX976" fmla="*/ 1568302 w 5631293"/>
                <a:gd name="connsiteY976" fmla="*/ 2432263 h 2729555"/>
                <a:gd name="connsiteX977" fmla="*/ 1568302 w 5631293"/>
                <a:gd name="connsiteY977" fmla="*/ 2439242 h 2729555"/>
                <a:gd name="connsiteX978" fmla="*/ 1566779 w 5631293"/>
                <a:gd name="connsiteY978" fmla="*/ 2438227 h 2729555"/>
                <a:gd name="connsiteX979" fmla="*/ 1587715 w 5631293"/>
                <a:gd name="connsiteY979" fmla="*/ 2438227 h 2729555"/>
                <a:gd name="connsiteX980" fmla="*/ 1587715 w 5631293"/>
                <a:gd name="connsiteY980" fmla="*/ 2445206 h 2729555"/>
                <a:gd name="connsiteX981" fmla="*/ 1586192 w 5631293"/>
                <a:gd name="connsiteY981" fmla="*/ 2444191 h 2729555"/>
                <a:gd name="connsiteX982" fmla="*/ 1588223 w 5631293"/>
                <a:gd name="connsiteY982" fmla="*/ 2444191 h 2729555"/>
                <a:gd name="connsiteX983" fmla="*/ 1599388 w 5631293"/>
                <a:gd name="connsiteY983" fmla="*/ 2444191 h 2729555"/>
                <a:gd name="connsiteX984" fmla="*/ 1599388 w 5631293"/>
                <a:gd name="connsiteY984" fmla="*/ 2457260 h 2729555"/>
                <a:gd name="connsiteX985" fmla="*/ 1597866 w 5631293"/>
                <a:gd name="connsiteY985" fmla="*/ 2456245 h 2729555"/>
                <a:gd name="connsiteX986" fmla="*/ 1601292 w 5631293"/>
                <a:gd name="connsiteY986" fmla="*/ 2456245 h 2729555"/>
                <a:gd name="connsiteX987" fmla="*/ 1601292 w 5631293"/>
                <a:gd name="connsiteY987" fmla="*/ 2463223 h 2729555"/>
                <a:gd name="connsiteX988" fmla="*/ 1599769 w 5631293"/>
                <a:gd name="connsiteY988" fmla="*/ 2462208 h 2729555"/>
                <a:gd name="connsiteX989" fmla="*/ 1609412 w 5631293"/>
                <a:gd name="connsiteY989" fmla="*/ 2462208 h 2729555"/>
                <a:gd name="connsiteX990" fmla="*/ 1626796 w 5631293"/>
                <a:gd name="connsiteY990" fmla="*/ 2462208 h 2729555"/>
                <a:gd name="connsiteX991" fmla="*/ 1630348 w 5631293"/>
                <a:gd name="connsiteY991" fmla="*/ 2462208 h 2729555"/>
                <a:gd name="connsiteX992" fmla="*/ 1630348 w 5631293"/>
                <a:gd name="connsiteY992" fmla="*/ 2469441 h 2729555"/>
                <a:gd name="connsiteX993" fmla="*/ 1628699 w 5631293"/>
                <a:gd name="connsiteY993" fmla="*/ 2468299 h 2729555"/>
                <a:gd name="connsiteX994" fmla="*/ 1632252 w 5631293"/>
                <a:gd name="connsiteY994" fmla="*/ 2468299 h 2729555"/>
                <a:gd name="connsiteX995" fmla="*/ 1632252 w 5631293"/>
                <a:gd name="connsiteY995" fmla="*/ 2475658 h 2729555"/>
                <a:gd name="connsiteX996" fmla="*/ 1630729 w 5631293"/>
                <a:gd name="connsiteY996" fmla="*/ 2474516 h 2729555"/>
                <a:gd name="connsiteX997" fmla="*/ 1653949 w 5631293"/>
                <a:gd name="connsiteY997" fmla="*/ 2474516 h 2729555"/>
                <a:gd name="connsiteX998" fmla="*/ 1655853 w 5631293"/>
                <a:gd name="connsiteY998" fmla="*/ 2474516 h 2729555"/>
                <a:gd name="connsiteX999" fmla="*/ 1663593 w 5631293"/>
                <a:gd name="connsiteY999" fmla="*/ 2474516 h 2729555"/>
                <a:gd name="connsiteX1000" fmla="*/ 1733252 w 5631293"/>
                <a:gd name="connsiteY1000" fmla="*/ 2474516 h 2729555"/>
                <a:gd name="connsiteX1001" fmla="*/ 1755965 w 5631293"/>
                <a:gd name="connsiteY1001" fmla="*/ 2474516 h 2729555"/>
                <a:gd name="connsiteX1002" fmla="*/ 1755965 w 5631293"/>
                <a:gd name="connsiteY1002" fmla="*/ 2482129 h 2729555"/>
                <a:gd name="connsiteX1003" fmla="*/ 1754442 w 5631293"/>
                <a:gd name="connsiteY1003" fmla="*/ 2480987 h 2729555"/>
                <a:gd name="connsiteX1004" fmla="*/ 1792762 w 5631293"/>
                <a:gd name="connsiteY1004" fmla="*/ 2480987 h 2729555"/>
                <a:gd name="connsiteX1005" fmla="*/ 1792762 w 5631293"/>
                <a:gd name="connsiteY1005" fmla="*/ 2488727 h 2729555"/>
                <a:gd name="connsiteX1006" fmla="*/ 1791239 w 5631293"/>
                <a:gd name="connsiteY1006" fmla="*/ 2487585 h 2729555"/>
                <a:gd name="connsiteX1007" fmla="*/ 1800502 w 5631293"/>
                <a:gd name="connsiteY1007" fmla="*/ 2487585 h 2729555"/>
                <a:gd name="connsiteX1008" fmla="*/ 1800502 w 5631293"/>
                <a:gd name="connsiteY1008" fmla="*/ 2495072 h 2729555"/>
                <a:gd name="connsiteX1009" fmla="*/ 1798979 w 5631293"/>
                <a:gd name="connsiteY1009" fmla="*/ 2494057 h 2729555"/>
                <a:gd name="connsiteX1010" fmla="*/ 1810145 w 5631293"/>
                <a:gd name="connsiteY1010" fmla="*/ 2494057 h 2729555"/>
                <a:gd name="connsiteX1011" fmla="*/ 1810145 w 5631293"/>
                <a:gd name="connsiteY1011" fmla="*/ 2501670 h 2729555"/>
                <a:gd name="connsiteX1012" fmla="*/ 1808622 w 5631293"/>
                <a:gd name="connsiteY1012" fmla="*/ 2500528 h 2729555"/>
                <a:gd name="connsiteX1013" fmla="*/ 1845038 w 5631293"/>
                <a:gd name="connsiteY1013" fmla="*/ 2500528 h 2729555"/>
                <a:gd name="connsiteX1014" fmla="*/ 1845038 w 5631293"/>
                <a:gd name="connsiteY1014" fmla="*/ 2508141 h 2729555"/>
                <a:gd name="connsiteX1015" fmla="*/ 1843516 w 5631293"/>
                <a:gd name="connsiteY1015" fmla="*/ 2507126 h 2729555"/>
                <a:gd name="connsiteX1016" fmla="*/ 1866228 w 5631293"/>
                <a:gd name="connsiteY1016" fmla="*/ 2507126 h 2729555"/>
                <a:gd name="connsiteX1017" fmla="*/ 1866228 w 5631293"/>
                <a:gd name="connsiteY1017" fmla="*/ 2514612 h 2729555"/>
                <a:gd name="connsiteX1018" fmla="*/ 1864706 w 5631293"/>
                <a:gd name="connsiteY1018" fmla="*/ 2513470 h 2729555"/>
                <a:gd name="connsiteX1019" fmla="*/ 1876379 w 5631293"/>
                <a:gd name="connsiteY1019" fmla="*/ 2513470 h 2729555"/>
                <a:gd name="connsiteX1020" fmla="*/ 1885642 w 5631293"/>
                <a:gd name="connsiteY1020" fmla="*/ 2513470 h 2729555"/>
                <a:gd name="connsiteX1021" fmla="*/ 1885642 w 5631293"/>
                <a:gd name="connsiteY1021" fmla="*/ 2521210 h 2729555"/>
                <a:gd name="connsiteX1022" fmla="*/ 1884119 w 5631293"/>
                <a:gd name="connsiteY1022" fmla="*/ 2520195 h 2729555"/>
                <a:gd name="connsiteX1023" fmla="*/ 1899218 w 5631293"/>
                <a:gd name="connsiteY1023" fmla="*/ 2520195 h 2729555"/>
                <a:gd name="connsiteX1024" fmla="*/ 1899218 w 5631293"/>
                <a:gd name="connsiteY1024" fmla="*/ 2527935 h 2729555"/>
                <a:gd name="connsiteX1025" fmla="*/ 1897696 w 5631293"/>
                <a:gd name="connsiteY1025" fmla="*/ 2526793 h 2729555"/>
                <a:gd name="connsiteX1026" fmla="*/ 1899599 w 5631293"/>
                <a:gd name="connsiteY1026" fmla="*/ 2526793 h 2729555"/>
                <a:gd name="connsiteX1027" fmla="*/ 1912668 w 5631293"/>
                <a:gd name="connsiteY1027" fmla="*/ 2526793 h 2729555"/>
                <a:gd name="connsiteX1028" fmla="*/ 1912668 w 5631293"/>
                <a:gd name="connsiteY1028" fmla="*/ 2534660 h 2729555"/>
                <a:gd name="connsiteX1029" fmla="*/ 1911146 w 5631293"/>
                <a:gd name="connsiteY1029" fmla="*/ 2533645 h 2729555"/>
                <a:gd name="connsiteX1030" fmla="*/ 1959108 w 5631293"/>
                <a:gd name="connsiteY1030" fmla="*/ 2533645 h 2729555"/>
                <a:gd name="connsiteX1031" fmla="*/ 1959108 w 5631293"/>
                <a:gd name="connsiteY1031" fmla="*/ 2541512 h 2729555"/>
                <a:gd name="connsiteX1032" fmla="*/ 1957586 w 5631293"/>
                <a:gd name="connsiteY1032" fmla="*/ 2540370 h 2729555"/>
                <a:gd name="connsiteX1033" fmla="*/ 1991971 w 5631293"/>
                <a:gd name="connsiteY1033" fmla="*/ 2540370 h 2729555"/>
                <a:gd name="connsiteX1034" fmla="*/ 1991971 w 5631293"/>
                <a:gd name="connsiteY1034" fmla="*/ 2548363 h 2729555"/>
                <a:gd name="connsiteX1035" fmla="*/ 1990449 w 5631293"/>
                <a:gd name="connsiteY1035" fmla="*/ 2547222 h 2729555"/>
                <a:gd name="connsiteX1036" fmla="*/ 1997808 w 5631293"/>
                <a:gd name="connsiteY1036" fmla="*/ 2547222 h 2729555"/>
                <a:gd name="connsiteX1037" fmla="*/ 1997808 w 5631293"/>
                <a:gd name="connsiteY1037" fmla="*/ 2561940 h 2729555"/>
                <a:gd name="connsiteX1038" fmla="*/ 1996286 w 5631293"/>
                <a:gd name="connsiteY1038" fmla="*/ 2560925 h 2729555"/>
                <a:gd name="connsiteX1039" fmla="*/ 2023058 w 5631293"/>
                <a:gd name="connsiteY1039" fmla="*/ 2560925 h 2729555"/>
                <a:gd name="connsiteX1040" fmla="*/ 2023058 w 5631293"/>
                <a:gd name="connsiteY1040" fmla="*/ 2568792 h 2729555"/>
                <a:gd name="connsiteX1041" fmla="*/ 2021536 w 5631293"/>
                <a:gd name="connsiteY1041" fmla="*/ 2567650 h 2729555"/>
                <a:gd name="connsiteX1042" fmla="*/ 2028768 w 5631293"/>
                <a:gd name="connsiteY1042" fmla="*/ 2567650 h 2729555"/>
                <a:gd name="connsiteX1043" fmla="*/ 2028768 w 5631293"/>
                <a:gd name="connsiteY1043" fmla="*/ 2575644 h 2729555"/>
                <a:gd name="connsiteX1044" fmla="*/ 2027245 w 5631293"/>
                <a:gd name="connsiteY1044" fmla="*/ 2574502 h 2729555"/>
                <a:gd name="connsiteX1045" fmla="*/ 2048562 w 5631293"/>
                <a:gd name="connsiteY1045" fmla="*/ 2574502 h 2729555"/>
                <a:gd name="connsiteX1046" fmla="*/ 2115938 w 5631293"/>
                <a:gd name="connsiteY1046" fmla="*/ 2574502 h 2729555"/>
                <a:gd name="connsiteX1047" fmla="*/ 2115938 w 5631293"/>
                <a:gd name="connsiteY1047" fmla="*/ 2582622 h 2729555"/>
                <a:gd name="connsiteX1048" fmla="*/ 2114416 w 5631293"/>
                <a:gd name="connsiteY1048" fmla="*/ 2581481 h 2729555"/>
                <a:gd name="connsiteX1049" fmla="*/ 2135225 w 5631293"/>
                <a:gd name="connsiteY1049" fmla="*/ 2581481 h 2729555"/>
                <a:gd name="connsiteX1050" fmla="*/ 2135225 w 5631293"/>
                <a:gd name="connsiteY1050" fmla="*/ 2589474 h 2729555"/>
                <a:gd name="connsiteX1051" fmla="*/ 2133702 w 5631293"/>
                <a:gd name="connsiteY1051" fmla="*/ 2588459 h 2729555"/>
                <a:gd name="connsiteX1052" fmla="*/ 2144868 w 5631293"/>
                <a:gd name="connsiteY1052" fmla="*/ 2588459 h 2729555"/>
                <a:gd name="connsiteX1053" fmla="*/ 2144868 w 5631293"/>
                <a:gd name="connsiteY1053" fmla="*/ 2596453 h 2729555"/>
                <a:gd name="connsiteX1054" fmla="*/ 2143346 w 5631293"/>
                <a:gd name="connsiteY1054" fmla="*/ 2595311 h 2729555"/>
                <a:gd name="connsiteX1055" fmla="*/ 2152608 w 5631293"/>
                <a:gd name="connsiteY1055" fmla="*/ 2595311 h 2729555"/>
                <a:gd name="connsiteX1056" fmla="*/ 2152608 w 5631293"/>
                <a:gd name="connsiteY1056" fmla="*/ 2603432 h 2729555"/>
                <a:gd name="connsiteX1057" fmla="*/ 2151086 w 5631293"/>
                <a:gd name="connsiteY1057" fmla="*/ 2602290 h 2729555"/>
                <a:gd name="connsiteX1058" fmla="*/ 2180142 w 5631293"/>
                <a:gd name="connsiteY1058" fmla="*/ 2602290 h 2729555"/>
                <a:gd name="connsiteX1059" fmla="*/ 2195115 w 5631293"/>
                <a:gd name="connsiteY1059" fmla="*/ 2602290 h 2729555"/>
                <a:gd name="connsiteX1060" fmla="*/ 2195115 w 5631293"/>
                <a:gd name="connsiteY1060" fmla="*/ 2610537 h 2729555"/>
                <a:gd name="connsiteX1061" fmla="*/ 2193592 w 5631293"/>
                <a:gd name="connsiteY1061" fmla="*/ 2609395 h 2729555"/>
                <a:gd name="connsiteX1062" fmla="*/ 2204758 w 5631293"/>
                <a:gd name="connsiteY1062" fmla="*/ 2609395 h 2729555"/>
                <a:gd name="connsiteX1063" fmla="*/ 2204758 w 5631293"/>
                <a:gd name="connsiteY1063" fmla="*/ 2617643 h 2729555"/>
                <a:gd name="connsiteX1064" fmla="*/ 2203236 w 5631293"/>
                <a:gd name="connsiteY1064" fmla="*/ 2616501 h 2729555"/>
                <a:gd name="connsiteX1065" fmla="*/ 2214528 w 5631293"/>
                <a:gd name="connsiteY1065" fmla="*/ 2616501 h 2729555"/>
                <a:gd name="connsiteX1066" fmla="*/ 2214528 w 5631293"/>
                <a:gd name="connsiteY1066" fmla="*/ 2624748 h 2729555"/>
                <a:gd name="connsiteX1067" fmla="*/ 2213006 w 5631293"/>
                <a:gd name="connsiteY1067" fmla="*/ 2623606 h 2729555"/>
                <a:gd name="connsiteX1068" fmla="*/ 2257162 w 5631293"/>
                <a:gd name="connsiteY1068" fmla="*/ 2623606 h 2729555"/>
                <a:gd name="connsiteX1069" fmla="*/ 2257162 w 5631293"/>
                <a:gd name="connsiteY1069" fmla="*/ 2631854 h 2729555"/>
                <a:gd name="connsiteX1070" fmla="*/ 2255512 w 5631293"/>
                <a:gd name="connsiteY1070" fmla="*/ 2630712 h 2729555"/>
                <a:gd name="connsiteX1071" fmla="*/ 2269089 w 5631293"/>
                <a:gd name="connsiteY1071" fmla="*/ 2630712 h 2729555"/>
                <a:gd name="connsiteX1072" fmla="*/ 2431121 w 5631293"/>
                <a:gd name="connsiteY1072" fmla="*/ 2630712 h 2729555"/>
                <a:gd name="connsiteX1073" fmla="*/ 2431121 w 5631293"/>
                <a:gd name="connsiteY1073" fmla="*/ 2639086 h 2729555"/>
                <a:gd name="connsiteX1074" fmla="*/ 2429599 w 5631293"/>
                <a:gd name="connsiteY1074" fmla="*/ 2637944 h 2729555"/>
                <a:gd name="connsiteX1075" fmla="*/ 2467918 w 5631293"/>
                <a:gd name="connsiteY1075" fmla="*/ 2637944 h 2729555"/>
                <a:gd name="connsiteX1076" fmla="*/ 2467918 w 5631293"/>
                <a:gd name="connsiteY1076" fmla="*/ 2646319 h 2729555"/>
                <a:gd name="connsiteX1077" fmla="*/ 2466395 w 5631293"/>
                <a:gd name="connsiteY1077" fmla="*/ 2645177 h 2729555"/>
                <a:gd name="connsiteX1078" fmla="*/ 2479465 w 5631293"/>
                <a:gd name="connsiteY1078" fmla="*/ 2645177 h 2729555"/>
                <a:gd name="connsiteX1079" fmla="*/ 2479465 w 5631293"/>
                <a:gd name="connsiteY1079" fmla="*/ 2653551 h 2729555"/>
                <a:gd name="connsiteX1080" fmla="*/ 2477942 w 5631293"/>
                <a:gd name="connsiteY1080" fmla="*/ 2652409 h 2729555"/>
                <a:gd name="connsiteX1081" fmla="*/ 2496848 w 5631293"/>
                <a:gd name="connsiteY1081" fmla="*/ 2652409 h 2729555"/>
                <a:gd name="connsiteX1082" fmla="*/ 2496848 w 5631293"/>
                <a:gd name="connsiteY1082" fmla="*/ 2660784 h 2729555"/>
                <a:gd name="connsiteX1083" fmla="*/ 2495325 w 5631293"/>
                <a:gd name="connsiteY1083" fmla="*/ 2659642 h 2729555"/>
                <a:gd name="connsiteX1084" fmla="*/ 2518165 w 5631293"/>
                <a:gd name="connsiteY1084" fmla="*/ 2659642 h 2729555"/>
                <a:gd name="connsiteX1085" fmla="*/ 2518165 w 5631293"/>
                <a:gd name="connsiteY1085" fmla="*/ 2668016 h 2729555"/>
                <a:gd name="connsiteX1086" fmla="*/ 2516642 w 5631293"/>
                <a:gd name="connsiteY1086" fmla="*/ 2667001 h 2729555"/>
                <a:gd name="connsiteX1087" fmla="*/ 2537959 w 5631293"/>
                <a:gd name="connsiteY1087" fmla="*/ 2667001 h 2729555"/>
                <a:gd name="connsiteX1088" fmla="*/ 2586302 w 5631293"/>
                <a:gd name="connsiteY1088" fmla="*/ 2667001 h 2729555"/>
                <a:gd name="connsiteX1089" fmla="*/ 2615359 w 5631293"/>
                <a:gd name="connsiteY1089" fmla="*/ 2667001 h 2729555"/>
                <a:gd name="connsiteX1090" fmla="*/ 2671442 w 5631293"/>
                <a:gd name="connsiteY1090" fmla="*/ 2667001 h 2729555"/>
                <a:gd name="connsiteX1091" fmla="*/ 2712045 w 5631293"/>
                <a:gd name="connsiteY1091" fmla="*/ 2667001 h 2729555"/>
                <a:gd name="connsiteX1092" fmla="*/ 2764322 w 5631293"/>
                <a:gd name="connsiteY1092" fmla="*/ 2667001 h 2729555"/>
                <a:gd name="connsiteX1093" fmla="*/ 2843625 w 5631293"/>
                <a:gd name="connsiteY1093" fmla="*/ 2667001 h 2729555"/>
                <a:gd name="connsiteX1094" fmla="*/ 2889685 w 5631293"/>
                <a:gd name="connsiteY1094" fmla="*/ 2667001 h 2729555"/>
                <a:gd name="connsiteX1095" fmla="*/ 2889685 w 5631293"/>
                <a:gd name="connsiteY1095" fmla="*/ 2676898 h 2729555"/>
                <a:gd name="connsiteX1096" fmla="*/ 2888162 w 5631293"/>
                <a:gd name="connsiteY1096" fmla="*/ 2675756 h 2729555"/>
                <a:gd name="connsiteX1097" fmla="*/ 2996522 w 5631293"/>
                <a:gd name="connsiteY1097" fmla="*/ 2675756 h 2729555"/>
                <a:gd name="connsiteX1098" fmla="*/ 3131909 w 5631293"/>
                <a:gd name="connsiteY1098" fmla="*/ 2675756 h 2729555"/>
                <a:gd name="connsiteX1099" fmla="*/ 3232021 w 5631293"/>
                <a:gd name="connsiteY1099" fmla="*/ 2675756 h 2729555"/>
                <a:gd name="connsiteX1100" fmla="*/ 3232021 w 5631293"/>
                <a:gd name="connsiteY1100" fmla="*/ 2686414 h 2729555"/>
                <a:gd name="connsiteX1101" fmla="*/ 3230498 w 5631293"/>
                <a:gd name="connsiteY1101" fmla="*/ 2685273 h 2729555"/>
                <a:gd name="connsiteX1102" fmla="*/ 3261458 w 5631293"/>
                <a:gd name="connsiteY1102" fmla="*/ 2685273 h 2729555"/>
                <a:gd name="connsiteX1103" fmla="*/ 3263362 w 5631293"/>
                <a:gd name="connsiteY1103" fmla="*/ 2685273 h 2729555"/>
                <a:gd name="connsiteX1104" fmla="*/ 3272751 w 5631293"/>
                <a:gd name="connsiteY1104" fmla="*/ 2685273 h 2729555"/>
                <a:gd name="connsiteX1105" fmla="*/ 3272751 w 5631293"/>
                <a:gd name="connsiteY1105" fmla="*/ 2696439 h 2729555"/>
                <a:gd name="connsiteX1106" fmla="*/ 3271228 w 5631293"/>
                <a:gd name="connsiteY1106" fmla="*/ 2695297 h 2729555"/>
                <a:gd name="connsiteX1107" fmla="*/ 3334544 w 5631293"/>
                <a:gd name="connsiteY1107" fmla="*/ 2695297 h 2729555"/>
                <a:gd name="connsiteX1108" fmla="*/ 3334544 w 5631293"/>
                <a:gd name="connsiteY1108" fmla="*/ 2706716 h 2729555"/>
                <a:gd name="connsiteX1109" fmla="*/ 3333022 w 5631293"/>
                <a:gd name="connsiteY1109" fmla="*/ 2705574 h 2729555"/>
                <a:gd name="connsiteX1110" fmla="*/ 3366012 w 5631293"/>
                <a:gd name="connsiteY1110" fmla="*/ 2705574 h 2729555"/>
                <a:gd name="connsiteX1111" fmla="*/ 3417781 w 5631293"/>
                <a:gd name="connsiteY1111" fmla="*/ 2705574 h 2729555"/>
                <a:gd name="connsiteX1112" fmla="*/ 3417781 w 5631293"/>
                <a:gd name="connsiteY1112" fmla="*/ 2717248 h 2729555"/>
                <a:gd name="connsiteX1113" fmla="*/ 3416258 w 5631293"/>
                <a:gd name="connsiteY1113" fmla="*/ 2716106 h 2729555"/>
                <a:gd name="connsiteX1114" fmla="*/ 3474245 w 5631293"/>
                <a:gd name="connsiteY1114" fmla="*/ 2716106 h 2729555"/>
                <a:gd name="connsiteX1115" fmla="*/ 3616991 w 5631293"/>
                <a:gd name="connsiteY1115" fmla="*/ 2716106 h 2729555"/>
                <a:gd name="connsiteX1116" fmla="*/ 3616991 w 5631293"/>
                <a:gd name="connsiteY1116" fmla="*/ 2728414 h 2729555"/>
                <a:gd name="connsiteX1117" fmla="*/ 3615468 w 5631293"/>
                <a:gd name="connsiteY1117" fmla="*/ 2727272 h 2729555"/>
                <a:gd name="connsiteX1118" fmla="*/ 3627142 w 5631293"/>
                <a:gd name="connsiteY1118" fmla="*/ 2727272 h 2729555"/>
                <a:gd name="connsiteX1119" fmla="*/ 3739308 w 5631293"/>
                <a:gd name="connsiteY1119" fmla="*/ 2727272 h 2729555"/>
                <a:gd name="connsiteX1120" fmla="*/ 3861245 w 5631293"/>
                <a:gd name="connsiteY1120" fmla="*/ 2727272 h 2729555"/>
                <a:gd name="connsiteX1121" fmla="*/ 4124278 w 5631293"/>
                <a:gd name="connsiteY1121" fmla="*/ 2727272 h 2729555"/>
                <a:gd name="connsiteX1122" fmla="*/ 4172621 w 5631293"/>
                <a:gd name="connsiteY1122" fmla="*/ 2727272 h 2729555"/>
                <a:gd name="connsiteX1123" fmla="*/ 4186198 w 5631293"/>
                <a:gd name="connsiteY1123" fmla="*/ 2727272 h 2729555"/>
                <a:gd name="connsiteX1124" fmla="*/ 4342902 w 5631293"/>
                <a:gd name="connsiteY1124" fmla="*/ 2727272 h 2729555"/>
                <a:gd name="connsiteX1125" fmla="*/ 4354448 w 5631293"/>
                <a:gd name="connsiteY1125" fmla="*/ 2727272 h 2729555"/>
                <a:gd name="connsiteX1126" fmla="*/ 4478288 w 5631293"/>
                <a:gd name="connsiteY1126" fmla="*/ 2727272 h 2729555"/>
                <a:gd name="connsiteX1127" fmla="*/ 4549851 w 5631293"/>
                <a:gd name="connsiteY1127" fmla="*/ 2727272 h 2729555"/>
                <a:gd name="connsiteX1128" fmla="*/ 4586648 w 5631293"/>
                <a:gd name="connsiteY1128" fmla="*/ 2727272 h 2729555"/>
                <a:gd name="connsiteX1129" fmla="*/ 4646538 w 5631293"/>
                <a:gd name="connsiteY1129" fmla="*/ 2727272 h 2729555"/>
                <a:gd name="connsiteX1130" fmla="*/ 4716325 w 5631293"/>
                <a:gd name="connsiteY1130" fmla="*/ 2727272 h 2729555"/>
                <a:gd name="connsiteX1131" fmla="*/ 4946368 w 5631293"/>
                <a:gd name="connsiteY1131" fmla="*/ 2727272 h 2729555"/>
                <a:gd name="connsiteX1132" fmla="*/ 5265611 w 5631293"/>
                <a:gd name="connsiteY1132" fmla="*/ 2727272 h 2729555"/>
                <a:gd name="connsiteX1133" fmla="*/ 5337174 w 5631293"/>
                <a:gd name="connsiteY1133" fmla="*/ 2727272 h 2729555"/>
                <a:gd name="connsiteX1134" fmla="*/ 5408738 w 5631293"/>
                <a:gd name="connsiteY1134" fmla="*/ 2727272 h 2729555"/>
                <a:gd name="connsiteX1135" fmla="*/ 5478397 w 5631293"/>
                <a:gd name="connsiteY1135" fmla="*/ 2727272 h 2729555"/>
                <a:gd name="connsiteX1136" fmla="*/ 5551991 w 5631293"/>
                <a:gd name="connsiteY1136" fmla="*/ 2727272 h 2729555"/>
                <a:gd name="connsiteX1137" fmla="*/ 5631294 w 5631293"/>
                <a:gd name="connsiteY1137" fmla="*/ 2727272 h 2729555"/>
                <a:gd name="connsiteX1138" fmla="*/ 5631294 w 5631293"/>
                <a:gd name="connsiteY1138" fmla="*/ 2729556 h 2729555"/>
                <a:gd name="connsiteX1139" fmla="*/ 5551991 w 5631293"/>
                <a:gd name="connsiteY1139" fmla="*/ 2729556 h 2729555"/>
                <a:gd name="connsiteX1140" fmla="*/ 5478397 w 5631293"/>
                <a:gd name="connsiteY1140" fmla="*/ 2729556 h 2729555"/>
                <a:gd name="connsiteX1141" fmla="*/ 5408738 w 5631293"/>
                <a:gd name="connsiteY1141" fmla="*/ 2729556 h 2729555"/>
                <a:gd name="connsiteX1142" fmla="*/ 5337174 w 5631293"/>
                <a:gd name="connsiteY1142" fmla="*/ 2729556 h 2729555"/>
                <a:gd name="connsiteX1143" fmla="*/ 5265611 w 5631293"/>
                <a:gd name="connsiteY1143" fmla="*/ 2729556 h 2729555"/>
                <a:gd name="connsiteX1144" fmla="*/ 4946368 w 5631293"/>
                <a:gd name="connsiteY1144" fmla="*/ 2729556 h 2729555"/>
                <a:gd name="connsiteX1145" fmla="*/ 4716325 w 5631293"/>
                <a:gd name="connsiteY1145" fmla="*/ 2729556 h 2729555"/>
                <a:gd name="connsiteX1146" fmla="*/ 4646538 w 5631293"/>
                <a:gd name="connsiteY1146" fmla="*/ 2729556 h 2729555"/>
                <a:gd name="connsiteX1147" fmla="*/ 4586648 w 5631293"/>
                <a:gd name="connsiteY1147" fmla="*/ 2729556 h 2729555"/>
                <a:gd name="connsiteX1148" fmla="*/ 4549851 w 5631293"/>
                <a:gd name="connsiteY1148" fmla="*/ 2729556 h 2729555"/>
                <a:gd name="connsiteX1149" fmla="*/ 4478288 w 5631293"/>
                <a:gd name="connsiteY1149" fmla="*/ 2729556 h 2729555"/>
                <a:gd name="connsiteX1150" fmla="*/ 4354448 w 5631293"/>
                <a:gd name="connsiteY1150" fmla="*/ 2729556 h 2729555"/>
                <a:gd name="connsiteX1151" fmla="*/ 4342902 w 5631293"/>
                <a:gd name="connsiteY1151" fmla="*/ 2729556 h 2729555"/>
                <a:gd name="connsiteX1152" fmla="*/ 4186198 w 5631293"/>
                <a:gd name="connsiteY1152" fmla="*/ 2729556 h 2729555"/>
                <a:gd name="connsiteX1153" fmla="*/ 4172621 w 5631293"/>
                <a:gd name="connsiteY1153" fmla="*/ 2729556 h 2729555"/>
                <a:gd name="connsiteX1154" fmla="*/ 4124278 w 5631293"/>
                <a:gd name="connsiteY1154" fmla="*/ 2729556 h 2729555"/>
                <a:gd name="connsiteX1155" fmla="*/ 3861245 w 5631293"/>
                <a:gd name="connsiteY1155" fmla="*/ 2729556 h 2729555"/>
                <a:gd name="connsiteX1156" fmla="*/ 3739308 w 5631293"/>
                <a:gd name="connsiteY1156" fmla="*/ 2729556 h 2729555"/>
                <a:gd name="connsiteX1157" fmla="*/ 3627142 w 5631293"/>
                <a:gd name="connsiteY1157" fmla="*/ 2729556 h 2729555"/>
                <a:gd name="connsiteX1158" fmla="*/ 3613946 w 5631293"/>
                <a:gd name="connsiteY1158" fmla="*/ 2729556 h 2729555"/>
                <a:gd name="connsiteX1159" fmla="*/ 3613946 w 5631293"/>
                <a:gd name="connsiteY1159" fmla="*/ 2717248 h 2729555"/>
                <a:gd name="connsiteX1160" fmla="*/ 3615468 w 5631293"/>
                <a:gd name="connsiteY1160" fmla="*/ 2718390 h 2729555"/>
                <a:gd name="connsiteX1161" fmla="*/ 3474245 w 5631293"/>
                <a:gd name="connsiteY1161" fmla="*/ 2718390 h 2729555"/>
                <a:gd name="connsiteX1162" fmla="*/ 3414736 w 5631293"/>
                <a:gd name="connsiteY1162" fmla="*/ 2718390 h 2729555"/>
                <a:gd name="connsiteX1163" fmla="*/ 3414736 w 5631293"/>
                <a:gd name="connsiteY1163" fmla="*/ 2706716 h 2729555"/>
                <a:gd name="connsiteX1164" fmla="*/ 3416258 w 5631293"/>
                <a:gd name="connsiteY1164" fmla="*/ 2707731 h 2729555"/>
                <a:gd name="connsiteX1165" fmla="*/ 3366012 w 5631293"/>
                <a:gd name="connsiteY1165" fmla="*/ 2707731 h 2729555"/>
                <a:gd name="connsiteX1166" fmla="*/ 3331499 w 5631293"/>
                <a:gd name="connsiteY1166" fmla="*/ 2707731 h 2729555"/>
                <a:gd name="connsiteX1167" fmla="*/ 3331499 w 5631293"/>
                <a:gd name="connsiteY1167" fmla="*/ 2696439 h 2729555"/>
                <a:gd name="connsiteX1168" fmla="*/ 3333022 w 5631293"/>
                <a:gd name="connsiteY1168" fmla="*/ 2697580 h 2729555"/>
                <a:gd name="connsiteX1169" fmla="*/ 3269706 w 5631293"/>
                <a:gd name="connsiteY1169" fmla="*/ 2697580 h 2729555"/>
                <a:gd name="connsiteX1170" fmla="*/ 3269706 w 5631293"/>
                <a:gd name="connsiteY1170" fmla="*/ 2686414 h 2729555"/>
                <a:gd name="connsiteX1171" fmla="*/ 3271228 w 5631293"/>
                <a:gd name="connsiteY1171" fmla="*/ 2687430 h 2729555"/>
                <a:gd name="connsiteX1172" fmla="*/ 3263362 w 5631293"/>
                <a:gd name="connsiteY1172" fmla="*/ 2687430 h 2729555"/>
                <a:gd name="connsiteX1173" fmla="*/ 3261458 w 5631293"/>
                <a:gd name="connsiteY1173" fmla="*/ 2687430 h 2729555"/>
                <a:gd name="connsiteX1174" fmla="*/ 3228976 w 5631293"/>
                <a:gd name="connsiteY1174" fmla="*/ 2687430 h 2729555"/>
                <a:gd name="connsiteX1175" fmla="*/ 3228976 w 5631293"/>
                <a:gd name="connsiteY1175" fmla="*/ 2676898 h 2729555"/>
                <a:gd name="connsiteX1176" fmla="*/ 3230498 w 5631293"/>
                <a:gd name="connsiteY1176" fmla="*/ 2677913 h 2729555"/>
                <a:gd name="connsiteX1177" fmla="*/ 3131909 w 5631293"/>
                <a:gd name="connsiteY1177" fmla="*/ 2677913 h 2729555"/>
                <a:gd name="connsiteX1178" fmla="*/ 2996522 w 5631293"/>
                <a:gd name="connsiteY1178" fmla="*/ 2677913 h 2729555"/>
                <a:gd name="connsiteX1179" fmla="*/ 2886639 w 5631293"/>
                <a:gd name="connsiteY1179" fmla="*/ 2677913 h 2729555"/>
                <a:gd name="connsiteX1180" fmla="*/ 2886639 w 5631293"/>
                <a:gd name="connsiteY1180" fmla="*/ 2668016 h 2729555"/>
                <a:gd name="connsiteX1181" fmla="*/ 2888162 w 5631293"/>
                <a:gd name="connsiteY1181" fmla="*/ 2669158 h 2729555"/>
                <a:gd name="connsiteX1182" fmla="*/ 2843625 w 5631293"/>
                <a:gd name="connsiteY1182" fmla="*/ 2669158 h 2729555"/>
                <a:gd name="connsiteX1183" fmla="*/ 2764322 w 5631293"/>
                <a:gd name="connsiteY1183" fmla="*/ 2669158 h 2729555"/>
                <a:gd name="connsiteX1184" fmla="*/ 2712045 w 5631293"/>
                <a:gd name="connsiteY1184" fmla="*/ 2669158 h 2729555"/>
                <a:gd name="connsiteX1185" fmla="*/ 2671442 w 5631293"/>
                <a:gd name="connsiteY1185" fmla="*/ 2669158 h 2729555"/>
                <a:gd name="connsiteX1186" fmla="*/ 2615359 w 5631293"/>
                <a:gd name="connsiteY1186" fmla="*/ 2669158 h 2729555"/>
                <a:gd name="connsiteX1187" fmla="*/ 2586302 w 5631293"/>
                <a:gd name="connsiteY1187" fmla="*/ 2669158 h 2729555"/>
                <a:gd name="connsiteX1188" fmla="*/ 2537959 w 5631293"/>
                <a:gd name="connsiteY1188" fmla="*/ 2669158 h 2729555"/>
                <a:gd name="connsiteX1189" fmla="*/ 2515119 w 5631293"/>
                <a:gd name="connsiteY1189" fmla="*/ 2669158 h 2729555"/>
                <a:gd name="connsiteX1190" fmla="*/ 2515119 w 5631293"/>
                <a:gd name="connsiteY1190" fmla="*/ 2660784 h 2729555"/>
                <a:gd name="connsiteX1191" fmla="*/ 2516642 w 5631293"/>
                <a:gd name="connsiteY1191" fmla="*/ 2661926 h 2729555"/>
                <a:gd name="connsiteX1192" fmla="*/ 2493803 w 5631293"/>
                <a:gd name="connsiteY1192" fmla="*/ 2661926 h 2729555"/>
                <a:gd name="connsiteX1193" fmla="*/ 2493803 w 5631293"/>
                <a:gd name="connsiteY1193" fmla="*/ 2653551 h 2729555"/>
                <a:gd name="connsiteX1194" fmla="*/ 2495325 w 5631293"/>
                <a:gd name="connsiteY1194" fmla="*/ 2654566 h 2729555"/>
                <a:gd name="connsiteX1195" fmla="*/ 2476419 w 5631293"/>
                <a:gd name="connsiteY1195" fmla="*/ 2654566 h 2729555"/>
                <a:gd name="connsiteX1196" fmla="*/ 2476419 w 5631293"/>
                <a:gd name="connsiteY1196" fmla="*/ 2646319 h 2729555"/>
                <a:gd name="connsiteX1197" fmla="*/ 2477942 w 5631293"/>
                <a:gd name="connsiteY1197" fmla="*/ 2647461 h 2729555"/>
                <a:gd name="connsiteX1198" fmla="*/ 2464873 w 5631293"/>
                <a:gd name="connsiteY1198" fmla="*/ 2647461 h 2729555"/>
                <a:gd name="connsiteX1199" fmla="*/ 2464873 w 5631293"/>
                <a:gd name="connsiteY1199" fmla="*/ 2639086 h 2729555"/>
                <a:gd name="connsiteX1200" fmla="*/ 2466395 w 5631293"/>
                <a:gd name="connsiteY1200" fmla="*/ 2640101 h 2729555"/>
                <a:gd name="connsiteX1201" fmla="*/ 2428076 w 5631293"/>
                <a:gd name="connsiteY1201" fmla="*/ 2640101 h 2729555"/>
                <a:gd name="connsiteX1202" fmla="*/ 2428076 w 5631293"/>
                <a:gd name="connsiteY1202" fmla="*/ 2631854 h 2729555"/>
                <a:gd name="connsiteX1203" fmla="*/ 2429599 w 5631293"/>
                <a:gd name="connsiteY1203" fmla="*/ 2632996 h 2729555"/>
                <a:gd name="connsiteX1204" fmla="*/ 2269089 w 5631293"/>
                <a:gd name="connsiteY1204" fmla="*/ 2632996 h 2729555"/>
                <a:gd name="connsiteX1205" fmla="*/ 2253990 w 5631293"/>
                <a:gd name="connsiteY1205" fmla="*/ 2632996 h 2729555"/>
                <a:gd name="connsiteX1206" fmla="*/ 2253990 w 5631293"/>
                <a:gd name="connsiteY1206" fmla="*/ 2624748 h 2729555"/>
                <a:gd name="connsiteX1207" fmla="*/ 2255512 w 5631293"/>
                <a:gd name="connsiteY1207" fmla="*/ 2625890 h 2729555"/>
                <a:gd name="connsiteX1208" fmla="*/ 2211483 w 5631293"/>
                <a:gd name="connsiteY1208" fmla="*/ 2625890 h 2729555"/>
                <a:gd name="connsiteX1209" fmla="*/ 2211483 w 5631293"/>
                <a:gd name="connsiteY1209" fmla="*/ 2617643 h 2729555"/>
                <a:gd name="connsiteX1210" fmla="*/ 2213006 w 5631293"/>
                <a:gd name="connsiteY1210" fmla="*/ 2618785 h 2729555"/>
                <a:gd name="connsiteX1211" fmla="*/ 2201713 w 5631293"/>
                <a:gd name="connsiteY1211" fmla="*/ 2618785 h 2729555"/>
                <a:gd name="connsiteX1212" fmla="*/ 2201713 w 5631293"/>
                <a:gd name="connsiteY1212" fmla="*/ 2610537 h 2729555"/>
                <a:gd name="connsiteX1213" fmla="*/ 2203236 w 5631293"/>
                <a:gd name="connsiteY1213" fmla="*/ 2611679 h 2729555"/>
                <a:gd name="connsiteX1214" fmla="*/ 2192070 w 5631293"/>
                <a:gd name="connsiteY1214" fmla="*/ 2611679 h 2729555"/>
                <a:gd name="connsiteX1215" fmla="*/ 2192070 w 5631293"/>
                <a:gd name="connsiteY1215" fmla="*/ 2603432 h 2729555"/>
                <a:gd name="connsiteX1216" fmla="*/ 2193592 w 5631293"/>
                <a:gd name="connsiteY1216" fmla="*/ 2604574 h 2729555"/>
                <a:gd name="connsiteX1217" fmla="*/ 2180142 w 5631293"/>
                <a:gd name="connsiteY1217" fmla="*/ 2604574 h 2729555"/>
                <a:gd name="connsiteX1218" fmla="*/ 2149563 w 5631293"/>
                <a:gd name="connsiteY1218" fmla="*/ 2604574 h 2729555"/>
                <a:gd name="connsiteX1219" fmla="*/ 2149563 w 5631293"/>
                <a:gd name="connsiteY1219" fmla="*/ 2596453 h 2729555"/>
                <a:gd name="connsiteX1220" fmla="*/ 2151086 w 5631293"/>
                <a:gd name="connsiteY1220" fmla="*/ 2597595 h 2729555"/>
                <a:gd name="connsiteX1221" fmla="*/ 2141823 w 5631293"/>
                <a:gd name="connsiteY1221" fmla="*/ 2597595 h 2729555"/>
                <a:gd name="connsiteX1222" fmla="*/ 2141823 w 5631293"/>
                <a:gd name="connsiteY1222" fmla="*/ 2589474 h 2729555"/>
                <a:gd name="connsiteX1223" fmla="*/ 2143346 w 5631293"/>
                <a:gd name="connsiteY1223" fmla="*/ 2590616 h 2729555"/>
                <a:gd name="connsiteX1224" fmla="*/ 2132180 w 5631293"/>
                <a:gd name="connsiteY1224" fmla="*/ 2590616 h 2729555"/>
                <a:gd name="connsiteX1225" fmla="*/ 2132180 w 5631293"/>
                <a:gd name="connsiteY1225" fmla="*/ 2582622 h 2729555"/>
                <a:gd name="connsiteX1226" fmla="*/ 2133702 w 5631293"/>
                <a:gd name="connsiteY1226" fmla="*/ 2583764 h 2729555"/>
                <a:gd name="connsiteX1227" fmla="*/ 2112893 w 5631293"/>
                <a:gd name="connsiteY1227" fmla="*/ 2583764 h 2729555"/>
                <a:gd name="connsiteX1228" fmla="*/ 2112893 w 5631293"/>
                <a:gd name="connsiteY1228" fmla="*/ 2575644 h 2729555"/>
                <a:gd name="connsiteX1229" fmla="*/ 2114416 w 5631293"/>
                <a:gd name="connsiteY1229" fmla="*/ 2576786 h 2729555"/>
                <a:gd name="connsiteX1230" fmla="*/ 2048562 w 5631293"/>
                <a:gd name="connsiteY1230" fmla="*/ 2576786 h 2729555"/>
                <a:gd name="connsiteX1231" fmla="*/ 2025723 w 5631293"/>
                <a:gd name="connsiteY1231" fmla="*/ 2576786 h 2729555"/>
                <a:gd name="connsiteX1232" fmla="*/ 2025723 w 5631293"/>
                <a:gd name="connsiteY1232" fmla="*/ 2568792 h 2729555"/>
                <a:gd name="connsiteX1233" fmla="*/ 2027245 w 5631293"/>
                <a:gd name="connsiteY1233" fmla="*/ 2569934 h 2729555"/>
                <a:gd name="connsiteX1234" fmla="*/ 2020013 w 5631293"/>
                <a:gd name="connsiteY1234" fmla="*/ 2569934 h 2729555"/>
                <a:gd name="connsiteX1235" fmla="*/ 2020013 w 5631293"/>
                <a:gd name="connsiteY1235" fmla="*/ 2561940 h 2729555"/>
                <a:gd name="connsiteX1236" fmla="*/ 2021536 w 5631293"/>
                <a:gd name="connsiteY1236" fmla="*/ 2563082 h 2729555"/>
                <a:gd name="connsiteX1237" fmla="*/ 1994763 w 5631293"/>
                <a:gd name="connsiteY1237" fmla="*/ 2563082 h 2729555"/>
                <a:gd name="connsiteX1238" fmla="*/ 1994763 w 5631293"/>
                <a:gd name="connsiteY1238" fmla="*/ 2548363 h 2729555"/>
                <a:gd name="connsiteX1239" fmla="*/ 1996286 w 5631293"/>
                <a:gd name="connsiteY1239" fmla="*/ 2549505 h 2729555"/>
                <a:gd name="connsiteX1240" fmla="*/ 1988926 w 5631293"/>
                <a:gd name="connsiteY1240" fmla="*/ 2549505 h 2729555"/>
                <a:gd name="connsiteX1241" fmla="*/ 1988926 w 5631293"/>
                <a:gd name="connsiteY1241" fmla="*/ 2541512 h 2729555"/>
                <a:gd name="connsiteX1242" fmla="*/ 1990449 w 5631293"/>
                <a:gd name="connsiteY1242" fmla="*/ 2542654 h 2729555"/>
                <a:gd name="connsiteX1243" fmla="*/ 1956063 w 5631293"/>
                <a:gd name="connsiteY1243" fmla="*/ 2542654 h 2729555"/>
                <a:gd name="connsiteX1244" fmla="*/ 1956063 w 5631293"/>
                <a:gd name="connsiteY1244" fmla="*/ 2534660 h 2729555"/>
                <a:gd name="connsiteX1245" fmla="*/ 1957586 w 5631293"/>
                <a:gd name="connsiteY1245" fmla="*/ 2535802 h 2729555"/>
                <a:gd name="connsiteX1246" fmla="*/ 1909623 w 5631293"/>
                <a:gd name="connsiteY1246" fmla="*/ 2535802 h 2729555"/>
                <a:gd name="connsiteX1247" fmla="*/ 1909623 w 5631293"/>
                <a:gd name="connsiteY1247" fmla="*/ 2527935 h 2729555"/>
                <a:gd name="connsiteX1248" fmla="*/ 1911146 w 5631293"/>
                <a:gd name="connsiteY1248" fmla="*/ 2529077 h 2729555"/>
                <a:gd name="connsiteX1249" fmla="*/ 1899599 w 5631293"/>
                <a:gd name="connsiteY1249" fmla="*/ 2529077 h 2729555"/>
                <a:gd name="connsiteX1250" fmla="*/ 1896173 w 5631293"/>
                <a:gd name="connsiteY1250" fmla="*/ 2529077 h 2729555"/>
                <a:gd name="connsiteX1251" fmla="*/ 1896173 w 5631293"/>
                <a:gd name="connsiteY1251" fmla="*/ 2521210 h 2729555"/>
                <a:gd name="connsiteX1252" fmla="*/ 1897696 w 5631293"/>
                <a:gd name="connsiteY1252" fmla="*/ 2522352 h 2729555"/>
                <a:gd name="connsiteX1253" fmla="*/ 1882596 w 5631293"/>
                <a:gd name="connsiteY1253" fmla="*/ 2522352 h 2729555"/>
                <a:gd name="connsiteX1254" fmla="*/ 1882596 w 5631293"/>
                <a:gd name="connsiteY1254" fmla="*/ 2514612 h 2729555"/>
                <a:gd name="connsiteX1255" fmla="*/ 1884119 w 5631293"/>
                <a:gd name="connsiteY1255" fmla="*/ 2515754 h 2729555"/>
                <a:gd name="connsiteX1256" fmla="*/ 1876379 w 5631293"/>
                <a:gd name="connsiteY1256" fmla="*/ 2515754 h 2729555"/>
                <a:gd name="connsiteX1257" fmla="*/ 1863183 w 5631293"/>
                <a:gd name="connsiteY1257" fmla="*/ 2515754 h 2729555"/>
                <a:gd name="connsiteX1258" fmla="*/ 1863183 w 5631293"/>
                <a:gd name="connsiteY1258" fmla="*/ 2508141 h 2729555"/>
                <a:gd name="connsiteX1259" fmla="*/ 1864706 w 5631293"/>
                <a:gd name="connsiteY1259" fmla="*/ 2509283 h 2729555"/>
                <a:gd name="connsiteX1260" fmla="*/ 1841993 w 5631293"/>
                <a:gd name="connsiteY1260" fmla="*/ 2509283 h 2729555"/>
                <a:gd name="connsiteX1261" fmla="*/ 1841993 w 5631293"/>
                <a:gd name="connsiteY1261" fmla="*/ 2501670 h 2729555"/>
                <a:gd name="connsiteX1262" fmla="*/ 1843516 w 5631293"/>
                <a:gd name="connsiteY1262" fmla="*/ 2502812 h 2729555"/>
                <a:gd name="connsiteX1263" fmla="*/ 1807100 w 5631293"/>
                <a:gd name="connsiteY1263" fmla="*/ 2502812 h 2729555"/>
                <a:gd name="connsiteX1264" fmla="*/ 1807100 w 5631293"/>
                <a:gd name="connsiteY1264" fmla="*/ 2495072 h 2729555"/>
                <a:gd name="connsiteX1265" fmla="*/ 1808622 w 5631293"/>
                <a:gd name="connsiteY1265" fmla="*/ 2496214 h 2729555"/>
                <a:gd name="connsiteX1266" fmla="*/ 1797456 w 5631293"/>
                <a:gd name="connsiteY1266" fmla="*/ 2496214 h 2729555"/>
                <a:gd name="connsiteX1267" fmla="*/ 1797456 w 5631293"/>
                <a:gd name="connsiteY1267" fmla="*/ 2488727 h 2729555"/>
                <a:gd name="connsiteX1268" fmla="*/ 1798979 w 5631293"/>
                <a:gd name="connsiteY1268" fmla="*/ 2489742 h 2729555"/>
                <a:gd name="connsiteX1269" fmla="*/ 1789716 w 5631293"/>
                <a:gd name="connsiteY1269" fmla="*/ 2489742 h 2729555"/>
                <a:gd name="connsiteX1270" fmla="*/ 1789716 w 5631293"/>
                <a:gd name="connsiteY1270" fmla="*/ 2482129 h 2729555"/>
                <a:gd name="connsiteX1271" fmla="*/ 1791239 w 5631293"/>
                <a:gd name="connsiteY1271" fmla="*/ 2483271 h 2729555"/>
                <a:gd name="connsiteX1272" fmla="*/ 1752920 w 5631293"/>
                <a:gd name="connsiteY1272" fmla="*/ 2483271 h 2729555"/>
                <a:gd name="connsiteX1273" fmla="*/ 1752920 w 5631293"/>
                <a:gd name="connsiteY1273" fmla="*/ 2475658 h 2729555"/>
                <a:gd name="connsiteX1274" fmla="*/ 1754442 w 5631293"/>
                <a:gd name="connsiteY1274" fmla="*/ 2476673 h 2729555"/>
                <a:gd name="connsiteX1275" fmla="*/ 1733252 w 5631293"/>
                <a:gd name="connsiteY1275" fmla="*/ 2476673 h 2729555"/>
                <a:gd name="connsiteX1276" fmla="*/ 1663593 w 5631293"/>
                <a:gd name="connsiteY1276" fmla="*/ 2476673 h 2729555"/>
                <a:gd name="connsiteX1277" fmla="*/ 1655853 w 5631293"/>
                <a:gd name="connsiteY1277" fmla="*/ 2476673 h 2729555"/>
                <a:gd name="connsiteX1278" fmla="*/ 1653949 w 5631293"/>
                <a:gd name="connsiteY1278" fmla="*/ 2476673 h 2729555"/>
                <a:gd name="connsiteX1279" fmla="*/ 1629080 w 5631293"/>
                <a:gd name="connsiteY1279" fmla="*/ 2476673 h 2729555"/>
                <a:gd name="connsiteX1280" fmla="*/ 1629080 w 5631293"/>
                <a:gd name="connsiteY1280" fmla="*/ 2469441 h 2729555"/>
                <a:gd name="connsiteX1281" fmla="*/ 1630729 w 5631293"/>
                <a:gd name="connsiteY1281" fmla="*/ 2470583 h 2729555"/>
                <a:gd name="connsiteX1282" fmla="*/ 1627176 w 5631293"/>
                <a:gd name="connsiteY1282" fmla="*/ 2470583 h 2729555"/>
                <a:gd name="connsiteX1283" fmla="*/ 1627176 w 5631293"/>
                <a:gd name="connsiteY1283" fmla="*/ 2463223 h 2729555"/>
                <a:gd name="connsiteX1284" fmla="*/ 1628699 w 5631293"/>
                <a:gd name="connsiteY1284" fmla="*/ 2464365 h 2729555"/>
                <a:gd name="connsiteX1285" fmla="*/ 1626796 w 5631293"/>
                <a:gd name="connsiteY1285" fmla="*/ 2464365 h 2729555"/>
                <a:gd name="connsiteX1286" fmla="*/ 1609412 w 5631293"/>
                <a:gd name="connsiteY1286" fmla="*/ 2464365 h 2729555"/>
                <a:gd name="connsiteX1287" fmla="*/ 1598247 w 5631293"/>
                <a:gd name="connsiteY1287" fmla="*/ 2464365 h 2729555"/>
                <a:gd name="connsiteX1288" fmla="*/ 1598247 w 5631293"/>
                <a:gd name="connsiteY1288" fmla="*/ 2457260 h 2729555"/>
                <a:gd name="connsiteX1289" fmla="*/ 1599769 w 5631293"/>
                <a:gd name="connsiteY1289" fmla="*/ 2458402 h 2729555"/>
                <a:gd name="connsiteX1290" fmla="*/ 1596343 w 5631293"/>
                <a:gd name="connsiteY1290" fmla="*/ 2458402 h 2729555"/>
                <a:gd name="connsiteX1291" fmla="*/ 1596343 w 5631293"/>
                <a:gd name="connsiteY1291" fmla="*/ 2445206 h 2729555"/>
                <a:gd name="connsiteX1292" fmla="*/ 1597866 w 5631293"/>
                <a:gd name="connsiteY1292" fmla="*/ 2446348 h 2729555"/>
                <a:gd name="connsiteX1293" fmla="*/ 1588223 w 5631293"/>
                <a:gd name="connsiteY1293" fmla="*/ 2446348 h 2729555"/>
                <a:gd name="connsiteX1294" fmla="*/ 1584670 w 5631293"/>
                <a:gd name="connsiteY1294" fmla="*/ 2446348 h 2729555"/>
                <a:gd name="connsiteX1295" fmla="*/ 1584670 w 5631293"/>
                <a:gd name="connsiteY1295" fmla="*/ 2439242 h 2729555"/>
                <a:gd name="connsiteX1296" fmla="*/ 1586192 w 5631293"/>
                <a:gd name="connsiteY1296" fmla="*/ 2440384 h 2729555"/>
                <a:gd name="connsiteX1297" fmla="*/ 1565256 w 5631293"/>
                <a:gd name="connsiteY1297" fmla="*/ 2440384 h 2729555"/>
                <a:gd name="connsiteX1298" fmla="*/ 1565256 w 5631293"/>
                <a:gd name="connsiteY1298" fmla="*/ 2433405 h 2729555"/>
                <a:gd name="connsiteX1299" fmla="*/ 1566779 w 5631293"/>
                <a:gd name="connsiteY1299" fmla="*/ 2434547 h 2729555"/>
                <a:gd name="connsiteX1300" fmla="*/ 1557136 w 5631293"/>
                <a:gd name="connsiteY1300" fmla="*/ 2434547 h 2729555"/>
                <a:gd name="connsiteX1301" fmla="*/ 1530490 w 5631293"/>
                <a:gd name="connsiteY1301" fmla="*/ 2434547 h 2729555"/>
                <a:gd name="connsiteX1302" fmla="*/ 1530490 w 5631293"/>
                <a:gd name="connsiteY1302" fmla="*/ 2421859 h 2729555"/>
                <a:gd name="connsiteX1303" fmla="*/ 1532012 w 5631293"/>
                <a:gd name="connsiteY1303" fmla="*/ 2423001 h 2729555"/>
                <a:gd name="connsiteX1304" fmla="*/ 1518816 w 5631293"/>
                <a:gd name="connsiteY1304" fmla="*/ 2423001 h 2729555"/>
                <a:gd name="connsiteX1305" fmla="*/ 1518816 w 5631293"/>
                <a:gd name="connsiteY1305" fmla="*/ 2415895 h 2729555"/>
                <a:gd name="connsiteX1306" fmla="*/ 1520339 w 5631293"/>
                <a:gd name="connsiteY1306" fmla="*/ 2417037 h 2729555"/>
                <a:gd name="connsiteX1307" fmla="*/ 1503463 w 5631293"/>
                <a:gd name="connsiteY1307" fmla="*/ 2417037 h 2729555"/>
                <a:gd name="connsiteX1308" fmla="*/ 1503463 w 5631293"/>
                <a:gd name="connsiteY1308" fmla="*/ 2410185 h 2729555"/>
                <a:gd name="connsiteX1309" fmla="*/ 1504986 w 5631293"/>
                <a:gd name="connsiteY1309" fmla="*/ 2411327 h 2729555"/>
                <a:gd name="connsiteX1310" fmla="*/ 1491917 w 5631293"/>
                <a:gd name="connsiteY1310" fmla="*/ 2411327 h 2729555"/>
                <a:gd name="connsiteX1311" fmla="*/ 1491917 w 5631293"/>
                <a:gd name="connsiteY1311" fmla="*/ 2404349 h 2729555"/>
                <a:gd name="connsiteX1312" fmla="*/ 1493439 w 5631293"/>
                <a:gd name="connsiteY1312" fmla="*/ 2405491 h 2729555"/>
                <a:gd name="connsiteX1313" fmla="*/ 1458927 w 5631293"/>
                <a:gd name="connsiteY1313" fmla="*/ 2405491 h 2729555"/>
                <a:gd name="connsiteX1314" fmla="*/ 1458927 w 5631293"/>
                <a:gd name="connsiteY1314" fmla="*/ 2392675 h 2729555"/>
                <a:gd name="connsiteX1315" fmla="*/ 1460449 w 5631293"/>
                <a:gd name="connsiteY1315" fmla="*/ 2393817 h 2729555"/>
                <a:gd name="connsiteX1316" fmla="*/ 1450806 w 5631293"/>
                <a:gd name="connsiteY1316" fmla="*/ 2393817 h 2729555"/>
                <a:gd name="connsiteX1317" fmla="*/ 1422130 w 5631293"/>
                <a:gd name="connsiteY1317" fmla="*/ 2393817 h 2729555"/>
                <a:gd name="connsiteX1318" fmla="*/ 1422130 w 5631293"/>
                <a:gd name="connsiteY1318" fmla="*/ 2386965 h 2729555"/>
                <a:gd name="connsiteX1319" fmla="*/ 1423653 w 5631293"/>
                <a:gd name="connsiteY1319" fmla="*/ 2388107 h 2729555"/>
                <a:gd name="connsiteX1320" fmla="*/ 1412487 w 5631293"/>
                <a:gd name="connsiteY1320" fmla="*/ 2388107 h 2729555"/>
                <a:gd name="connsiteX1321" fmla="*/ 1412487 w 5631293"/>
                <a:gd name="connsiteY1321" fmla="*/ 2381256 h 2729555"/>
                <a:gd name="connsiteX1322" fmla="*/ 1414009 w 5631293"/>
                <a:gd name="connsiteY1322" fmla="*/ 2382271 h 2729555"/>
                <a:gd name="connsiteX1323" fmla="*/ 1410203 w 5631293"/>
                <a:gd name="connsiteY1323" fmla="*/ 2382271 h 2729555"/>
                <a:gd name="connsiteX1324" fmla="*/ 1402463 w 5631293"/>
                <a:gd name="connsiteY1324" fmla="*/ 2382271 h 2729555"/>
                <a:gd name="connsiteX1325" fmla="*/ 1396626 w 5631293"/>
                <a:gd name="connsiteY1325" fmla="*/ 2382271 h 2729555"/>
                <a:gd name="connsiteX1326" fmla="*/ 1392819 w 5631293"/>
                <a:gd name="connsiteY1326" fmla="*/ 2382271 h 2729555"/>
                <a:gd name="connsiteX1327" fmla="*/ 1389393 w 5631293"/>
                <a:gd name="connsiteY1327" fmla="*/ 2382271 h 2729555"/>
                <a:gd name="connsiteX1328" fmla="*/ 1389393 w 5631293"/>
                <a:gd name="connsiteY1328" fmla="*/ 2375673 h 2729555"/>
                <a:gd name="connsiteX1329" fmla="*/ 1390916 w 5631293"/>
                <a:gd name="connsiteY1329" fmla="*/ 2376815 h 2729555"/>
                <a:gd name="connsiteX1330" fmla="*/ 1375690 w 5631293"/>
                <a:gd name="connsiteY1330" fmla="*/ 2376815 h 2729555"/>
                <a:gd name="connsiteX1331" fmla="*/ 1375690 w 5631293"/>
                <a:gd name="connsiteY1331" fmla="*/ 2370216 h 2729555"/>
                <a:gd name="connsiteX1332" fmla="*/ 1377212 w 5631293"/>
                <a:gd name="connsiteY1332" fmla="*/ 2371359 h 2729555"/>
                <a:gd name="connsiteX1333" fmla="*/ 1371883 w 5631293"/>
                <a:gd name="connsiteY1333" fmla="*/ 2371359 h 2729555"/>
                <a:gd name="connsiteX1334" fmla="*/ 1371883 w 5631293"/>
                <a:gd name="connsiteY1334" fmla="*/ 2364633 h 2729555"/>
                <a:gd name="connsiteX1335" fmla="*/ 1373406 w 5631293"/>
                <a:gd name="connsiteY1335" fmla="*/ 2365776 h 2729555"/>
                <a:gd name="connsiteX1336" fmla="*/ 1365666 w 5631293"/>
                <a:gd name="connsiteY1336" fmla="*/ 2365776 h 2729555"/>
                <a:gd name="connsiteX1337" fmla="*/ 1356403 w 5631293"/>
                <a:gd name="connsiteY1337" fmla="*/ 2365776 h 2729555"/>
                <a:gd name="connsiteX1338" fmla="*/ 1356403 w 5631293"/>
                <a:gd name="connsiteY1338" fmla="*/ 2359304 h 2729555"/>
                <a:gd name="connsiteX1339" fmla="*/ 1357926 w 5631293"/>
                <a:gd name="connsiteY1339" fmla="*/ 2360319 h 2729555"/>
                <a:gd name="connsiteX1340" fmla="*/ 1344857 w 5631293"/>
                <a:gd name="connsiteY1340" fmla="*/ 2360319 h 2729555"/>
                <a:gd name="connsiteX1341" fmla="*/ 1344857 w 5631293"/>
                <a:gd name="connsiteY1341" fmla="*/ 2353848 h 2729555"/>
                <a:gd name="connsiteX1342" fmla="*/ 1346379 w 5631293"/>
                <a:gd name="connsiteY1342" fmla="*/ 2354990 h 2729555"/>
                <a:gd name="connsiteX1343" fmla="*/ 1329250 w 5631293"/>
                <a:gd name="connsiteY1343" fmla="*/ 2354990 h 2729555"/>
                <a:gd name="connsiteX1344" fmla="*/ 1329250 w 5631293"/>
                <a:gd name="connsiteY1344" fmla="*/ 2348392 h 2729555"/>
                <a:gd name="connsiteX1345" fmla="*/ 1330773 w 5631293"/>
                <a:gd name="connsiteY1345" fmla="*/ 2349534 h 2729555"/>
                <a:gd name="connsiteX1346" fmla="*/ 1315419 w 5631293"/>
                <a:gd name="connsiteY1346" fmla="*/ 2349534 h 2729555"/>
                <a:gd name="connsiteX1347" fmla="*/ 1306157 w 5631293"/>
                <a:gd name="connsiteY1347" fmla="*/ 2349534 h 2729555"/>
                <a:gd name="connsiteX1348" fmla="*/ 1306157 w 5631293"/>
                <a:gd name="connsiteY1348" fmla="*/ 2343063 h 2729555"/>
                <a:gd name="connsiteX1349" fmla="*/ 1307679 w 5631293"/>
                <a:gd name="connsiteY1349" fmla="*/ 2344078 h 2729555"/>
                <a:gd name="connsiteX1350" fmla="*/ 1292453 w 5631293"/>
                <a:gd name="connsiteY1350" fmla="*/ 2344078 h 2729555"/>
                <a:gd name="connsiteX1351" fmla="*/ 1292453 w 5631293"/>
                <a:gd name="connsiteY1351" fmla="*/ 2332278 h 2729555"/>
                <a:gd name="connsiteX1352" fmla="*/ 1294103 w 5631293"/>
                <a:gd name="connsiteY1352" fmla="*/ 2333420 h 2729555"/>
                <a:gd name="connsiteX1353" fmla="*/ 1288647 w 5631293"/>
                <a:gd name="connsiteY1353" fmla="*/ 2333420 h 2729555"/>
                <a:gd name="connsiteX1354" fmla="*/ 1288647 w 5631293"/>
                <a:gd name="connsiteY1354" fmla="*/ 2326822 h 2729555"/>
                <a:gd name="connsiteX1355" fmla="*/ 1290169 w 5631293"/>
                <a:gd name="connsiteY1355" fmla="*/ 2327964 h 2729555"/>
                <a:gd name="connsiteX1356" fmla="*/ 1263523 w 5631293"/>
                <a:gd name="connsiteY1356" fmla="*/ 2327964 h 2729555"/>
                <a:gd name="connsiteX1357" fmla="*/ 1263523 w 5631293"/>
                <a:gd name="connsiteY1357" fmla="*/ 2321493 h 2729555"/>
                <a:gd name="connsiteX1358" fmla="*/ 1265046 w 5631293"/>
                <a:gd name="connsiteY1358" fmla="*/ 2322634 h 2729555"/>
                <a:gd name="connsiteX1359" fmla="*/ 1263143 w 5631293"/>
                <a:gd name="connsiteY1359" fmla="*/ 2322634 h 2729555"/>
                <a:gd name="connsiteX1360" fmla="*/ 1248170 w 5631293"/>
                <a:gd name="connsiteY1360" fmla="*/ 2322634 h 2729555"/>
                <a:gd name="connsiteX1361" fmla="*/ 1248170 w 5631293"/>
                <a:gd name="connsiteY1361" fmla="*/ 2316163 h 2729555"/>
                <a:gd name="connsiteX1362" fmla="*/ 1249693 w 5631293"/>
                <a:gd name="connsiteY1362" fmla="*/ 2317179 h 2729555"/>
                <a:gd name="connsiteX1363" fmla="*/ 1246140 w 5631293"/>
                <a:gd name="connsiteY1363" fmla="*/ 2317179 h 2729555"/>
                <a:gd name="connsiteX1364" fmla="*/ 1246140 w 5631293"/>
                <a:gd name="connsiteY1364" fmla="*/ 2310834 h 2729555"/>
                <a:gd name="connsiteX1365" fmla="*/ 1247663 w 5631293"/>
                <a:gd name="connsiteY1365" fmla="*/ 2311976 h 2729555"/>
                <a:gd name="connsiteX1366" fmla="*/ 1244110 w 5631293"/>
                <a:gd name="connsiteY1366" fmla="*/ 2311976 h 2729555"/>
                <a:gd name="connsiteX1367" fmla="*/ 1244110 w 5631293"/>
                <a:gd name="connsiteY1367" fmla="*/ 2305505 h 2729555"/>
                <a:gd name="connsiteX1368" fmla="*/ 1245759 w 5631293"/>
                <a:gd name="connsiteY1368" fmla="*/ 2306647 h 2729555"/>
                <a:gd name="connsiteX1369" fmla="*/ 1240303 w 5631293"/>
                <a:gd name="connsiteY1369" fmla="*/ 2306647 h 2729555"/>
                <a:gd name="connsiteX1370" fmla="*/ 1240303 w 5631293"/>
                <a:gd name="connsiteY1370" fmla="*/ 2300176 h 2729555"/>
                <a:gd name="connsiteX1371" fmla="*/ 1241826 w 5631293"/>
                <a:gd name="connsiteY1371" fmla="*/ 2301318 h 2729555"/>
                <a:gd name="connsiteX1372" fmla="*/ 1214799 w 5631293"/>
                <a:gd name="connsiteY1372" fmla="*/ 2301318 h 2729555"/>
                <a:gd name="connsiteX1373" fmla="*/ 1189930 w 5631293"/>
                <a:gd name="connsiteY1373" fmla="*/ 2301318 h 2729555"/>
                <a:gd name="connsiteX1374" fmla="*/ 1189930 w 5631293"/>
                <a:gd name="connsiteY1374" fmla="*/ 2294847 h 2729555"/>
                <a:gd name="connsiteX1375" fmla="*/ 1191452 w 5631293"/>
                <a:gd name="connsiteY1375" fmla="*/ 2295989 h 2729555"/>
                <a:gd name="connsiteX1376" fmla="*/ 1179906 w 5631293"/>
                <a:gd name="connsiteY1376" fmla="*/ 2295989 h 2729555"/>
                <a:gd name="connsiteX1377" fmla="*/ 1166837 w 5631293"/>
                <a:gd name="connsiteY1377" fmla="*/ 2295989 h 2729555"/>
                <a:gd name="connsiteX1378" fmla="*/ 1166837 w 5631293"/>
                <a:gd name="connsiteY1378" fmla="*/ 2289644 h 2729555"/>
                <a:gd name="connsiteX1379" fmla="*/ 1168359 w 5631293"/>
                <a:gd name="connsiteY1379" fmla="*/ 2290660 h 2729555"/>
                <a:gd name="connsiteX1380" fmla="*/ 1164934 w 5631293"/>
                <a:gd name="connsiteY1380" fmla="*/ 2290660 h 2729555"/>
                <a:gd name="connsiteX1381" fmla="*/ 1164934 w 5631293"/>
                <a:gd name="connsiteY1381" fmla="*/ 2284315 h 2729555"/>
                <a:gd name="connsiteX1382" fmla="*/ 1166456 w 5631293"/>
                <a:gd name="connsiteY1382" fmla="*/ 2285457 h 2729555"/>
                <a:gd name="connsiteX1383" fmla="*/ 1139683 w 5631293"/>
                <a:gd name="connsiteY1383" fmla="*/ 2285457 h 2729555"/>
                <a:gd name="connsiteX1384" fmla="*/ 1139683 w 5631293"/>
                <a:gd name="connsiteY1384" fmla="*/ 2279113 h 2729555"/>
                <a:gd name="connsiteX1385" fmla="*/ 1141206 w 5631293"/>
                <a:gd name="connsiteY1385" fmla="*/ 2280255 h 2729555"/>
                <a:gd name="connsiteX1386" fmla="*/ 1137780 w 5631293"/>
                <a:gd name="connsiteY1386" fmla="*/ 2280255 h 2729555"/>
                <a:gd name="connsiteX1387" fmla="*/ 1137780 w 5631293"/>
                <a:gd name="connsiteY1387" fmla="*/ 2273911 h 2729555"/>
                <a:gd name="connsiteX1388" fmla="*/ 1139303 w 5631293"/>
                <a:gd name="connsiteY1388" fmla="*/ 2275053 h 2729555"/>
                <a:gd name="connsiteX1389" fmla="*/ 1133847 w 5631293"/>
                <a:gd name="connsiteY1389" fmla="*/ 2275053 h 2729555"/>
                <a:gd name="connsiteX1390" fmla="*/ 1133847 w 5631293"/>
                <a:gd name="connsiteY1390" fmla="*/ 2268581 h 2729555"/>
                <a:gd name="connsiteX1391" fmla="*/ 1135369 w 5631293"/>
                <a:gd name="connsiteY1391" fmla="*/ 2269723 h 2729555"/>
                <a:gd name="connsiteX1392" fmla="*/ 1131943 w 5631293"/>
                <a:gd name="connsiteY1392" fmla="*/ 2269723 h 2729555"/>
                <a:gd name="connsiteX1393" fmla="*/ 1131943 w 5631293"/>
                <a:gd name="connsiteY1393" fmla="*/ 2263379 h 2729555"/>
                <a:gd name="connsiteX1394" fmla="*/ 1133466 w 5631293"/>
                <a:gd name="connsiteY1394" fmla="*/ 2264521 h 2729555"/>
                <a:gd name="connsiteX1395" fmla="*/ 1120016 w 5631293"/>
                <a:gd name="connsiteY1395" fmla="*/ 2264521 h 2729555"/>
                <a:gd name="connsiteX1396" fmla="*/ 1110753 w 5631293"/>
                <a:gd name="connsiteY1396" fmla="*/ 2264521 h 2729555"/>
                <a:gd name="connsiteX1397" fmla="*/ 1110753 w 5631293"/>
                <a:gd name="connsiteY1397" fmla="*/ 2258177 h 2729555"/>
                <a:gd name="connsiteX1398" fmla="*/ 1112276 w 5631293"/>
                <a:gd name="connsiteY1398" fmla="*/ 2259319 h 2729555"/>
                <a:gd name="connsiteX1399" fmla="*/ 1100730 w 5631293"/>
                <a:gd name="connsiteY1399" fmla="*/ 2259319 h 2729555"/>
                <a:gd name="connsiteX1400" fmla="*/ 1087407 w 5631293"/>
                <a:gd name="connsiteY1400" fmla="*/ 2259319 h 2729555"/>
                <a:gd name="connsiteX1401" fmla="*/ 1087407 w 5631293"/>
                <a:gd name="connsiteY1401" fmla="*/ 2252975 h 2729555"/>
                <a:gd name="connsiteX1402" fmla="*/ 1088929 w 5631293"/>
                <a:gd name="connsiteY1402" fmla="*/ 2254117 h 2729555"/>
                <a:gd name="connsiteX1403" fmla="*/ 1070150 w 5631293"/>
                <a:gd name="connsiteY1403" fmla="*/ 2254117 h 2729555"/>
                <a:gd name="connsiteX1404" fmla="*/ 1070150 w 5631293"/>
                <a:gd name="connsiteY1404" fmla="*/ 2247899 h 2729555"/>
                <a:gd name="connsiteX1405" fmla="*/ 1071673 w 5631293"/>
                <a:gd name="connsiteY1405" fmla="*/ 2248914 h 2729555"/>
                <a:gd name="connsiteX1406" fmla="*/ 1063933 w 5631293"/>
                <a:gd name="connsiteY1406" fmla="*/ 2248914 h 2729555"/>
                <a:gd name="connsiteX1407" fmla="*/ 1056573 w 5631293"/>
                <a:gd name="connsiteY1407" fmla="*/ 2248914 h 2729555"/>
                <a:gd name="connsiteX1408" fmla="*/ 1056573 w 5631293"/>
                <a:gd name="connsiteY1408" fmla="*/ 2242697 h 2729555"/>
                <a:gd name="connsiteX1409" fmla="*/ 1058096 w 5631293"/>
                <a:gd name="connsiteY1409" fmla="*/ 2243839 h 2729555"/>
                <a:gd name="connsiteX1410" fmla="*/ 1044519 w 5631293"/>
                <a:gd name="connsiteY1410" fmla="*/ 2243839 h 2729555"/>
                <a:gd name="connsiteX1411" fmla="*/ 1035257 w 5631293"/>
                <a:gd name="connsiteY1411" fmla="*/ 2243839 h 2729555"/>
                <a:gd name="connsiteX1412" fmla="*/ 1035257 w 5631293"/>
                <a:gd name="connsiteY1412" fmla="*/ 2237621 h 2729555"/>
                <a:gd name="connsiteX1413" fmla="*/ 1036779 w 5631293"/>
                <a:gd name="connsiteY1413" fmla="*/ 2238763 h 2729555"/>
                <a:gd name="connsiteX1414" fmla="*/ 1029420 w 5631293"/>
                <a:gd name="connsiteY1414" fmla="*/ 2238763 h 2729555"/>
                <a:gd name="connsiteX1415" fmla="*/ 1029420 w 5631293"/>
                <a:gd name="connsiteY1415" fmla="*/ 2232546 h 2729555"/>
                <a:gd name="connsiteX1416" fmla="*/ 1030943 w 5631293"/>
                <a:gd name="connsiteY1416" fmla="*/ 2233688 h 2729555"/>
                <a:gd name="connsiteX1417" fmla="*/ 1023710 w 5631293"/>
                <a:gd name="connsiteY1417" fmla="*/ 2233688 h 2729555"/>
                <a:gd name="connsiteX1418" fmla="*/ 1023710 w 5631293"/>
                <a:gd name="connsiteY1418" fmla="*/ 2227344 h 2729555"/>
                <a:gd name="connsiteX1419" fmla="*/ 1025233 w 5631293"/>
                <a:gd name="connsiteY1419" fmla="*/ 2228486 h 2729555"/>
                <a:gd name="connsiteX1420" fmla="*/ 1021680 w 5631293"/>
                <a:gd name="connsiteY1420" fmla="*/ 2228486 h 2729555"/>
                <a:gd name="connsiteX1421" fmla="*/ 1021680 w 5631293"/>
                <a:gd name="connsiteY1421" fmla="*/ 2222395 h 2729555"/>
                <a:gd name="connsiteX1422" fmla="*/ 1023203 w 5631293"/>
                <a:gd name="connsiteY1422" fmla="*/ 2223537 h 2729555"/>
                <a:gd name="connsiteX1423" fmla="*/ 1012037 w 5631293"/>
                <a:gd name="connsiteY1423" fmla="*/ 2223537 h 2729555"/>
                <a:gd name="connsiteX1424" fmla="*/ 1012037 w 5631293"/>
                <a:gd name="connsiteY1424" fmla="*/ 2217193 h 2729555"/>
                <a:gd name="connsiteX1425" fmla="*/ 1013559 w 5631293"/>
                <a:gd name="connsiteY1425" fmla="*/ 2218335 h 2729555"/>
                <a:gd name="connsiteX1426" fmla="*/ 994653 w 5631293"/>
                <a:gd name="connsiteY1426" fmla="*/ 2218335 h 2729555"/>
                <a:gd name="connsiteX1427" fmla="*/ 994653 w 5631293"/>
                <a:gd name="connsiteY1427" fmla="*/ 2207042 h 2729555"/>
                <a:gd name="connsiteX1428" fmla="*/ 996176 w 5631293"/>
                <a:gd name="connsiteY1428" fmla="*/ 2208184 h 2729555"/>
                <a:gd name="connsiteX1429" fmla="*/ 985010 w 5631293"/>
                <a:gd name="connsiteY1429" fmla="*/ 2208184 h 2729555"/>
                <a:gd name="connsiteX1430" fmla="*/ 985010 w 5631293"/>
                <a:gd name="connsiteY1430" fmla="*/ 2201967 h 2729555"/>
                <a:gd name="connsiteX1431" fmla="*/ 986533 w 5631293"/>
                <a:gd name="connsiteY1431" fmla="*/ 2202982 h 2729555"/>
                <a:gd name="connsiteX1432" fmla="*/ 984503 w 5631293"/>
                <a:gd name="connsiteY1432" fmla="*/ 2202982 h 2729555"/>
                <a:gd name="connsiteX1433" fmla="*/ 979173 w 5631293"/>
                <a:gd name="connsiteY1433" fmla="*/ 2202982 h 2729555"/>
                <a:gd name="connsiteX1434" fmla="*/ 979173 w 5631293"/>
                <a:gd name="connsiteY1434" fmla="*/ 2196891 h 2729555"/>
                <a:gd name="connsiteX1435" fmla="*/ 980696 w 5631293"/>
                <a:gd name="connsiteY1435" fmla="*/ 2198033 h 2729555"/>
                <a:gd name="connsiteX1436" fmla="*/ 973337 w 5631293"/>
                <a:gd name="connsiteY1436" fmla="*/ 2198033 h 2729555"/>
                <a:gd name="connsiteX1437" fmla="*/ 973337 w 5631293"/>
                <a:gd name="connsiteY1437" fmla="*/ 2191816 h 2729555"/>
                <a:gd name="connsiteX1438" fmla="*/ 974859 w 5631293"/>
                <a:gd name="connsiteY1438" fmla="*/ 2192958 h 2729555"/>
                <a:gd name="connsiteX1439" fmla="*/ 963693 w 5631293"/>
                <a:gd name="connsiteY1439" fmla="*/ 2192958 h 2729555"/>
                <a:gd name="connsiteX1440" fmla="*/ 963693 w 5631293"/>
                <a:gd name="connsiteY1440" fmla="*/ 2186740 h 2729555"/>
                <a:gd name="connsiteX1441" fmla="*/ 965216 w 5631293"/>
                <a:gd name="connsiteY1441" fmla="*/ 2187882 h 2729555"/>
                <a:gd name="connsiteX1442" fmla="*/ 957984 w 5631293"/>
                <a:gd name="connsiteY1442" fmla="*/ 2187882 h 2729555"/>
                <a:gd name="connsiteX1443" fmla="*/ 957984 w 5631293"/>
                <a:gd name="connsiteY1443" fmla="*/ 2181792 h 2729555"/>
                <a:gd name="connsiteX1444" fmla="*/ 959506 w 5631293"/>
                <a:gd name="connsiteY1444" fmla="*/ 2182807 h 2729555"/>
                <a:gd name="connsiteX1445" fmla="*/ 955953 w 5631293"/>
                <a:gd name="connsiteY1445" fmla="*/ 2182807 h 2729555"/>
                <a:gd name="connsiteX1446" fmla="*/ 955953 w 5631293"/>
                <a:gd name="connsiteY1446" fmla="*/ 2176716 h 2729555"/>
                <a:gd name="connsiteX1447" fmla="*/ 957476 w 5631293"/>
                <a:gd name="connsiteY1447" fmla="*/ 2177859 h 2729555"/>
                <a:gd name="connsiteX1448" fmla="*/ 932733 w 5631293"/>
                <a:gd name="connsiteY1448" fmla="*/ 2177859 h 2729555"/>
                <a:gd name="connsiteX1449" fmla="*/ 932733 w 5631293"/>
                <a:gd name="connsiteY1449" fmla="*/ 2171514 h 2729555"/>
                <a:gd name="connsiteX1450" fmla="*/ 934256 w 5631293"/>
                <a:gd name="connsiteY1450" fmla="*/ 2172656 h 2729555"/>
                <a:gd name="connsiteX1451" fmla="*/ 930830 w 5631293"/>
                <a:gd name="connsiteY1451" fmla="*/ 2172656 h 2729555"/>
                <a:gd name="connsiteX1452" fmla="*/ 930830 w 5631293"/>
                <a:gd name="connsiteY1452" fmla="*/ 2166566 h 2729555"/>
                <a:gd name="connsiteX1453" fmla="*/ 932353 w 5631293"/>
                <a:gd name="connsiteY1453" fmla="*/ 2167581 h 2729555"/>
                <a:gd name="connsiteX1454" fmla="*/ 917253 w 5631293"/>
                <a:gd name="connsiteY1454" fmla="*/ 2167581 h 2729555"/>
                <a:gd name="connsiteX1455" fmla="*/ 917253 w 5631293"/>
                <a:gd name="connsiteY1455" fmla="*/ 2161490 h 2729555"/>
                <a:gd name="connsiteX1456" fmla="*/ 918776 w 5631293"/>
                <a:gd name="connsiteY1456" fmla="*/ 2162632 h 2729555"/>
                <a:gd name="connsiteX1457" fmla="*/ 897840 w 5631293"/>
                <a:gd name="connsiteY1457" fmla="*/ 2162632 h 2729555"/>
                <a:gd name="connsiteX1458" fmla="*/ 897840 w 5631293"/>
                <a:gd name="connsiteY1458" fmla="*/ 2156415 h 2729555"/>
                <a:gd name="connsiteX1459" fmla="*/ 899363 w 5631293"/>
                <a:gd name="connsiteY1459" fmla="*/ 2157557 h 2729555"/>
                <a:gd name="connsiteX1460" fmla="*/ 894033 w 5631293"/>
                <a:gd name="connsiteY1460" fmla="*/ 2157557 h 2729555"/>
                <a:gd name="connsiteX1461" fmla="*/ 894033 w 5631293"/>
                <a:gd name="connsiteY1461" fmla="*/ 2151339 h 2729555"/>
                <a:gd name="connsiteX1462" fmla="*/ 895556 w 5631293"/>
                <a:gd name="connsiteY1462" fmla="*/ 2152482 h 2729555"/>
                <a:gd name="connsiteX1463" fmla="*/ 892130 w 5631293"/>
                <a:gd name="connsiteY1463" fmla="*/ 2152482 h 2729555"/>
                <a:gd name="connsiteX1464" fmla="*/ 892130 w 5631293"/>
                <a:gd name="connsiteY1464" fmla="*/ 2141189 h 2729555"/>
                <a:gd name="connsiteX1465" fmla="*/ 893653 w 5631293"/>
                <a:gd name="connsiteY1465" fmla="*/ 2142331 h 2729555"/>
                <a:gd name="connsiteX1466" fmla="*/ 884390 w 5631293"/>
                <a:gd name="connsiteY1466" fmla="*/ 2142331 h 2729555"/>
                <a:gd name="connsiteX1467" fmla="*/ 884390 w 5631293"/>
                <a:gd name="connsiteY1467" fmla="*/ 2136113 h 2729555"/>
                <a:gd name="connsiteX1468" fmla="*/ 885913 w 5631293"/>
                <a:gd name="connsiteY1468" fmla="*/ 2137255 h 2729555"/>
                <a:gd name="connsiteX1469" fmla="*/ 876650 w 5631293"/>
                <a:gd name="connsiteY1469" fmla="*/ 2137255 h 2729555"/>
                <a:gd name="connsiteX1470" fmla="*/ 876650 w 5631293"/>
                <a:gd name="connsiteY1470" fmla="*/ 2131165 h 2729555"/>
                <a:gd name="connsiteX1471" fmla="*/ 878173 w 5631293"/>
                <a:gd name="connsiteY1471" fmla="*/ 2132307 h 2729555"/>
                <a:gd name="connsiteX1472" fmla="*/ 857237 w 5631293"/>
                <a:gd name="connsiteY1472" fmla="*/ 2132307 h 2729555"/>
                <a:gd name="connsiteX1473" fmla="*/ 857237 w 5631293"/>
                <a:gd name="connsiteY1473" fmla="*/ 2126089 h 2729555"/>
                <a:gd name="connsiteX1474" fmla="*/ 858759 w 5631293"/>
                <a:gd name="connsiteY1474" fmla="*/ 2127231 h 2729555"/>
                <a:gd name="connsiteX1475" fmla="*/ 853430 w 5631293"/>
                <a:gd name="connsiteY1475" fmla="*/ 2127231 h 2729555"/>
                <a:gd name="connsiteX1476" fmla="*/ 853430 w 5631293"/>
                <a:gd name="connsiteY1476" fmla="*/ 2115939 h 2729555"/>
                <a:gd name="connsiteX1477" fmla="*/ 854953 w 5631293"/>
                <a:gd name="connsiteY1477" fmla="*/ 2117080 h 2729555"/>
                <a:gd name="connsiteX1478" fmla="*/ 849497 w 5631293"/>
                <a:gd name="connsiteY1478" fmla="*/ 2117080 h 2729555"/>
                <a:gd name="connsiteX1479" fmla="*/ 849497 w 5631293"/>
                <a:gd name="connsiteY1479" fmla="*/ 2110863 h 2729555"/>
                <a:gd name="connsiteX1480" fmla="*/ 851019 w 5631293"/>
                <a:gd name="connsiteY1480" fmla="*/ 2112005 h 2729555"/>
                <a:gd name="connsiteX1481" fmla="*/ 847593 w 5631293"/>
                <a:gd name="connsiteY1481" fmla="*/ 2112005 h 2729555"/>
                <a:gd name="connsiteX1482" fmla="*/ 847593 w 5631293"/>
                <a:gd name="connsiteY1482" fmla="*/ 2105788 h 2729555"/>
                <a:gd name="connsiteX1483" fmla="*/ 849116 w 5631293"/>
                <a:gd name="connsiteY1483" fmla="*/ 2106930 h 2729555"/>
                <a:gd name="connsiteX1484" fmla="*/ 841757 w 5631293"/>
                <a:gd name="connsiteY1484" fmla="*/ 2106930 h 2729555"/>
                <a:gd name="connsiteX1485" fmla="*/ 841757 w 5631293"/>
                <a:gd name="connsiteY1485" fmla="*/ 2090561 h 2729555"/>
                <a:gd name="connsiteX1486" fmla="*/ 843279 w 5631293"/>
                <a:gd name="connsiteY1486" fmla="*/ 2091703 h 2729555"/>
                <a:gd name="connsiteX1487" fmla="*/ 827926 w 5631293"/>
                <a:gd name="connsiteY1487" fmla="*/ 2091703 h 2729555"/>
                <a:gd name="connsiteX1488" fmla="*/ 825896 w 5631293"/>
                <a:gd name="connsiteY1488" fmla="*/ 2091703 h 2729555"/>
                <a:gd name="connsiteX1489" fmla="*/ 818664 w 5631293"/>
                <a:gd name="connsiteY1489" fmla="*/ 2091703 h 2729555"/>
                <a:gd name="connsiteX1490" fmla="*/ 818664 w 5631293"/>
                <a:gd name="connsiteY1490" fmla="*/ 2085613 h 2729555"/>
                <a:gd name="connsiteX1491" fmla="*/ 820186 w 5631293"/>
                <a:gd name="connsiteY1491" fmla="*/ 2086755 h 2729555"/>
                <a:gd name="connsiteX1492" fmla="*/ 814730 w 5631293"/>
                <a:gd name="connsiteY1492" fmla="*/ 2086755 h 2729555"/>
                <a:gd name="connsiteX1493" fmla="*/ 814730 w 5631293"/>
                <a:gd name="connsiteY1493" fmla="*/ 2080664 h 2729555"/>
                <a:gd name="connsiteX1494" fmla="*/ 816253 w 5631293"/>
                <a:gd name="connsiteY1494" fmla="*/ 2081806 h 2729555"/>
                <a:gd name="connsiteX1495" fmla="*/ 810924 w 5631293"/>
                <a:gd name="connsiteY1495" fmla="*/ 2081806 h 2729555"/>
                <a:gd name="connsiteX1496" fmla="*/ 810924 w 5631293"/>
                <a:gd name="connsiteY1496" fmla="*/ 2075716 h 2729555"/>
                <a:gd name="connsiteX1497" fmla="*/ 812446 w 5631293"/>
                <a:gd name="connsiteY1497" fmla="*/ 2076858 h 2729555"/>
                <a:gd name="connsiteX1498" fmla="*/ 804960 w 5631293"/>
                <a:gd name="connsiteY1498" fmla="*/ 2076858 h 2729555"/>
                <a:gd name="connsiteX1499" fmla="*/ 804960 w 5631293"/>
                <a:gd name="connsiteY1499" fmla="*/ 2070767 h 2729555"/>
                <a:gd name="connsiteX1500" fmla="*/ 806483 w 5631293"/>
                <a:gd name="connsiteY1500" fmla="*/ 2071782 h 2729555"/>
                <a:gd name="connsiteX1501" fmla="*/ 803057 w 5631293"/>
                <a:gd name="connsiteY1501" fmla="*/ 2071782 h 2729555"/>
                <a:gd name="connsiteX1502" fmla="*/ 803057 w 5631293"/>
                <a:gd name="connsiteY1502" fmla="*/ 2065819 h 2729555"/>
                <a:gd name="connsiteX1503" fmla="*/ 804579 w 5631293"/>
                <a:gd name="connsiteY1503" fmla="*/ 2066834 h 2729555"/>
                <a:gd name="connsiteX1504" fmla="*/ 799250 w 5631293"/>
                <a:gd name="connsiteY1504" fmla="*/ 2066834 h 2729555"/>
                <a:gd name="connsiteX1505" fmla="*/ 799250 w 5631293"/>
                <a:gd name="connsiteY1505" fmla="*/ 2050973 h 2729555"/>
                <a:gd name="connsiteX1506" fmla="*/ 800773 w 5631293"/>
                <a:gd name="connsiteY1506" fmla="*/ 2051988 h 2729555"/>
                <a:gd name="connsiteX1507" fmla="*/ 797347 w 5631293"/>
                <a:gd name="connsiteY1507" fmla="*/ 2051988 h 2729555"/>
                <a:gd name="connsiteX1508" fmla="*/ 797347 w 5631293"/>
                <a:gd name="connsiteY1508" fmla="*/ 2041076 h 2729555"/>
                <a:gd name="connsiteX1509" fmla="*/ 798869 w 5631293"/>
                <a:gd name="connsiteY1509" fmla="*/ 2042218 h 2729555"/>
                <a:gd name="connsiteX1510" fmla="*/ 795317 w 5631293"/>
                <a:gd name="connsiteY1510" fmla="*/ 2042218 h 2729555"/>
                <a:gd name="connsiteX1511" fmla="*/ 795317 w 5631293"/>
                <a:gd name="connsiteY1511" fmla="*/ 2036128 h 2729555"/>
                <a:gd name="connsiteX1512" fmla="*/ 796839 w 5631293"/>
                <a:gd name="connsiteY1512" fmla="*/ 2037270 h 2729555"/>
                <a:gd name="connsiteX1513" fmla="*/ 774127 w 5631293"/>
                <a:gd name="connsiteY1513" fmla="*/ 2037270 h 2729555"/>
                <a:gd name="connsiteX1514" fmla="*/ 774127 w 5631293"/>
                <a:gd name="connsiteY1514" fmla="*/ 2031306 h 2729555"/>
                <a:gd name="connsiteX1515" fmla="*/ 775650 w 5631293"/>
                <a:gd name="connsiteY1515" fmla="*/ 2032448 h 2729555"/>
                <a:gd name="connsiteX1516" fmla="*/ 772224 w 5631293"/>
                <a:gd name="connsiteY1516" fmla="*/ 2032448 h 2729555"/>
                <a:gd name="connsiteX1517" fmla="*/ 772224 w 5631293"/>
                <a:gd name="connsiteY1517" fmla="*/ 2026484 h 2729555"/>
                <a:gd name="connsiteX1518" fmla="*/ 773746 w 5631293"/>
                <a:gd name="connsiteY1518" fmla="*/ 2027626 h 2729555"/>
                <a:gd name="connsiteX1519" fmla="*/ 770320 w 5631293"/>
                <a:gd name="connsiteY1519" fmla="*/ 2027626 h 2729555"/>
                <a:gd name="connsiteX1520" fmla="*/ 770320 w 5631293"/>
                <a:gd name="connsiteY1520" fmla="*/ 2016714 h 2729555"/>
                <a:gd name="connsiteX1521" fmla="*/ 771843 w 5631293"/>
                <a:gd name="connsiteY1521" fmla="*/ 2017856 h 2729555"/>
                <a:gd name="connsiteX1522" fmla="*/ 766387 w 5631293"/>
                <a:gd name="connsiteY1522" fmla="*/ 2017856 h 2729555"/>
                <a:gd name="connsiteX1523" fmla="*/ 766387 w 5631293"/>
                <a:gd name="connsiteY1523" fmla="*/ 2011893 h 2729555"/>
                <a:gd name="connsiteX1524" fmla="*/ 767910 w 5631293"/>
                <a:gd name="connsiteY1524" fmla="*/ 2013035 h 2729555"/>
                <a:gd name="connsiteX1525" fmla="*/ 752810 w 5631293"/>
                <a:gd name="connsiteY1525" fmla="*/ 2013035 h 2729555"/>
                <a:gd name="connsiteX1526" fmla="*/ 752810 w 5631293"/>
                <a:gd name="connsiteY1526" fmla="*/ 2007071 h 2729555"/>
                <a:gd name="connsiteX1527" fmla="*/ 754333 w 5631293"/>
                <a:gd name="connsiteY1527" fmla="*/ 2008086 h 2729555"/>
                <a:gd name="connsiteX1528" fmla="*/ 745070 w 5631293"/>
                <a:gd name="connsiteY1528" fmla="*/ 2008086 h 2729555"/>
                <a:gd name="connsiteX1529" fmla="*/ 745070 w 5631293"/>
                <a:gd name="connsiteY1529" fmla="*/ 2002122 h 2729555"/>
                <a:gd name="connsiteX1530" fmla="*/ 746593 w 5631293"/>
                <a:gd name="connsiteY1530" fmla="*/ 2003264 h 2729555"/>
                <a:gd name="connsiteX1531" fmla="*/ 743167 w 5631293"/>
                <a:gd name="connsiteY1531" fmla="*/ 2003264 h 2729555"/>
                <a:gd name="connsiteX1532" fmla="*/ 743167 w 5631293"/>
                <a:gd name="connsiteY1532" fmla="*/ 1997301 h 2729555"/>
                <a:gd name="connsiteX1533" fmla="*/ 744690 w 5631293"/>
                <a:gd name="connsiteY1533" fmla="*/ 1998443 h 2729555"/>
                <a:gd name="connsiteX1534" fmla="*/ 735427 w 5631293"/>
                <a:gd name="connsiteY1534" fmla="*/ 1998443 h 2729555"/>
                <a:gd name="connsiteX1535" fmla="*/ 735427 w 5631293"/>
                <a:gd name="connsiteY1535" fmla="*/ 1987531 h 2729555"/>
                <a:gd name="connsiteX1536" fmla="*/ 736950 w 5631293"/>
                <a:gd name="connsiteY1536" fmla="*/ 1988673 h 2729555"/>
                <a:gd name="connsiteX1537" fmla="*/ 729590 w 5631293"/>
                <a:gd name="connsiteY1537" fmla="*/ 1988673 h 2729555"/>
                <a:gd name="connsiteX1538" fmla="*/ 729590 w 5631293"/>
                <a:gd name="connsiteY1538" fmla="*/ 1972939 h 2729555"/>
                <a:gd name="connsiteX1539" fmla="*/ 731113 w 5631293"/>
                <a:gd name="connsiteY1539" fmla="*/ 1974081 h 2729555"/>
                <a:gd name="connsiteX1540" fmla="*/ 721977 w 5631293"/>
                <a:gd name="connsiteY1540" fmla="*/ 1974081 h 2729555"/>
                <a:gd name="connsiteX1541" fmla="*/ 721977 w 5631293"/>
                <a:gd name="connsiteY1541" fmla="*/ 1958347 h 2729555"/>
                <a:gd name="connsiteX1542" fmla="*/ 723500 w 5631293"/>
                <a:gd name="connsiteY1542" fmla="*/ 1959489 h 2729555"/>
                <a:gd name="connsiteX1543" fmla="*/ 719947 w 5631293"/>
                <a:gd name="connsiteY1543" fmla="*/ 1959489 h 2729555"/>
                <a:gd name="connsiteX1544" fmla="*/ 719947 w 5631293"/>
                <a:gd name="connsiteY1544" fmla="*/ 1953525 h 2729555"/>
                <a:gd name="connsiteX1545" fmla="*/ 721469 w 5631293"/>
                <a:gd name="connsiteY1545" fmla="*/ 1954667 h 2729555"/>
                <a:gd name="connsiteX1546" fmla="*/ 718044 w 5631293"/>
                <a:gd name="connsiteY1546" fmla="*/ 1954667 h 2729555"/>
                <a:gd name="connsiteX1547" fmla="*/ 718044 w 5631293"/>
                <a:gd name="connsiteY1547" fmla="*/ 1948704 h 2729555"/>
                <a:gd name="connsiteX1548" fmla="*/ 719566 w 5631293"/>
                <a:gd name="connsiteY1548" fmla="*/ 1949846 h 2729555"/>
                <a:gd name="connsiteX1549" fmla="*/ 716140 w 5631293"/>
                <a:gd name="connsiteY1549" fmla="*/ 1949846 h 2729555"/>
                <a:gd name="connsiteX1550" fmla="*/ 716140 w 5631293"/>
                <a:gd name="connsiteY1550" fmla="*/ 1938807 h 2729555"/>
                <a:gd name="connsiteX1551" fmla="*/ 717663 w 5631293"/>
                <a:gd name="connsiteY1551" fmla="*/ 1939949 h 2729555"/>
                <a:gd name="connsiteX1552" fmla="*/ 712207 w 5631293"/>
                <a:gd name="connsiteY1552" fmla="*/ 1939949 h 2729555"/>
                <a:gd name="connsiteX1553" fmla="*/ 712207 w 5631293"/>
                <a:gd name="connsiteY1553" fmla="*/ 1929163 h 2729555"/>
                <a:gd name="connsiteX1554" fmla="*/ 713729 w 5631293"/>
                <a:gd name="connsiteY1554" fmla="*/ 1930305 h 2729555"/>
                <a:gd name="connsiteX1555" fmla="*/ 704467 w 5631293"/>
                <a:gd name="connsiteY1555" fmla="*/ 1930305 h 2729555"/>
                <a:gd name="connsiteX1556" fmla="*/ 704467 w 5631293"/>
                <a:gd name="connsiteY1556" fmla="*/ 1924342 h 2729555"/>
                <a:gd name="connsiteX1557" fmla="*/ 705989 w 5631293"/>
                <a:gd name="connsiteY1557" fmla="*/ 1925357 h 2729555"/>
                <a:gd name="connsiteX1558" fmla="*/ 698630 w 5631293"/>
                <a:gd name="connsiteY1558" fmla="*/ 1925357 h 2729555"/>
                <a:gd name="connsiteX1559" fmla="*/ 698630 w 5631293"/>
                <a:gd name="connsiteY1559" fmla="*/ 1919393 h 2729555"/>
                <a:gd name="connsiteX1560" fmla="*/ 700153 w 5631293"/>
                <a:gd name="connsiteY1560" fmla="*/ 1920535 h 2729555"/>
                <a:gd name="connsiteX1561" fmla="*/ 696727 w 5631293"/>
                <a:gd name="connsiteY1561" fmla="*/ 1920535 h 2729555"/>
                <a:gd name="connsiteX1562" fmla="*/ 696727 w 5631293"/>
                <a:gd name="connsiteY1562" fmla="*/ 1914572 h 2729555"/>
                <a:gd name="connsiteX1563" fmla="*/ 698249 w 5631293"/>
                <a:gd name="connsiteY1563" fmla="*/ 1915714 h 2729555"/>
                <a:gd name="connsiteX1564" fmla="*/ 692793 w 5631293"/>
                <a:gd name="connsiteY1564" fmla="*/ 1915714 h 2729555"/>
                <a:gd name="connsiteX1565" fmla="*/ 692793 w 5631293"/>
                <a:gd name="connsiteY1565" fmla="*/ 1904928 h 2729555"/>
                <a:gd name="connsiteX1566" fmla="*/ 694316 w 5631293"/>
                <a:gd name="connsiteY1566" fmla="*/ 1905943 h 2729555"/>
                <a:gd name="connsiteX1567" fmla="*/ 690890 w 5631293"/>
                <a:gd name="connsiteY1567" fmla="*/ 1905943 h 2729555"/>
                <a:gd name="connsiteX1568" fmla="*/ 690890 w 5631293"/>
                <a:gd name="connsiteY1568" fmla="*/ 1899980 h 2729555"/>
                <a:gd name="connsiteX1569" fmla="*/ 692413 w 5631293"/>
                <a:gd name="connsiteY1569" fmla="*/ 1901122 h 2729555"/>
                <a:gd name="connsiteX1570" fmla="*/ 685180 w 5631293"/>
                <a:gd name="connsiteY1570" fmla="*/ 1901122 h 2729555"/>
                <a:gd name="connsiteX1571" fmla="*/ 685180 w 5631293"/>
                <a:gd name="connsiteY1571" fmla="*/ 1895031 h 2729555"/>
                <a:gd name="connsiteX1572" fmla="*/ 686703 w 5631293"/>
                <a:gd name="connsiteY1572" fmla="*/ 1896173 h 2729555"/>
                <a:gd name="connsiteX1573" fmla="*/ 679344 w 5631293"/>
                <a:gd name="connsiteY1573" fmla="*/ 1896173 h 2729555"/>
                <a:gd name="connsiteX1574" fmla="*/ 679344 w 5631293"/>
                <a:gd name="connsiteY1574" fmla="*/ 1890209 h 2729555"/>
                <a:gd name="connsiteX1575" fmla="*/ 680866 w 5631293"/>
                <a:gd name="connsiteY1575" fmla="*/ 1891352 h 2729555"/>
                <a:gd name="connsiteX1576" fmla="*/ 673507 w 5631293"/>
                <a:gd name="connsiteY1576" fmla="*/ 1891352 h 2729555"/>
                <a:gd name="connsiteX1577" fmla="*/ 673507 w 5631293"/>
                <a:gd name="connsiteY1577" fmla="*/ 1885388 h 2729555"/>
                <a:gd name="connsiteX1578" fmla="*/ 675030 w 5631293"/>
                <a:gd name="connsiteY1578" fmla="*/ 1886530 h 2729555"/>
                <a:gd name="connsiteX1579" fmla="*/ 669700 w 5631293"/>
                <a:gd name="connsiteY1579" fmla="*/ 1886530 h 2729555"/>
                <a:gd name="connsiteX1580" fmla="*/ 669700 w 5631293"/>
                <a:gd name="connsiteY1580" fmla="*/ 1880439 h 2729555"/>
                <a:gd name="connsiteX1581" fmla="*/ 671223 w 5631293"/>
                <a:gd name="connsiteY1581" fmla="*/ 1881581 h 2729555"/>
                <a:gd name="connsiteX1582" fmla="*/ 663737 w 5631293"/>
                <a:gd name="connsiteY1582" fmla="*/ 1881581 h 2729555"/>
                <a:gd name="connsiteX1583" fmla="*/ 663737 w 5631293"/>
                <a:gd name="connsiteY1583" fmla="*/ 1875618 h 2729555"/>
                <a:gd name="connsiteX1584" fmla="*/ 665259 w 5631293"/>
                <a:gd name="connsiteY1584" fmla="*/ 1876760 h 2729555"/>
                <a:gd name="connsiteX1585" fmla="*/ 659930 w 5631293"/>
                <a:gd name="connsiteY1585" fmla="*/ 1876760 h 2729555"/>
                <a:gd name="connsiteX1586" fmla="*/ 659930 w 5631293"/>
                <a:gd name="connsiteY1586" fmla="*/ 1865975 h 2729555"/>
                <a:gd name="connsiteX1587" fmla="*/ 661453 w 5631293"/>
                <a:gd name="connsiteY1587" fmla="*/ 1866990 h 2729555"/>
                <a:gd name="connsiteX1588" fmla="*/ 658027 w 5631293"/>
                <a:gd name="connsiteY1588" fmla="*/ 1866990 h 2729555"/>
                <a:gd name="connsiteX1589" fmla="*/ 658027 w 5631293"/>
                <a:gd name="connsiteY1589" fmla="*/ 1861026 h 2729555"/>
                <a:gd name="connsiteX1590" fmla="*/ 659550 w 5631293"/>
                <a:gd name="connsiteY1590" fmla="*/ 1862168 h 2729555"/>
                <a:gd name="connsiteX1591" fmla="*/ 656124 w 5631293"/>
                <a:gd name="connsiteY1591" fmla="*/ 1862168 h 2729555"/>
                <a:gd name="connsiteX1592" fmla="*/ 656124 w 5631293"/>
                <a:gd name="connsiteY1592" fmla="*/ 1851383 h 2729555"/>
                <a:gd name="connsiteX1593" fmla="*/ 657646 w 5631293"/>
                <a:gd name="connsiteY1593" fmla="*/ 1852525 h 2729555"/>
                <a:gd name="connsiteX1594" fmla="*/ 654093 w 5631293"/>
                <a:gd name="connsiteY1594" fmla="*/ 1852525 h 2729555"/>
                <a:gd name="connsiteX1595" fmla="*/ 654093 w 5631293"/>
                <a:gd name="connsiteY1595" fmla="*/ 1846561 h 2729555"/>
                <a:gd name="connsiteX1596" fmla="*/ 655616 w 5631293"/>
                <a:gd name="connsiteY1596" fmla="*/ 1847576 h 2729555"/>
                <a:gd name="connsiteX1597" fmla="*/ 646480 w 5631293"/>
                <a:gd name="connsiteY1597" fmla="*/ 1847576 h 2729555"/>
                <a:gd name="connsiteX1598" fmla="*/ 646480 w 5631293"/>
                <a:gd name="connsiteY1598" fmla="*/ 1841613 h 2729555"/>
                <a:gd name="connsiteX1599" fmla="*/ 648003 w 5631293"/>
                <a:gd name="connsiteY1599" fmla="*/ 1842628 h 2729555"/>
                <a:gd name="connsiteX1600" fmla="*/ 640644 w 5631293"/>
                <a:gd name="connsiteY1600" fmla="*/ 1842628 h 2729555"/>
                <a:gd name="connsiteX1601" fmla="*/ 640644 w 5631293"/>
                <a:gd name="connsiteY1601" fmla="*/ 1836664 h 2729555"/>
                <a:gd name="connsiteX1602" fmla="*/ 642166 w 5631293"/>
                <a:gd name="connsiteY1602" fmla="*/ 1837806 h 2729555"/>
                <a:gd name="connsiteX1603" fmla="*/ 636710 w 5631293"/>
                <a:gd name="connsiteY1603" fmla="*/ 1837806 h 2729555"/>
                <a:gd name="connsiteX1604" fmla="*/ 636710 w 5631293"/>
                <a:gd name="connsiteY1604" fmla="*/ 1831842 h 2729555"/>
                <a:gd name="connsiteX1605" fmla="*/ 638233 w 5631293"/>
                <a:gd name="connsiteY1605" fmla="*/ 1832984 h 2729555"/>
                <a:gd name="connsiteX1606" fmla="*/ 634426 w 5631293"/>
                <a:gd name="connsiteY1606" fmla="*/ 1832984 h 2729555"/>
                <a:gd name="connsiteX1607" fmla="*/ 629097 w 5631293"/>
                <a:gd name="connsiteY1607" fmla="*/ 1832984 h 2729555"/>
                <a:gd name="connsiteX1608" fmla="*/ 629097 w 5631293"/>
                <a:gd name="connsiteY1608" fmla="*/ 1827021 h 2729555"/>
                <a:gd name="connsiteX1609" fmla="*/ 630620 w 5631293"/>
                <a:gd name="connsiteY1609" fmla="*/ 1828163 h 2729555"/>
                <a:gd name="connsiteX1610" fmla="*/ 627067 w 5631293"/>
                <a:gd name="connsiteY1610" fmla="*/ 1828163 h 2729555"/>
                <a:gd name="connsiteX1611" fmla="*/ 627067 w 5631293"/>
                <a:gd name="connsiteY1611" fmla="*/ 1822072 h 2729555"/>
                <a:gd name="connsiteX1612" fmla="*/ 628590 w 5631293"/>
                <a:gd name="connsiteY1612" fmla="*/ 1823214 h 2729555"/>
                <a:gd name="connsiteX1613" fmla="*/ 625164 w 5631293"/>
                <a:gd name="connsiteY1613" fmla="*/ 1823214 h 2729555"/>
                <a:gd name="connsiteX1614" fmla="*/ 625164 w 5631293"/>
                <a:gd name="connsiteY1614" fmla="*/ 1817377 h 2729555"/>
                <a:gd name="connsiteX1615" fmla="*/ 626686 w 5631293"/>
                <a:gd name="connsiteY1615" fmla="*/ 1818519 h 2729555"/>
                <a:gd name="connsiteX1616" fmla="*/ 619454 w 5631293"/>
                <a:gd name="connsiteY1616" fmla="*/ 1818519 h 2729555"/>
                <a:gd name="connsiteX1617" fmla="*/ 619454 w 5631293"/>
                <a:gd name="connsiteY1617" fmla="*/ 1812556 h 2729555"/>
                <a:gd name="connsiteX1618" fmla="*/ 620976 w 5631293"/>
                <a:gd name="connsiteY1618" fmla="*/ 1813698 h 2729555"/>
                <a:gd name="connsiteX1619" fmla="*/ 617297 w 5631293"/>
                <a:gd name="connsiteY1619" fmla="*/ 1813698 h 2729555"/>
                <a:gd name="connsiteX1620" fmla="*/ 617297 w 5631293"/>
                <a:gd name="connsiteY1620" fmla="*/ 1807607 h 2729555"/>
                <a:gd name="connsiteX1621" fmla="*/ 618946 w 5631293"/>
                <a:gd name="connsiteY1621" fmla="*/ 1808749 h 2729555"/>
                <a:gd name="connsiteX1622" fmla="*/ 609684 w 5631293"/>
                <a:gd name="connsiteY1622" fmla="*/ 1808749 h 2729555"/>
                <a:gd name="connsiteX1623" fmla="*/ 609684 w 5631293"/>
                <a:gd name="connsiteY1623" fmla="*/ 1797964 h 2729555"/>
                <a:gd name="connsiteX1624" fmla="*/ 611206 w 5631293"/>
                <a:gd name="connsiteY1624" fmla="*/ 1799106 h 2729555"/>
                <a:gd name="connsiteX1625" fmla="*/ 607653 w 5631293"/>
                <a:gd name="connsiteY1625" fmla="*/ 1799106 h 2729555"/>
                <a:gd name="connsiteX1626" fmla="*/ 607653 w 5631293"/>
                <a:gd name="connsiteY1626" fmla="*/ 1793142 h 2729555"/>
                <a:gd name="connsiteX1627" fmla="*/ 609176 w 5631293"/>
                <a:gd name="connsiteY1627" fmla="*/ 1794157 h 2729555"/>
                <a:gd name="connsiteX1628" fmla="*/ 605750 w 5631293"/>
                <a:gd name="connsiteY1628" fmla="*/ 1794157 h 2729555"/>
                <a:gd name="connsiteX1629" fmla="*/ 605750 w 5631293"/>
                <a:gd name="connsiteY1629" fmla="*/ 1788194 h 2729555"/>
                <a:gd name="connsiteX1630" fmla="*/ 607273 w 5631293"/>
                <a:gd name="connsiteY1630" fmla="*/ 1789336 h 2729555"/>
                <a:gd name="connsiteX1631" fmla="*/ 598010 w 5631293"/>
                <a:gd name="connsiteY1631" fmla="*/ 1789336 h 2729555"/>
                <a:gd name="connsiteX1632" fmla="*/ 598010 w 5631293"/>
                <a:gd name="connsiteY1632" fmla="*/ 1778677 h 2729555"/>
                <a:gd name="connsiteX1633" fmla="*/ 599533 w 5631293"/>
                <a:gd name="connsiteY1633" fmla="*/ 1779693 h 2729555"/>
                <a:gd name="connsiteX1634" fmla="*/ 594204 w 5631293"/>
                <a:gd name="connsiteY1634" fmla="*/ 1779693 h 2729555"/>
                <a:gd name="connsiteX1635" fmla="*/ 594204 w 5631293"/>
                <a:gd name="connsiteY1635" fmla="*/ 1768907 h 2729555"/>
                <a:gd name="connsiteX1636" fmla="*/ 595726 w 5631293"/>
                <a:gd name="connsiteY1636" fmla="*/ 1770049 h 2729555"/>
                <a:gd name="connsiteX1637" fmla="*/ 590397 w 5631293"/>
                <a:gd name="connsiteY1637" fmla="*/ 1770049 h 2729555"/>
                <a:gd name="connsiteX1638" fmla="*/ 590397 w 5631293"/>
                <a:gd name="connsiteY1638" fmla="*/ 1764086 h 2729555"/>
                <a:gd name="connsiteX1639" fmla="*/ 591920 w 5631293"/>
                <a:gd name="connsiteY1639" fmla="*/ 1765228 h 2729555"/>
                <a:gd name="connsiteX1640" fmla="*/ 588367 w 5631293"/>
                <a:gd name="connsiteY1640" fmla="*/ 1765228 h 2729555"/>
                <a:gd name="connsiteX1641" fmla="*/ 588367 w 5631293"/>
                <a:gd name="connsiteY1641" fmla="*/ 1759137 h 2729555"/>
                <a:gd name="connsiteX1642" fmla="*/ 589890 w 5631293"/>
                <a:gd name="connsiteY1642" fmla="*/ 1760279 h 2729555"/>
                <a:gd name="connsiteX1643" fmla="*/ 582657 w 5631293"/>
                <a:gd name="connsiteY1643" fmla="*/ 1760279 h 2729555"/>
                <a:gd name="connsiteX1644" fmla="*/ 582657 w 5631293"/>
                <a:gd name="connsiteY1644" fmla="*/ 1749621 h 2729555"/>
                <a:gd name="connsiteX1645" fmla="*/ 584180 w 5631293"/>
                <a:gd name="connsiteY1645" fmla="*/ 1750636 h 2729555"/>
                <a:gd name="connsiteX1646" fmla="*/ 573014 w 5631293"/>
                <a:gd name="connsiteY1646" fmla="*/ 1750636 h 2729555"/>
                <a:gd name="connsiteX1647" fmla="*/ 573014 w 5631293"/>
                <a:gd name="connsiteY1647" fmla="*/ 1744672 h 2729555"/>
                <a:gd name="connsiteX1648" fmla="*/ 574536 w 5631293"/>
                <a:gd name="connsiteY1648" fmla="*/ 1745814 h 2729555"/>
                <a:gd name="connsiteX1649" fmla="*/ 568953 w 5631293"/>
                <a:gd name="connsiteY1649" fmla="*/ 1745814 h 2729555"/>
                <a:gd name="connsiteX1650" fmla="*/ 568953 w 5631293"/>
                <a:gd name="connsiteY1650" fmla="*/ 1739977 h 2729555"/>
                <a:gd name="connsiteX1651" fmla="*/ 570603 w 5631293"/>
                <a:gd name="connsiteY1651" fmla="*/ 1741119 h 2729555"/>
                <a:gd name="connsiteX1652" fmla="*/ 564766 w 5631293"/>
                <a:gd name="connsiteY1652" fmla="*/ 1741119 h 2729555"/>
                <a:gd name="connsiteX1653" fmla="*/ 561213 w 5631293"/>
                <a:gd name="connsiteY1653" fmla="*/ 1741119 h 2729555"/>
                <a:gd name="connsiteX1654" fmla="*/ 561213 w 5631293"/>
                <a:gd name="connsiteY1654" fmla="*/ 1725639 h 2729555"/>
                <a:gd name="connsiteX1655" fmla="*/ 562736 w 5631293"/>
                <a:gd name="connsiteY1655" fmla="*/ 1726654 h 2729555"/>
                <a:gd name="connsiteX1656" fmla="*/ 559310 w 5631293"/>
                <a:gd name="connsiteY1656" fmla="*/ 1726654 h 2729555"/>
                <a:gd name="connsiteX1657" fmla="*/ 559310 w 5631293"/>
                <a:gd name="connsiteY1657" fmla="*/ 1720818 h 2729555"/>
                <a:gd name="connsiteX1658" fmla="*/ 560833 w 5631293"/>
                <a:gd name="connsiteY1658" fmla="*/ 1721960 h 2729555"/>
                <a:gd name="connsiteX1659" fmla="*/ 557407 w 5631293"/>
                <a:gd name="connsiteY1659" fmla="*/ 1721960 h 2729555"/>
                <a:gd name="connsiteX1660" fmla="*/ 557407 w 5631293"/>
                <a:gd name="connsiteY1660" fmla="*/ 1711174 h 2729555"/>
                <a:gd name="connsiteX1661" fmla="*/ 558930 w 5631293"/>
                <a:gd name="connsiteY1661" fmla="*/ 1712317 h 2729555"/>
                <a:gd name="connsiteX1662" fmla="*/ 543957 w 5631293"/>
                <a:gd name="connsiteY1662" fmla="*/ 1712317 h 2729555"/>
                <a:gd name="connsiteX1663" fmla="*/ 543957 w 5631293"/>
                <a:gd name="connsiteY1663" fmla="*/ 1706480 h 2729555"/>
                <a:gd name="connsiteX1664" fmla="*/ 545480 w 5631293"/>
                <a:gd name="connsiteY1664" fmla="*/ 1707495 h 2729555"/>
                <a:gd name="connsiteX1665" fmla="*/ 541927 w 5631293"/>
                <a:gd name="connsiteY1665" fmla="*/ 1707495 h 2729555"/>
                <a:gd name="connsiteX1666" fmla="*/ 541927 w 5631293"/>
                <a:gd name="connsiteY1666" fmla="*/ 1701658 h 2729555"/>
                <a:gd name="connsiteX1667" fmla="*/ 543450 w 5631293"/>
                <a:gd name="connsiteY1667" fmla="*/ 1702800 h 2729555"/>
                <a:gd name="connsiteX1668" fmla="*/ 540024 w 5631293"/>
                <a:gd name="connsiteY1668" fmla="*/ 1702800 h 2729555"/>
                <a:gd name="connsiteX1669" fmla="*/ 540024 w 5631293"/>
                <a:gd name="connsiteY1669" fmla="*/ 1696963 h 2729555"/>
                <a:gd name="connsiteX1670" fmla="*/ 541546 w 5631293"/>
                <a:gd name="connsiteY1670" fmla="*/ 1697978 h 2729555"/>
                <a:gd name="connsiteX1671" fmla="*/ 536217 w 5631293"/>
                <a:gd name="connsiteY1671" fmla="*/ 1697978 h 2729555"/>
                <a:gd name="connsiteX1672" fmla="*/ 536217 w 5631293"/>
                <a:gd name="connsiteY1672" fmla="*/ 1692015 h 2729555"/>
                <a:gd name="connsiteX1673" fmla="*/ 537740 w 5631293"/>
                <a:gd name="connsiteY1673" fmla="*/ 1693157 h 2729555"/>
                <a:gd name="connsiteX1674" fmla="*/ 534314 w 5631293"/>
                <a:gd name="connsiteY1674" fmla="*/ 1693157 h 2729555"/>
                <a:gd name="connsiteX1675" fmla="*/ 534314 w 5631293"/>
                <a:gd name="connsiteY1675" fmla="*/ 1682498 h 2729555"/>
                <a:gd name="connsiteX1676" fmla="*/ 535836 w 5631293"/>
                <a:gd name="connsiteY1676" fmla="*/ 1683640 h 2729555"/>
                <a:gd name="connsiteX1677" fmla="*/ 532284 w 5631293"/>
                <a:gd name="connsiteY1677" fmla="*/ 1683640 h 2729555"/>
                <a:gd name="connsiteX1678" fmla="*/ 532284 w 5631293"/>
                <a:gd name="connsiteY1678" fmla="*/ 1668160 h 2729555"/>
                <a:gd name="connsiteX1679" fmla="*/ 533806 w 5631293"/>
                <a:gd name="connsiteY1679" fmla="*/ 1669302 h 2729555"/>
                <a:gd name="connsiteX1680" fmla="*/ 528477 w 5631293"/>
                <a:gd name="connsiteY1680" fmla="*/ 1669302 h 2729555"/>
                <a:gd name="connsiteX1681" fmla="*/ 528477 w 5631293"/>
                <a:gd name="connsiteY1681" fmla="*/ 1663339 h 2729555"/>
                <a:gd name="connsiteX1682" fmla="*/ 530000 w 5631293"/>
                <a:gd name="connsiteY1682" fmla="*/ 1664481 h 2729555"/>
                <a:gd name="connsiteX1683" fmla="*/ 526574 w 5631293"/>
                <a:gd name="connsiteY1683" fmla="*/ 1664481 h 2729555"/>
                <a:gd name="connsiteX1684" fmla="*/ 526574 w 5631293"/>
                <a:gd name="connsiteY1684" fmla="*/ 1658644 h 2729555"/>
                <a:gd name="connsiteX1685" fmla="*/ 528096 w 5631293"/>
                <a:gd name="connsiteY1685" fmla="*/ 1659786 h 2729555"/>
                <a:gd name="connsiteX1686" fmla="*/ 516804 w 5631293"/>
                <a:gd name="connsiteY1686" fmla="*/ 1659786 h 2729555"/>
                <a:gd name="connsiteX1687" fmla="*/ 516804 w 5631293"/>
                <a:gd name="connsiteY1687" fmla="*/ 1653822 h 2729555"/>
                <a:gd name="connsiteX1688" fmla="*/ 518326 w 5631293"/>
                <a:gd name="connsiteY1688" fmla="*/ 1654838 h 2729555"/>
                <a:gd name="connsiteX1689" fmla="*/ 510967 w 5631293"/>
                <a:gd name="connsiteY1689" fmla="*/ 1654838 h 2729555"/>
                <a:gd name="connsiteX1690" fmla="*/ 510967 w 5631293"/>
                <a:gd name="connsiteY1690" fmla="*/ 1649001 h 2729555"/>
                <a:gd name="connsiteX1691" fmla="*/ 512490 w 5631293"/>
                <a:gd name="connsiteY1691" fmla="*/ 1650143 h 2729555"/>
                <a:gd name="connsiteX1692" fmla="*/ 509064 w 5631293"/>
                <a:gd name="connsiteY1692" fmla="*/ 1650143 h 2729555"/>
                <a:gd name="connsiteX1693" fmla="*/ 509064 w 5631293"/>
                <a:gd name="connsiteY1693" fmla="*/ 1644306 h 2729555"/>
                <a:gd name="connsiteX1694" fmla="*/ 510586 w 5631293"/>
                <a:gd name="connsiteY1694" fmla="*/ 1645321 h 2729555"/>
                <a:gd name="connsiteX1695" fmla="*/ 507160 w 5631293"/>
                <a:gd name="connsiteY1695" fmla="*/ 1645321 h 2729555"/>
                <a:gd name="connsiteX1696" fmla="*/ 507160 w 5631293"/>
                <a:gd name="connsiteY1696" fmla="*/ 1634663 h 2729555"/>
                <a:gd name="connsiteX1697" fmla="*/ 508683 w 5631293"/>
                <a:gd name="connsiteY1697" fmla="*/ 1635805 h 2729555"/>
                <a:gd name="connsiteX1698" fmla="*/ 501324 w 5631293"/>
                <a:gd name="connsiteY1698" fmla="*/ 1635805 h 2729555"/>
                <a:gd name="connsiteX1699" fmla="*/ 501324 w 5631293"/>
                <a:gd name="connsiteY1699" fmla="*/ 1625146 h 2729555"/>
                <a:gd name="connsiteX1700" fmla="*/ 502846 w 5631293"/>
                <a:gd name="connsiteY1700" fmla="*/ 1626161 h 2729555"/>
                <a:gd name="connsiteX1701" fmla="*/ 495487 w 5631293"/>
                <a:gd name="connsiteY1701" fmla="*/ 1626161 h 2729555"/>
                <a:gd name="connsiteX1702" fmla="*/ 495487 w 5631293"/>
                <a:gd name="connsiteY1702" fmla="*/ 1620325 h 2729555"/>
                <a:gd name="connsiteX1703" fmla="*/ 497010 w 5631293"/>
                <a:gd name="connsiteY1703" fmla="*/ 1621467 h 2729555"/>
                <a:gd name="connsiteX1704" fmla="*/ 489777 w 5631293"/>
                <a:gd name="connsiteY1704" fmla="*/ 1621467 h 2729555"/>
                <a:gd name="connsiteX1705" fmla="*/ 489777 w 5631293"/>
                <a:gd name="connsiteY1705" fmla="*/ 1601165 h 2729555"/>
                <a:gd name="connsiteX1706" fmla="*/ 491300 w 5631293"/>
                <a:gd name="connsiteY1706" fmla="*/ 1602307 h 2729555"/>
                <a:gd name="connsiteX1707" fmla="*/ 487874 w 5631293"/>
                <a:gd name="connsiteY1707" fmla="*/ 1602307 h 2729555"/>
                <a:gd name="connsiteX1708" fmla="*/ 487874 w 5631293"/>
                <a:gd name="connsiteY1708" fmla="*/ 1596343 h 2729555"/>
                <a:gd name="connsiteX1709" fmla="*/ 489396 w 5631293"/>
                <a:gd name="connsiteY1709" fmla="*/ 1597485 h 2729555"/>
                <a:gd name="connsiteX1710" fmla="*/ 485844 w 5631293"/>
                <a:gd name="connsiteY1710" fmla="*/ 1597485 h 2729555"/>
                <a:gd name="connsiteX1711" fmla="*/ 485844 w 5631293"/>
                <a:gd name="connsiteY1711" fmla="*/ 1586827 h 2729555"/>
                <a:gd name="connsiteX1712" fmla="*/ 487366 w 5631293"/>
                <a:gd name="connsiteY1712" fmla="*/ 1587969 h 2729555"/>
                <a:gd name="connsiteX1713" fmla="*/ 483940 w 5631293"/>
                <a:gd name="connsiteY1713" fmla="*/ 1587969 h 2729555"/>
                <a:gd name="connsiteX1714" fmla="*/ 483940 w 5631293"/>
                <a:gd name="connsiteY1714" fmla="*/ 1582005 h 2729555"/>
                <a:gd name="connsiteX1715" fmla="*/ 485463 w 5631293"/>
                <a:gd name="connsiteY1715" fmla="*/ 1583147 h 2729555"/>
                <a:gd name="connsiteX1716" fmla="*/ 482037 w 5631293"/>
                <a:gd name="connsiteY1716" fmla="*/ 1583147 h 2729555"/>
                <a:gd name="connsiteX1717" fmla="*/ 482037 w 5631293"/>
                <a:gd name="connsiteY1717" fmla="*/ 1572489 h 2729555"/>
                <a:gd name="connsiteX1718" fmla="*/ 483560 w 5631293"/>
                <a:gd name="connsiteY1718" fmla="*/ 1573504 h 2729555"/>
                <a:gd name="connsiteX1719" fmla="*/ 480134 w 5631293"/>
                <a:gd name="connsiteY1719" fmla="*/ 1573504 h 2729555"/>
                <a:gd name="connsiteX1720" fmla="*/ 480134 w 5631293"/>
                <a:gd name="connsiteY1720" fmla="*/ 1567667 h 2729555"/>
                <a:gd name="connsiteX1721" fmla="*/ 481656 w 5631293"/>
                <a:gd name="connsiteY1721" fmla="*/ 1568809 h 2729555"/>
                <a:gd name="connsiteX1722" fmla="*/ 478230 w 5631293"/>
                <a:gd name="connsiteY1722" fmla="*/ 1568809 h 2729555"/>
                <a:gd name="connsiteX1723" fmla="*/ 478230 w 5631293"/>
                <a:gd name="connsiteY1723" fmla="*/ 1562846 h 2729555"/>
                <a:gd name="connsiteX1724" fmla="*/ 479753 w 5631293"/>
                <a:gd name="connsiteY1724" fmla="*/ 1563988 h 2729555"/>
                <a:gd name="connsiteX1725" fmla="*/ 476200 w 5631293"/>
                <a:gd name="connsiteY1725" fmla="*/ 1563988 h 2729555"/>
                <a:gd name="connsiteX1726" fmla="*/ 476200 w 5631293"/>
                <a:gd name="connsiteY1726" fmla="*/ 1543813 h 2729555"/>
                <a:gd name="connsiteX1727" fmla="*/ 477723 w 5631293"/>
                <a:gd name="connsiteY1727" fmla="*/ 1544955 h 2729555"/>
                <a:gd name="connsiteX1728" fmla="*/ 474297 w 5631293"/>
                <a:gd name="connsiteY1728" fmla="*/ 1544955 h 2729555"/>
                <a:gd name="connsiteX1729" fmla="*/ 474297 w 5631293"/>
                <a:gd name="connsiteY1729" fmla="*/ 1534296 h 2729555"/>
                <a:gd name="connsiteX1730" fmla="*/ 475820 w 5631293"/>
                <a:gd name="connsiteY1730" fmla="*/ 1535312 h 2729555"/>
                <a:gd name="connsiteX1731" fmla="*/ 472267 w 5631293"/>
                <a:gd name="connsiteY1731" fmla="*/ 1535312 h 2729555"/>
                <a:gd name="connsiteX1732" fmla="*/ 472267 w 5631293"/>
                <a:gd name="connsiteY1732" fmla="*/ 1529475 h 2729555"/>
                <a:gd name="connsiteX1733" fmla="*/ 473916 w 5631293"/>
                <a:gd name="connsiteY1733" fmla="*/ 1530617 h 2729555"/>
                <a:gd name="connsiteX1734" fmla="*/ 470364 w 5631293"/>
                <a:gd name="connsiteY1734" fmla="*/ 1530617 h 2729555"/>
                <a:gd name="connsiteX1735" fmla="*/ 470364 w 5631293"/>
                <a:gd name="connsiteY1735" fmla="*/ 1519958 h 2729555"/>
                <a:gd name="connsiteX1736" fmla="*/ 471886 w 5631293"/>
                <a:gd name="connsiteY1736" fmla="*/ 1521100 h 2729555"/>
                <a:gd name="connsiteX1737" fmla="*/ 468460 w 5631293"/>
                <a:gd name="connsiteY1737" fmla="*/ 1521100 h 2729555"/>
                <a:gd name="connsiteX1738" fmla="*/ 468460 w 5631293"/>
                <a:gd name="connsiteY1738" fmla="*/ 1515137 h 2729555"/>
                <a:gd name="connsiteX1739" fmla="*/ 469983 w 5631293"/>
                <a:gd name="connsiteY1739" fmla="*/ 1516279 h 2729555"/>
                <a:gd name="connsiteX1740" fmla="*/ 466430 w 5631293"/>
                <a:gd name="connsiteY1740" fmla="*/ 1516279 h 2729555"/>
                <a:gd name="connsiteX1741" fmla="*/ 466430 w 5631293"/>
                <a:gd name="connsiteY1741" fmla="*/ 1500926 h 2729555"/>
                <a:gd name="connsiteX1742" fmla="*/ 467953 w 5631293"/>
                <a:gd name="connsiteY1742" fmla="*/ 1502068 h 2729555"/>
                <a:gd name="connsiteX1743" fmla="*/ 464527 w 5631293"/>
                <a:gd name="connsiteY1743" fmla="*/ 1502068 h 2729555"/>
                <a:gd name="connsiteX1744" fmla="*/ 464527 w 5631293"/>
                <a:gd name="connsiteY1744" fmla="*/ 1496104 h 2729555"/>
                <a:gd name="connsiteX1745" fmla="*/ 466050 w 5631293"/>
                <a:gd name="connsiteY1745" fmla="*/ 1497246 h 2729555"/>
                <a:gd name="connsiteX1746" fmla="*/ 462624 w 5631293"/>
                <a:gd name="connsiteY1746" fmla="*/ 1497246 h 2729555"/>
                <a:gd name="connsiteX1747" fmla="*/ 462624 w 5631293"/>
                <a:gd name="connsiteY1747" fmla="*/ 1486588 h 2729555"/>
                <a:gd name="connsiteX1748" fmla="*/ 464146 w 5631293"/>
                <a:gd name="connsiteY1748" fmla="*/ 1487730 h 2729555"/>
                <a:gd name="connsiteX1749" fmla="*/ 454884 w 5631293"/>
                <a:gd name="connsiteY1749" fmla="*/ 1487730 h 2729555"/>
                <a:gd name="connsiteX1750" fmla="*/ 454884 w 5631293"/>
                <a:gd name="connsiteY1750" fmla="*/ 1477071 h 2729555"/>
                <a:gd name="connsiteX1751" fmla="*/ 456406 w 5631293"/>
                <a:gd name="connsiteY1751" fmla="*/ 1478213 h 2729555"/>
                <a:gd name="connsiteX1752" fmla="*/ 452980 w 5631293"/>
                <a:gd name="connsiteY1752" fmla="*/ 1478213 h 2729555"/>
                <a:gd name="connsiteX1753" fmla="*/ 452980 w 5631293"/>
                <a:gd name="connsiteY1753" fmla="*/ 1472250 h 2729555"/>
                <a:gd name="connsiteX1754" fmla="*/ 454503 w 5631293"/>
                <a:gd name="connsiteY1754" fmla="*/ 1473392 h 2729555"/>
                <a:gd name="connsiteX1755" fmla="*/ 449047 w 5631293"/>
                <a:gd name="connsiteY1755" fmla="*/ 1473392 h 2729555"/>
                <a:gd name="connsiteX1756" fmla="*/ 449047 w 5631293"/>
                <a:gd name="connsiteY1756" fmla="*/ 1462733 h 2729555"/>
                <a:gd name="connsiteX1757" fmla="*/ 450570 w 5631293"/>
                <a:gd name="connsiteY1757" fmla="*/ 1463875 h 2729555"/>
                <a:gd name="connsiteX1758" fmla="*/ 447144 w 5631293"/>
                <a:gd name="connsiteY1758" fmla="*/ 1463875 h 2729555"/>
                <a:gd name="connsiteX1759" fmla="*/ 447144 w 5631293"/>
                <a:gd name="connsiteY1759" fmla="*/ 1457912 h 2729555"/>
                <a:gd name="connsiteX1760" fmla="*/ 448666 w 5631293"/>
                <a:gd name="connsiteY1760" fmla="*/ 1459053 h 2729555"/>
                <a:gd name="connsiteX1761" fmla="*/ 439404 w 5631293"/>
                <a:gd name="connsiteY1761" fmla="*/ 1459053 h 2729555"/>
                <a:gd name="connsiteX1762" fmla="*/ 439404 w 5631293"/>
                <a:gd name="connsiteY1762" fmla="*/ 1453217 h 2729555"/>
                <a:gd name="connsiteX1763" fmla="*/ 440926 w 5631293"/>
                <a:gd name="connsiteY1763" fmla="*/ 1454359 h 2729555"/>
                <a:gd name="connsiteX1764" fmla="*/ 437500 w 5631293"/>
                <a:gd name="connsiteY1764" fmla="*/ 1454359 h 2729555"/>
                <a:gd name="connsiteX1765" fmla="*/ 437500 w 5631293"/>
                <a:gd name="connsiteY1765" fmla="*/ 1443700 h 2729555"/>
                <a:gd name="connsiteX1766" fmla="*/ 439023 w 5631293"/>
                <a:gd name="connsiteY1766" fmla="*/ 1444842 h 2729555"/>
                <a:gd name="connsiteX1767" fmla="*/ 435597 w 5631293"/>
                <a:gd name="connsiteY1767" fmla="*/ 1444842 h 2729555"/>
                <a:gd name="connsiteX1768" fmla="*/ 435597 w 5631293"/>
                <a:gd name="connsiteY1768" fmla="*/ 1424668 h 2729555"/>
                <a:gd name="connsiteX1769" fmla="*/ 437120 w 5631293"/>
                <a:gd name="connsiteY1769" fmla="*/ 1425683 h 2729555"/>
                <a:gd name="connsiteX1770" fmla="*/ 433694 w 5631293"/>
                <a:gd name="connsiteY1770" fmla="*/ 1425683 h 2729555"/>
                <a:gd name="connsiteX1771" fmla="*/ 433694 w 5631293"/>
                <a:gd name="connsiteY1771" fmla="*/ 1419846 h 2729555"/>
                <a:gd name="connsiteX1772" fmla="*/ 435216 w 5631293"/>
                <a:gd name="connsiteY1772" fmla="*/ 1420988 h 2729555"/>
                <a:gd name="connsiteX1773" fmla="*/ 431790 w 5631293"/>
                <a:gd name="connsiteY1773" fmla="*/ 1420988 h 2729555"/>
                <a:gd name="connsiteX1774" fmla="*/ 431790 w 5631293"/>
                <a:gd name="connsiteY1774" fmla="*/ 1415024 h 2729555"/>
                <a:gd name="connsiteX1775" fmla="*/ 433313 w 5631293"/>
                <a:gd name="connsiteY1775" fmla="*/ 1416166 h 2729555"/>
                <a:gd name="connsiteX1776" fmla="*/ 427857 w 5631293"/>
                <a:gd name="connsiteY1776" fmla="*/ 1416166 h 2729555"/>
                <a:gd name="connsiteX1777" fmla="*/ 427857 w 5631293"/>
                <a:gd name="connsiteY1777" fmla="*/ 1410203 h 2729555"/>
                <a:gd name="connsiteX1778" fmla="*/ 429380 w 5631293"/>
                <a:gd name="connsiteY1778" fmla="*/ 1411345 h 2729555"/>
                <a:gd name="connsiteX1779" fmla="*/ 425954 w 5631293"/>
                <a:gd name="connsiteY1779" fmla="*/ 1411345 h 2729555"/>
                <a:gd name="connsiteX1780" fmla="*/ 425954 w 5631293"/>
                <a:gd name="connsiteY1780" fmla="*/ 1405508 h 2729555"/>
                <a:gd name="connsiteX1781" fmla="*/ 427476 w 5631293"/>
                <a:gd name="connsiteY1781" fmla="*/ 1406650 h 2729555"/>
                <a:gd name="connsiteX1782" fmla="*/ 419990 w 5631293"/>
                <a:gd name="connsiteY1782" fmla="*/ 1406650 h 2729555"/>
                <a:gd name="connsiteX1783" fmla="*/ 419990 w 5631293"/>
                <a:gd name="connsiteY1783" fmla="*/ 1400686 h 2729555"/>
                <a:gd name="connsiteX1784" fmla="*/ 421513 w 5631293"/>
                <a:gd name="connsiteY1784" fmla="*/ 1401828 h 2729555"/>
                <a:gd name="connsiteX1785" fmla="*/ 416184 w 5631293"/>
                <a:gd name="connsiteY1785" fmla="*/ 1401828 h 2729555"/>
                <a:gd name="connsiteX1786" fmla="*/ 416184 w 5631293"/>
                <a:gd name="connsiteY1786" fmla="*/ 1391170 h 2729555"/>
                <a:gd name="connsiteX1787" fmla="*/ 417706 w 5631293"/>
                <a:gd name="connsiteY1787" fmla="*/ 1392312 h 2729555"/>
                <a:gd name="connsiteX1788" fmla="*/ 414280 w 5631293"/>
                <a:gd name="connsiteY1788" fmla="*/ 1392312 h 2729555"/>
                <a:gd name="connsiteX1789" fmla="*/ 414280 w 5631293"/>
                <a:gd name="connsiteY1789" fmla="*/ 1386475 h 2729555"/>
                <a:gd name="connsiteX1790" fmla="*/ 415803 w 5631293"/>
                <a:gd name="connsiteY1790" fmla="*/ 1387490 h 2729555"/>
                <a:gd name="connsiteX1791" fmla="*/ 408444 w 5631293"/>
                <a:gd name="connsiteY1791" fmla="*/ 1387490 h 2729555"/>
                <a:gd name="connsiteX1792" fmla="*/ 408444 w 5631293"/>
                <a:gd name="connsiteY1792" fmla="*/ 1376832 h 2729555"/>
                <a:gd name="connsiteX1793" fmla="*/ 409966 w 5631293"/>
                <a:gd name="connsiteY1793" fmla="*/ 1377974 h 2729555"/>
                <a:gd name="connsiteX1794" fmla="*/ 406540 w 5631293"/>
                <a:gd name="connsiteY1794" fmla="*/ 1377974 h 2729555"/>
                <a:gd name="connsiteX1795" fmla="*/ 406540 w 5631293"/>
                <a:gd name="connsiteY1795" fmla="*/ 1372137 h 2729555"/>
                <a:gd name="connsiteX1796" fmla="*/ 408063 w 5631293"/>
                <a:gd name="connsiteY1796" fmla="*/ 1373279 h 2729555"/>
                <a:gd name="connsiteX1797" fmla="*/ 404637 w 5631293"/>
                <a:gd name="connsiteY1797" fmla="*/ 1373279 h 2729555"/>
                <a:gd name="connsiteX1798" fmla="*/ 404637 w 5631293"/>
                <a:gd name="connsiteY1798" fmla="*/ 1353104 h 2729555"/>
                <a:gd name="connsiteX1799" fmla="*/ 406160 w 5631293"/>
                <a:gd name="connsiteY1799" fmla="*/ 1354246 h 2729555"/>
                <a:gd name="connsiteX1800" fmla="*/ 400704 w 5631293"/>
                <a:gd name="connsiteY1800" fmla="*/ 1354246 h 2729555"/>
                <a:gd name="connsiteX1801" fmla="*/ 400704 w 5631293"/>
                <a:gd name="connsiteY1801" fmla="*/ 1348283 h 2729555"/>
                <a:gd name="connsiteX1802" fmla="*/ 402226 w 5631293"/>
                <a:gd name="connsiteY1802" fmla="*/ 1349425 h 2729555"/>
                <a:gd name="connsiteX1803" fmla="*/ 398800 w 5631293"/>
                <a:gd name="connsiteY1803" fmla="*/ 1349425 h 2729555"/>
                <a:gd name="connsiteX1804" fmla="*/ 398800 w 5631293"/>
                <a:gd name="connsiteY1804" fmla="*/ 1334072 h 2729555"/>
                <a:gd name="connsiteX1805" fmla="*/ 400323 w 5631293"/>
                <a:gd name="connsiteY1805" fmla="*/ 1335214 h 2729555"/>
                <a:gd name="connsiteX1806" fmla="*/ 396897 w 5631293"/>
                <a:gd name="connsiteY1806" fmla="*/ 1335214 h 2729555"/>
                <a:gd name="connsiteX1807" fmla="*/ 396897 w 5631293"/>
                <a:gd name="connsiteY1807" fmla="*/ 1324555 h 2729555"/>
                <a:gd name="connsiteX1808" fmla="*/ 398420 w 5631293"/>
                <a:gd name="connsiteY1808" fmla="*/ 1325697 h 2729555"/>
                <a:gd name="connsiteX1809" fmla="*/ 396516 w 5631293"/>
                <a:gd name="connsiteY1809" fmla="*/ 1325697 h 2729555"/>
                <a:gd name="connsiteX1810" fmla="*/ 393091 w 5631293"/>
                <a:gd name="connsiteY1810" fmla="*/ 1325697 h 2729555"/>
                <a:gd name="connsiteX1811" fmla="*/ 393091 w 5631293"/>
                <a:gd name="connsiteY1811" fmla="*/ 1319860 h 2729555"/>
                <a:gd name="connsiteX1812" fmla="*/ 394613 w 5631293"/>
                <a:gd name="connsiteY1812" fmla="*/ 1321002 h 2729555"/>
                <a:gd name="connsiteX1813" fmla="*/ 389157 w 5631293"/>
                <a:gd name="connsiteY1813" fmla="*/ 1321002 h 2729555"/>
                <a:gd name="connsiteX1814" fmla="*/ 389157 w 5631293"/>
                <a:gd name="connsiteY1814" fmla="*/ 1315039 h 2729555"/>
                <a:gd name="connsiteX1815" fmla="*/ 390680 w 5631293"/>
                <a:gd name="connsiteY1815" fmla="*/ 1316181 h 2729555"/>
                <a:gd name="connsiteX1816" fmla="*/ 387254 w 5631293"/>
                <a:gd name="connsiteY1816" fmla="*/ 1316181 h 2729555"/>
                <a:gd name="connsiteX1817" fmla="*/ 387254 w 5631293"/>
                <a:gd name="connsiteY1817" fmla="*/ 1305649 h 2729555"/>
                <a:gd name="connsiteX1818" fmla="*/ 388776 w 5631293"/>
                <a:gd name="connsiteY1818" fmla="*/ 1306791 h 2729555"/>
                <a:gd name="connsiteX1819" fmla="*/ 385351 w 5631293"/>
                <a:gd name="connsiteY1819" fmla="*/ 1306791 h 2729555"/>
                <a:gd name="connsiteX1820" fmla="*/ 385351 w 5631293"/>
                <a:gd name="connsiteY1820" fmla="*/ 1286616 h 2729555"/>
                <a:gd name="connsiteX1821" fmla="*/ 386873 w 5631293"/>
                <a:gd name="connsiteY1821" fmla="*/ 1287758 h 2729555"/>
                <a:gd name="connsiteX1822" fmla="*/ 383320 w 5631293"/>
                <a:gd name="connsiteY1822" fmla="*/ 1287758 h 2729555"/>
                <a:gd name="connsiteX1823" fmla="*/ 383320 w 5631293"/>
                <a:gd name="connsiteY1823" fmla="*/ 1281922 h 2729555"/>
                <a:gd name="connsiteX1824" fmla="*/ 384843 w 5631293"/>
                <a:gd name="connsiteY1824" fmla="*/ 1283064 h 2729555"/>
                <a:gd name="connsiteX1825" fmla="*/ 381417 w 5631293"/>
                <a:gd name="connsiteY1825" fmla="*/ 1283064 h 2729555"/>
                <a:gd name="connsiteX1826" fmla="*/ 381417 w 5631293"/>
                <a:gd name="connsiteY1826" fmla="*/ 1272405 h 2729555"/>
                <a:gd name="connsiteX1827" fmla="*/ 382940 w 5631293"/>
                <a:gd name="connsiteY1827" fmla="*/ 1273547 h 2729555"/>
                <a:gd name="connsiteX1828" fmla="*/ 379514 w 5631293"/>
                <a:gd name="connsiteY1828" fmla="*/ 1273547 h 2729555"/>
                <a:gd name="connsiteX1829" fmla="*/ 379514 w 5631293"/>
                <a:gd name="connsiteY1829" fmla="*/ 1263016 h 2729555"/>
                <a:gd name="connsiteX1830" fmla="*/ 381036 w 5631293"/>
                <a:gd name="connsiteY1830" fmla="*/ 1264031 h 2729555"/>
                <a:gd name="connsiteX1831" fmla="*/ 377610 w 5631293"/>
                <a:gd name="connsiteY1831" fmla="*/ 1264031 h 2729555"/>
                <a:gd name="connsiteX1832" fmla="*/ 377610 w 5631293"/>
                <a:gd name="connsiteY1832" fmla="*/ 1253499 h 2729555"/>
                <a:gd name="connsiteX1833" fmla="*/ 379133 w 5631293"/>
                <a:gd name="connsiteY1833" fmla="*/ 1254515 h 2729555"/>
                <a:gd name="connsiteX1834" fmla="*/ 375580 w 5631293"/>
                <a:gd name="connsiteY1834" fmla="*/ 1254515 h 2729555"/>
                <a:gd name="connsiteX1835" fmla="*/ 375580 w 5631293"/>
                <a:gd name="connsiteY1835" fmla="*/ 1243983 h 2729555"/>
                <a:gd name="connsiteX1836" fmla="*/ 377103 w 5631293"/>
                <a:gd name="connsiteY1836" fmla="*/ 1245125 h 2729555"/>
                <a:gd name="connsiteX1837" fmla="*/ 373550 w 5631293"/>
                <a:gd name="connsiteY1837" fmla="*/ 1245125 h 2729555"/>
                <a:gd name="connsiteX1838" fmla="*/ 373550 w 5631293"/>
                <a:gd name="connsiteY1838" fmla="*/ 1234467 h 2729555"/>
                <a:gd name="connsiteX1839" fmla="*/ 375073 w 5631293"/>
                <a:gd name="connsiteY1839" fmla="*/ 1235609 h 2729555"/>
                <a:gd name="connsiteX1840" fmla="*/ 371647 w 5631293"/>
                <a:gd name="connsiteY1840" fmla="*/ 1235609 h 2729555"/>
                <a:gd name="connsiteX1841" fmla="*/ 371647 w 5631293"/>
                <a:gd name="connsiteY1841" fmla="*/ 1220255 h 2729555"/>
                <a:gd name="connsiteX1842" fmla="*/ 373170 w 5631293"/>
                <a:gd name="connsiteY1842" fmla="*/ 1221397 h 2729555"/>
                <a:gd name="connsiteX1843" fmla="*/ 369744 w 5631293"/>
                <a:gd name="connsiteY1843" fmla="*/ 1221397 h 2729555"/>
                <a:gd name="connsiteX1844" fmla="*/ 369744 w 5631293"/>
                <a:gd name="connsiteY1844" fmla="*/ 1210739 h 2729555"/>
                <a:gd name="connsiteX1845" fmla="*/ 371266 w 5631293"/>
                <a:gd name="connsiteY1845" fmla="*/ 1211881 h 2729555"/>
                <a:gd name="connsiteX1846" fmla="*/ 367840 w 5631293"/>
                <a:gd name="connsiteY1846" fmla="*/ 1211881 h 2729555"/>
                <a:gd name="connsiteX1847" fmla="*/ 367840 w 5631293"/>
                <a:gd name="connsiteY1847" fmla="*/ 1201350 h 2729555"/>
                <a:gd name="connsiteX1848" fmla="*/ 369363 w 5631293"/>
                <a:gd name="connsiteY1848" fmla="*/ 1202491 h 2729555"/>
                <a:gd name="connsiteX1849" fmla="*/ 365937 w 5631293"/>
                <a:gd name="connsiteY1849" fmla="*/ 1202491 h 2729555"/>
                <a:gd name="connsiteX1850" fmla="*/ 365937 w 5631293"/>
                <a:gd name="connsiteY1850" fmla="*/ 1187012 h 2729555"/>
                <a:gd name="connsiteX1851" fmla="*/ 367460 w 5631293"/>
                <a:gd name="connsiteY1851" fmla="*/ 1188153 h 2729555"/>
                <a:gd name="connsiteX1852" fmla="*/ 363907 w 5631293"/>
                <a:gd name="connsiteY1852" fmla="*/ 1188153 h 2729555"/>
                <a:gd name="connsiteX1853" fmla="*/ 363907 w 5631293"/>
                <a:gd name="connsiteY1853" fmla="*/ 1177622 h 2729555"/>
                <a:gd name="connsiteX1854" fmla="*/ 365430 w 5631293"/>
                <a:gd name="connsiteY1854" fmla="*/ 1178764 h 2729555"/>
                <a:gd name="connsiteX1855" fmla="*/ 362004 w 5631293"/>
                <a:gd name="connsiteY1855" fmla="*/ 1178764 h 2729555"/>
                <a:gd name="connsiteX1856" fmla="*/ 362004 w 5631293"/>
                <a:gd name="connsiteY1856" fmla="*/ 1172800 h 2729555"/>
                <a:gd name="connsiteX1857" fmla="*/ 363526 w 5631293"/>
                <a:gd name="connsiteY1857" fmla="*/ 1173942 h 2729555"/>
                <a:gd name="connsiteX1858" fmla="*/ 358197 w 5631293"/>
                <a:gd name="connsiteY1858" fmla="*/ 1173942 h 2729555"/>
                <a:gd name="connsiteX1859" fmla="*/ 358197 w 5631293"/>
                <a:gd name="connsiteY1859" fmla="*/ 1168106 h 2729555"/>
                <a:gd name="connsiteX1860" fmla="*/ 359720 w 5631293"/>
                <a:gd name="connsiteY1860" fmla="*/ 1169248 h 2729555"/>
                <a:gd name="connsiteX1861" fmla="*/ 356294 w 5631293"/>
                <a:gd name="connsiteY1861" fmla="*/ 1169248 h 2729555"/>
                <a:gd name="connsiteX1862" fmla="*/ 356294 w 5631293"/>
                <a:gd name="connsiteY1862" fmla="*/ 1139683 h 2729555"/>
                <a:gd name="connsiteX1863" fmla="*/ 357816 w 5631293"/>
                <a:gd name="connsiteY1863" fmla="*/ 1140825 h 2729555"/>
                <a:gd name="connsiteX1864" fmla="*/ 354264 w 5631293"/>
                <a:gd name="connsiteY1864" fmla="*/ 1140825 h 2729555"/>
                <a:gd name="connsiteX1865" fmla="*/ 354264 w 5631293"/>
                <a:gd name="connsiteY1865" fmla="*/ 1130167 h 2729555"/>
                <a:gd name="connsiteX1866" fmla="*/ 355786 w 5631293"/>
                <a:gd name="connsiteY1866" fmla="*/ 1131309 h 2729555"/>
                <a:gd name="connsiteX1867" fmla="*/ 350457 w 5631293"/>
                <a:gd name="connsiteY1867" fmla="*/ 1131309 h 2729555"/>
                <a:gd name="connsiteX1868" fmla="*/ 350457 w 5631293"/>
                <a:gd name="connsiteY1868" fmla="*/ 1125472 h 2729555"/>
                <a:gd name="connsiteX1869" fmla="*/ 351980 w 5631293"/>
                <a:gd name="connsiteY1869" fmla="*/ 1126487 h 2729555"/>
                <a:gd name="connsiteX1870" fmla="*/ 348554 w 5631293"/>
                <a:gd name="connsiteY1870" fmla="*/ 1126487 h 2729555"/>
                <a:gd name="connsiteX1871" fmla="*/ 348554 w 5631293"/>
                <a:gd name="connsiteY1871" fmla="*/ 1120651 h 2729555"/>
                <a:gd name="connsiteX1872" fmla="*/ 350076 w 5631293"/>
                <a:gd name="connsiteY1872" fmla="*/ 1121793 h 2729555"/>
                <a:gd name="connsiteX1873" fmla="*/ 346651 w 5631293"/>
                <a:gd name="connsiteY1873" fmla="*/ 1121793 h 2729555"/>
                <a:gd name="connsiteX1874" fmla="*/ 346651 w 5631293"/>
                <a:gd name="connsiteY1874" fmla="*/ 1115956 h 2729555"/>
                <a:gd name="connsiteX1875" fmla="*/ 348173 w 5631293"/>
                <a:gd name="connsiteY1875" fmla="*/ 1117098 h 2729555"/>
                <a:gd name="connsiteX1876" fmla="*/ 344620 w 5631293"/>
                <a:gd name="connsiteY1876" fmla="*/ 1117098 h 2729555"/>
                <a:gd name="connsiteX1877" fmla="*/ 344620 w 5631293"/>
                <a:gd name="connsiteY1877" fmla="*/ 1106439 h 2729555"/>
                <a:gd name="connsiteX1878" fmla="*/ 346143 w 5631293"/>
                <a:gd name="connsiteY1878" fmla="*/ 1107581 h 2729555"/>
                <a:gd name="connsiteX1879" fmla="*/ 342717 w 5631293"/>
                <a:gd name="connsiteY1879" fmla="*/ 1107581 h 2729555"/>
                <a:gd name="connsiteX1880" fmla="*/ 342717 w 5631293"/>
                <a:gd name="connsiteY1880" fmla="*/ 1101745 h 2729555"/>
                <a:gd name="connsiteX1881" fmla="*/ 344240 w 5631293"/>
                <a:gd name="connsiteY1881" fmla="*/ 1102760 h 2729555"/>
                <a:gd name="connsiteX1882" fmla="*/ 340814 w 5631293"/>
                <a:gd name="connsiteY1882" fmla="*/ 1102760 h 2729555"/>
                <a:gd name="connsiteX1883" fmla="*/ 340814 w 5631293"/>
                <a:gd name="connsiteY1883" fmla="*/ 1097050 h 2729555"/>
                <a:gd name="connsiteX1884" fmla="*/ 342336 w 5631293"/>
                <a:gd name="connsiteY1884" fmla="*/ 1098192 h 2729555"/>
                <a:gd name="connsiteX1885" fmla="*/ 338911 w 5631293"/>
                <a:gd name="connsiteY1885" fmla="*/ 1098192 h 2729555"/>
                <a:gd name="connsiteX1886" fmla="*/ 338911 w 5631293"/>
                <a:gd name="connsiteY1886" fmla="*/ 1092228 h 2729555"/>
                <a:gd name="connsiteX1887" fmla="*/ 340433 w 5631293"/>
                <a:gd name="connsiteY1887" fmla="*/ 1093370 h 2729555"/>
                <a:gd name="connsiteX1888" fmla="*/ 337007 w 5631293"/>
                <a:gd name="connsiteY1888" fmla="*/ 1093370 h 2729555"/>
                <a:gd name="connsiteX1889" fmla="*/ 337007 w 5631293"/>
                <a:gd name="connsiteY1889" fmla="*/ 1087660 h 2729555"/>
                <a:gd name="connsiteX1890" fmla="*/ 338530 w 5631293"/>
                <a:gd name="connsiteY1890" fmla="*/ 1088676 h 2729555"/>
                <a:gd name="connsiteX1891" fmla="*/ 334977 w 5631293"/>
                <a:gd name="connsiteY1891" fmla="*/ 1088676 h 2729555"/>
                <a:gd name="connsiteX1892" fmla="*/ 334977 w 5631293"/>
                <a:gd name="connsiteY1892" fmla="*/ 1082839 h 2729555"/>
                <a:gd name="connsiteX1893" fmla="*/ 336500 w 5631293"/>
                <a:gd name="connsiteY1893" fmla="*/ 1083981 h 2729555"/>
                <a:gd name="connsiteX1894" fmla="*/ 331170 w 5631293"/>
                <a:gd name="connsiteY1894" fmla="*/ 1083981 h 2729555"/>
                <a:gd name="connsiteX1895" fmla="*/ 331170 w 5631293"/>
                <a:gd name="connsiteY1895" fmla="*/ 1078017 h 2729555"/>
                <a:gd name="connsiteX1896" fmla="*/ 332693 w 5631293"/>
                <a:gd name="connsiteY1896" fmla="*/ 1079159 h 2729555"/>
                <a:gd name="connsiteX1897" fmla="*/ 329267 w 5631293"/>
                <a:gd name="connsiteY1897" fmla="*/ 1079159 h 2729555"/>
                <a:gd name="connsiteX1898" fmla="*/ 329267 w 5631293"/>
                <a:gd name="connsiteY1898" fmla="*/ 1073449 h 2729555"/>
                <a:gd name="connsiteX1899" fmla="*/ 330790 w 5631293"/>
                <a:gd name="connsiteY1899" fmla="*/ 1074591 h 2729555"/>
                <a:gd name="connsiteX1900" fmla="*/ 327237 w 5631293"/>
                <a:gd name="connsiteY1900" fmla="*/ 1074591 h 2729555"/>
                <a:gd name="connsiteX1901" fmla="*/ 327237 w 5631293"/>
                <a:gd name="connsiteY1901" fmla="*/ 1063933 h 2729555"/>
                <a:gd name="connsiteX1902" fmla="*/ 328760 w 5631293"/>
                <a:gd name="connsiteY1902" fmla="*/ 1064948 h 2729555"/>
                <a:gd name="connsiteX1903" fmla="*/ 325207 w 5631293"/>
                <a:gd name="connsiteY1903" fmla="*/ 1064948 h 2729555"/>
                <a:gd name="connsiteX1904" fmla="*/ 325207 w 5631293"/>
                <a:gd name="connsiteY1904" fmla="*/ 1030816 h 2729555"/>
                <a:gd name="connsiteX1905" fmla="*/ 326730 w 5631293"/>
                <a:gd name="connsiteY1905" fmla="*/ 1031958 h 2729555"/>
                <a:gd name="connsiteX1906" fmla="*/ 323304 w 5631293"/>
                <a:gd name="connsiteY1906" fmla="*/ 1031958 h 2729555"/>
                <a:gd name="connsiteX1907" fmla="*/ 323304 w 5631293"/>
                <a:gd name="connsiteY1907" fmla="*/ 1021426 h 2729555"/>
                <a:gd name="connsiteX1908" fmla="*/ 324826 w 5631293"/>
                <a:gd name="connsiteY1908" fmla="*/ 1022568 h 2729555"/>
                <a:gd name="connsiteX1909" fmla="*/ 321400 w 5631293"/>
                <a:gd name="connsiteY1909" fmla="*/ 1022568 h 2729555"/>
                <a:gd name="connsiteX1910" fmla="*/ 321400 w 5631293"/>
                <a:gd name="connsiteY1910" fmla="*/ 1011910 h 2729555"/>
                <a:gd name="connsiteX1911" fmla="*/ 322923 w 5631293"/>
                <a:gd name="connsiteY1911" fmla="*/ 1013052 h 2729555"/>
                <a:gd name="connsiteX1912" fmla="*/ 319497 w 5631293"/>
                <a:gd name="connsiteY1912" fmla="*/ 1013052 h 2729555"/>
                <a:gd name="connsiteX1913" fmla="*/ 319497 w 5631293"/>
                <a:gd name="connsiteY1913" fmla="*/ 1007215 h 2729555"/>
                <a:gd name="connsiteX1914" fmla="*/ 321020 w 5631293"/>
                <a:gd name="connsiteY1914" fmla="*/ 1008357 h 2729555"/>
                <a:gd name="connsiteX1915" fmla="*/ 317467 w 5631293"/>
                <a:gd name="connsiteY1915" fmla="*/ 1008357 h 2729555"/>
                <a:gd name="connsiteX1916" fmla="*/ 317467 w 5631293"/>
                <a:gd name="connsiteY1916" fmla="*/ 993004 h 2729555"/>
                <a:gd name="connsiteX1917" fmla="*/ 318990 w 5631293"/>
                <a:gd name="connsiteY1917" fmla="*/ 994146 h 2729555"/>
                <a:gd name="connsiteX1918" fmla="*/ 315564 w 5631293"/>
                <a:gd name="connsiteY1918" fmla="*/ 994146 h 2729555"/>
                <a:gd name="connsiteX1919" fmla="*/ 315564 w 5631293"/>
                <a:gd name="connsiteY1919" fmla="*/ 974098 h 2729555"/>
                <a:gd name="connsiteX1920" fmla="*/ 317086 w 5631293"/>
                <a:gd name="connsiteY1920" fmla="*/ 975240 h 2729555"/>
                <a:gd name="connsiteX1921" fmla="*/ 313660 w 5631293"/>
                <a:gd name="connsiteY1921" fmla="*/ 975240 h 2729555"/>
                <a:gd name="connsiteX1922" fmla="*/ 313660 w 5631293"/>
                <a:gd name="connsiteY1922" fmla="*/ 969403 h 2729555"/>
                <a:gd name="connsiteX1923" fmla="*/ 315183 w 5631293"/>
                <a:gd name="connsiteY1923" fmla="*/ 970545 h 2729555"/>
                <a:gd name="connsiteX1924" fmla="*/ 311757 w 5631293"/>
                <a:gd name="connsiteY1924" fmla="*/ 970545 h 2729555"/>
                <a:gd name="connsiteX1925" fmla="*/ 311757 w 5631293"/>
                <a:gd name="connsiteY1925" fmla="*/ 955319 h 2729555"/>
                <a:gd name="connsiteX1926" fmla="*/ 313280 w 5631293"/>
                <a:gd name="connsiteY1926" fmla="*/ 956461 h 2729555"/>
                <a:gd name="connsiteX1927" fmla="*/ 309854 w 5631293"/>
                <a:gd name="connsiteY1927" fmla="*/ 956461 h 2729555"/>
                <a:gd name="connsiteX1928" fmla="*/ 309854 w 5631293"/>
                <a:gd name="connsiteY1928" fmla="*/ 945803 h 2729555"/>
                <a:gd name="connsiteX1929" fmla="*/ 311376 w 5631293"/>
                <a:gd name="connsiteY1929" fmla="*/ 946945 h 2729555"/>
                <a:gd name="connsiteX1930" fmla="*/ 307824 w 5631293"/>
                <a:gd name="connsiteY1930" fmla="*/ 946945 h 2729555"/>
                <a:gd name="connsiteX1931" fmla="*/ 307824 w 5631293"/>
                <a:gd name="connsiteY1931" fmla="*/ 936413 h 2729555"/>
                <a:gd name="connsiteX1932" fmla="*/ 309346 w 5631293"/>
                <a:gd name="connsiteY1932" fmla="*/ 937555 h 2729555"/>
                <a:gd name="connsiteX1933" fmla="*/ 305920 w 5631293"/>
                <a:gd name="connsiteY1933" fmla="*/ 937555 h 2729555"/>
                <a:gd name="connsiteX1934" fmla="*/ 305920 w 5631293"/>
                <a:gd name="connsiteY1934" fmla="*/ 917634 h 2729555"/>
                <a:gd name="connsiteX1935" fmla="*/ 307443 w 5631293"/>
                <a:gd name="connsiteY1935" fmla="*/ 918776 h 2729555"/>
                <a:gd name="connsiteX1936" fmla="*/ 300211 w 5631293"/>
                <a:gd name="connsiteY1936" fmla="*/ 918776 h 2729555"/>
                <a:gd name="connsiteX1937" fmla="*/ 300211 w 5631293"/>
                <a:gd name="connsiteY1937" fmla="*/ 912939 h 2729555"/>
                <a:gd name="connsiteX1938" fmla="*/ 301733 w 5631293"/>
                <a:gd name="connsiteY1938" fmla="*/ 914081 h 2729555"/>
                <a:gd name="connsiteX1939" fmla="*/ 298180 w 5631293"/>
                <a:gd name="connsiteY1939" fmla="*/ 914081 h 2729555"/>
                <a:gd name="connsiteX1940" fmla="*/ 298180 w 5631293"/>
                <a:gd name="connsiteY1940" fmla="*/ 908245 h 2729555"/>
                <a:gd name="connsiteX1941" fmla="*/ 299703 w 5631293"/>
                <a:gd name="connsiteY1941" fmla="*/ 909387 h 2729555"/>
                <a:gd name="connsiteX1942" fmla="*/ 296277 w 5631293"/>
                <a:gd name="connsiteY1942" fmla="*/ 909387 h 2729555"/>
                <a:gd name="connsiteX1943" fmla="*/ 296277 w 5631293"/>
                <a:gd name="connsiteY1943" fmla="*/ 903550 h 2729555"/>
                <a:gd name="connsiteX1944" fmla="*/ 297800 w 5631293"/>
                <a:gd name="connsiteY1944" fmla="*/ 904692 h 2729555"/>
                <a:gd name="connsiteX1945" fmla="*/ 294374 w 5631293"/>
                <a:gd name="connsiteY1945" fmla="*/ 904692 h 2729555"/>
                <a:gd name="connsiteX1946" fmla="*/ 294374 w 5631293"/>
                <a:gd name="connsiteY1946" fmla="*/ 898855 h 2729555"/>
                <a:gd name="connsiteX1947" fmla="*/ 295896 w 5631293"/>
                <a:gd name="connsiteY1947" fmla="*/ 899997 h 2729555"/>
                <a:gd name="connsiteX1948" fmla="*/ 292471 w 5631293"/>
                <a:gd name="connsiteY1948" fmla="*/ 899997 h 2729555"/>
                <a:gd name="connsiteX1949" fmla="*/ 292471 w 5631293"/>
                <a:gd name="connsiteY1949" fmla="*/ 889466 h 2729555"/>
                <a:gd name="connsiteX1950" fmla="*/ 293993 w 5631293"/>
                <a:gd name="connsiteY1950" fmla="*/ 890608 h 2729555"/>
                <a:gd name="connsiteX1951" fmla="*/ 292090 w 5631293"/>
                <a:gd name="connsiteY1951" fmla="*/ 890608 h 2729555"/>
                <a:gd name="connsiteX1952" fmla="*/ 286634 w 5631293"/>
                <a:gd name="connsiteY1952" fmla="*/ 890608 h 2729555"/>
                <a:gd name="connsiteX1953" fmla="*/ 286634 w 5631293"/>
                <a:gd name="connsiteY1953" fmla="*/ 884771 h 2729555"/>
                <a:gd name="connsiteX1954" fmla="*/ 288156 w 5631293"/>
                <a:gd name="connsiteY1954" fmla="*/ 885913 h 2729555"/>
                <a:gd name="connsiteX1955" fmla="*/ 284731 w 5631293"/>
                <a:gd name="connsiteY1955" fmla="*/ 885913 h 2729555"/>
                <a:gd name="connsiteX1956" fmla="*/ 284731 w 5631293"/>
                <a:gd name="connsiteY1956" fmla="*/ 870687 h 2729555"/>
                <a:gd name="connsiteX1957" fmla="*/ 286253 w 5631293"/>
                <a:gd name="connsiteY1957" fmla="*/ 871829 h 2729555"/>
                <a:gd name="connsiteX1958" fmla="*/ 282827 w 5631293"/>
                <a:gd name="connsiteY1958" fmla="*/ 871829 h 2729555"/>
                <a:gd name="connsiteX1959" fmla="*/ 282827 w 5631293"/>
                <a:gd name="connsiteY1959" fmla="*/ 861297 h 2729555"/>
                <a:gd name="connsiteX1960" fmla="*/ 284350 w 5631293"/>
                <a:gd name="connsiteY1960" fmla="*/ 862439 h 2729555"/>
                <a:gd name="connsiteX1961" fmla="*/ 278767 w 5631293"/>
                <a:gd name="connsiteY1961" fmla="*/ 862439 h 2729555"/>
                <a:gd name="connsiteX1962" fmla="*/ 278767 w 5631293"/>
                <a:gd name="connsiteY1962" fmla="*/ 856729 h 2729555"/>
                <a:gd name="connsiteX1963" fmla="*/ 280290 w 5631293"/>
                <a:gd name="connsiteY1963" fmla="*/ 857744 h 2729555"/>
                <a:gd name="connsiteX1964" fmla="*/ 274960 w 5631293"/>
                <a:gd name="connsiteY1964" fmla="*/ 857744 h 2729555"/>
                <a:gd name="connsiteX1965" fmla="*/ 274960 w 5631293"/>
                <a:gd name="connsiteY1965" fmla="*/ 847340 h 2729555"/>
                <a:gd name="connsiteX1966" fmla="*/ 276483 w 5631293"/>
                <a:gd name="connsiteY1966" fmla="*/ 848482 h 2729555"/>
                <a:gd name="connsiteX1967" fmla="*/ 273057 w 5631293"/>
                <a:gd name="connsiteY1967" fmla="*/ 848482 h 2729555"/>
                <a:gd name="connsiteX1968" fmla="*/ 273057 w 5631293"/>
                <a:gd name="connsiteY1968" fmla="*/ 842518 h 2729555"/>
                <a:gd name="connsiteX1969" fmla="*/ 274580 w 5631293"/>
                <a:gd name="connsiteY1969" fmla="*/ 843660 h 2729555"/>
                <a:gd name="connsiteX1970" fmla="*/ 271154 w 5631293"/>
                <a:gd name="connsiteY1970" fmla="*/ 843660 h 2729555"/>
                <a:gd name="connsiteX1971" fmla="*/ 271154 w 5631293"/>
                <a:gd name="connsiteY1971" fmla="*/ 837950 h 2729555"/>
                <a:gd name="connsiteX1972" fmla="*/ 272676 w 5631293"/>
                <a:gd name="connsiteY1972" fmla="*/ 838965 h 2729555"/>
                <a:gd name="connsiteX1973" fmla="*/ 269124 w 5631293"/>
                <a:gd name="connsiteY1973" fmla="*/ 838965 h 2729555"/>
                <a:gd name="connsiteX1974" fmla="*/ 269124 w 5631293"/>
                <a:gd name="connsiteY1974" fmla="*/ 833255 h 2729555"/>
                <a:gd name="connsiteX1975" fmla="*/ 270646 w 5631293"/>
                <a:gd name="connsiteY1975" fmla="*/ 834397 h 2729555"/>
                <a:gd name="connsiteX1976" fmla="*/ 267220 w 5631293"/>
                <a:gd name="connsiteY1976" fmla="*/ 834397 h 2729555"/>
                <a:gd name="connsiteX1977" fmla="*/ 267220 w 5631293"/>
                <a:gd name="connsiteY1977" fmla="*/ 823866 h 2729555"/>
                <a:gd name="connsiteX1978" fmla="*/ 268743 w 5631293"/>
                <a:gd name="connsiteY1978" fmla="*/ 825008 h 2729555"/>
                <a:gd name="connsiteX1979" fmla="*/ 265317 w 5631293"/>
                <a:gd name="connsiteY1979" fmla="*/ 825008 h 2729555"/>
                <a:gd name="connsiteX1980" fmla="*/ 265317 w 5631293"/>
                <a:gd name="connsiteY1980" fmla="*/ 809782 h 2729555"/>
                <a:gd name="connsiteX1981" fmla="*/ 266840 w 5631293"/>
                <a:gd name="connsiteY1981" fmla="*/ 810924 h 2729555"/>
                <a:gd name="connsiteX1982" fmla="*/ 263414 w 5631293"/>
                <a:gd name="connsiteY1982" fmla="*/ 810924 h 2729555"/>
                <a:gd name="connsiteX1983" fmla="*/ 263414 w 5631293"/>
                <a:gd name="connsiteY1983" fmla="*/ 805087 h 2729555"/>
                <a:gd name="connsiteX1984" fmla="*/ 264936 w 5631293"/>
                <a:gd name="connsiteY1984" fmla="*/ 806229 h 2729555"/>
                <a:gd name="connsiteX1985" fmla="*/ 261510 w 5631293"/>
                <a:gd name="connsiteY1985" fmla="*/ 806229 h 2729555"/>
                <a:gd name="connsiteX1986" fmla="*/ 261510 w 5631293"/>
                <a:gd name="connsiteY1986" fmla="*/ 791130 h 2729555"/>
                <a:gd name="connsiteX1987" fmla="*/ 263033 w 5631293"/>
                <a:gd name="connsiteY1987" fmla="*/ 792272 h 2729555"/>
                <a:gd name="connsiteX1988" fmla="*/ 259480 w 5631293"/>
                <a:gd name="connsiteY1988" fmla="*/ 792272 h 2729555"/>
                <a:gd name="connsiteX1989" fmla="*/ 259480 w 5631293"/>
                <a:gd name="connsiteY1989" fmla="*/ 781740 h 2729555"/>
                <a:gd name="connsiteX1990" fmla="*/ 261003 w 5631293"/>
                <a:gd name="connsiteY1990" fmla="*/ 782755 h 2729555"/>
                <a:gd name="connsiteX1991" fmla="*/ 257577 w 5631293"/>
                <a:gd name="connsiteY1991" fmla="*/ 782755 h 2729555"/>
                <a:gd name="connsiteX1992" fmla="*/ 257577 w 5631293"/>
                <a:gd name="connsiteY1992" fmla="*/ 772351 h 2729555"/>
                <a:gd name="connsiteX1993" fmla="*/ 259100 w 5631293"/>
                <a:gd name="connsiteY1993" fmla="*/ 773492 h 2729555"/>
                <a:gd name="connsiteX1994" fmla="*/ 255674 w 5631293"/>
                <a:gd name="connsiteY1994" fmla="*/ 773492 h 2729555"/>
                <a:gd name="connsiteX1995" fmla="*/ 255674 w 5631293"/>
                <a:gd name="connsiteY1995" fmla="*/ 753698 h 2729555"/>
                <a:gd name="connsiteX1996" fmla="*/ 257196 w 5631293"/>
                <a:gd name="connsiteY1996" fmla="*/ 754840 h 2729555"/>
                <a:gd name="connsiteX1997" fmla="*/ 251740 w 5631293"/>
                <a:gd name="connsiteY1997" fmla="*/ 754840 h 2729555"/>
                <a:gd name="connsiteX1998" fmla="*/ 251740 w 5631293"/>
                <a:gd name="connsiteY1998" fmla="*/ 735046 h 2729555"/>
                <a:gd name="connsiteX1999" fmla="*/ 253263 w 5631293"/>
                <a:gd name="connsiteY1999" fmla="*/ 736061 h 2729555"/>
                <a:gd name="connsiteX2000" fmla="*/ 249837 w 5631293"/>
                <a:gd name="connsiteY2000" fmla="*/ 736061 h 2729555"/>
                <a:gd name="connsiteX2001" fmla="*/ 249837 w 5631293"/>
                <a:gd name="connsiteY2001" fmla="*/ 730352 h 2729555"/>
                <a:gd name="connsiteX2002" fmla="*/ 251360 w 5631293"/>
                <a:gd name="connsiteY2002" fmla="*/ 731493 h 2729555"/>
                <a:gd name="connsiteX2003" fmla="*/ 247934 w 5631293"/>
                <a:gd name="connsiteY2003" fmla="*/ 731493 h 2729555"/>
                <a:gd name="connsiteX2004" fmla="*/ 247934 w 5631293"/>
                <a:gd name="connsiteY2004" fmla="*/ 711573 h 2729555"/>
                <a:gd name="connsiteX2005" fmla="*/ 249456 w 5631293"/>
                <a:gd name="connsiteY2005" fmla="*/ 712714 h 2729555"/>
                <a:gd name="connsiteX2006" fmla="*/ 246031 w 5631293"/>
                <a:gd name="connsiteY2006" fmla="*/ 712714 h 2729555"/>
                <a:gd name="connsiteX2007" fmla="*/ 246031 w 5631293"/>
                <a:gd name="connsiteY2007" fmla="*/ 697615 h 2729555"/>
                <a:gd name="connsiteX2008" fmla="*/ 247553 w 5631293"/>
                <a:gd name="connsiteY2008" fmla="*/ 698630 h 2729555"/>
                <a:gd name="connsiteX2009" fmla="*/ 244127 w 5631293"/>
                <a:gd name="connsiteY2009" fmla="*/ 698630 h 2729555"/>
                <a:gd name="connsiteX2010" fmla="*/ 244127 w 5631293"/>
                <a:gd name="connsiteY2010" fmla="*/ 678836 h 2729555"/>
                <a:gd name="connsiteX2011" fmla="*/ 245650 w 5631293"/>
                <a:gd name="connsiteY2011" fmla="*/ 679978 h 2729555"/>
                <a:gd name="connsiteX2012" fmla="*/ 242097 w 5631293"/>
                <a:gd name="connsiteY2012" fmla="*/ 679978 h 2729555"/>
                <a:gd name="connsiteX2013" fmla="*/ 242097 w 5631293"/>
                <a:gd name="connsiteY2013" fmla="*/ 674268 h 2729555"/>
                <a:gd name="connsiteX2014" fmla="*/ 243620 w 5631293"/>
                <a:gd name="connsiteY2014" fmla="*/ 675283 h 2729555"/>
                <a:gd name="connsiteX2015" fmla="*/ 240194 w 5631293"/>
                <a:gd name="connsiteY2015" fmla="*/ 675283 h 2729555"/>
                <a:gd name="connsiteX2016" fmla="*/ 240194 w 5631293"/>
                <a:gd name="connsiteY2016" fmla="*/ 660184 h 2729555"/>
                <a:gd name="connsiteX2017" fmla="*/ 241716 w 5631293"/>
                <a:gd name="connsiteY2017" fmla="*/ 661326 h 2729555"/>
                <a:gd name="connsiteX2018" fmla="*/ 238290 w 5631293"/>
                <a:gd name="connsiteY2018" fmla="*/ 661326 h 2729555"/>
                <a:gd name="connsiteX2019" fmla="*/ 238290 w 5631293"/>
                <a:gd name="connsiteY2019" fmla="*/ 655489 h 2729555"/>
                <a:gd name="connsiteX2020" fmla="*/ 239813 w 5631293"/>
                <a:gd name="connsiteY2020" fmla="*/ 656631 h 2729555"/>
                <a:gd name="connsiteX2021" fmla="*/ 236387 w 5631293"/>
                <a:gd name="connsiteY2021" fmla="*/ 656631 h 2729555"/>
                <a:gd name="connsiteX2022" fmla="*/ 236387 w 5631293"/>
                <a:gd name="connsiteY2022" fmla="*/ 646227 h 2729555"/>
                <a:gd name="connsiteX2023" fmla="*/ 237910 w 5631293"/>
                <a:gd name="connsiteY2023" fmla="*/ 647369 h 2729555"/>
                <a:gd name="connsiteX2024" fmla="*/ 234484 w 5631293"/>
                <a:gd name="connsiteY2024" fmla="*/ 647369 h 2729555"/>
                <a:gd name="connsiteX2025" fmla="*/ 234484 w 5631293"/>
                <a:gd name="connsiteY2025" fmla="*/ 636837 h 2729555"/>
                <a:gd name="connsiteX2026" fmla="*/ 236007 w 5631293"/>
                <a:gd name="connsiteY2026" fmla="*/ 637979 h 2729555"/>
                <a:gd name="connsiteX2027" fmla="*/ 232327 w 5631293"/>
                <a:gd name="connsiteY2027" fmla="*/ 637979 h 2729555"/>
                <a:gd name="connsiteX2028" fmla="*/ 232327 w 5631293"/>
                <a:gd name="connsiteY2028" fmla="*/ 627574 h 2729555"/>
                <a:gd name="connsiteX2029" fmla="*/ 233976 w 5631293"/>
                <a:gd name="connsiteY2029" fmla="*/ 628716 h 2729555"/>
                <a:gd name="connsiteX2030" fmla="*/ 230424 w 5631293"/>
                <a:gd name="connsiteY2030" fmla="*/ 628716 h 2729555"/>
                <a:gd name="connsiteX2031" fmla="*/ 230424 w 5631293"/>
                <a:gd name="connsiteY2031" fmla="*/ 622880 h 2729555"/>
                <a:gd name="connsiteX2032" fmla="*/ 231946 w 5631293"/>
                <a:gd name="connsiteY2032" fmla="*/ 624022 h 2729555"/>
                <a:gd name="connsiteX2033" fmla="*/ 228520 w 5631293"/>
                <a:gd name="connsiteY2033" fmla="*/ 624022 h 2729555"/>
                <a:gd name="connsiteX2034" fmla="*/ 228520 w 5631293"/>
                <a:gd name="connsiteY2034" fmla="*/ 618312 h 2729555"/>
                <a:gd name="connsiteX2035" fmla="*/ 230043 w 5631293"/>
                <a:gd name="connsiteY2035" fmla="*/ 619454 h 2729555"/>
                <a:gd name="connsiteX2036" fmla="*/ 226236 w 5631293"/>
                <a:gd name="connsiteY2036" fmla="*/ 619454 h 2729555"/>
                <a:gd name="connsiteX2037" fmla="*/ 222684 w 5631293"/>
                <a:gd name="connsiteY2037" fmla="*/ 619454 h 2729555"/>
                <a:gd name="connsiteX2038" fmla="*/ 222684 w 5631293"/>
                <a:gd name="connsiteY2038" fmla="*/ 609049 h 2729555"/>
                <a:gd name="connsiteX2039" fmla="*/ 224206 w 5631293"/>
                <a:gd name="connsiteY2039" fmla="*/ 610191 h 2729555"/>
                <a:gd name="connsiteX2040" fmla="*/ 220780 w 5631293"/>
                <a:gd name="connsiteY2040" fmla="*/ 610191 h 2729555"/>
                <a:gd name="connsiteX2041" fmla="*/ 220780 w 5631293"/>
                <a:gd name="connsiteY2041" fmla="*/ 599787 h 2729555"/>
                <a:gd name="connsiteX2042" fmla="*/ 222303 w 5631293"/>
                <a:gd name="connsiteY2042" fmla="*/ 600929 h 2729555"/>
                <a:gd name="connsiteX2043" fmla="*/ 216974 w 5631293"/>
                <a:gd name="connsiteY2043" fmla="*/ 600929 h 2729555"/>
                <a:gd name="connsiteX2044" fmla="*/ 216974 w 5631293"/>
                <a:gd name="connsiteY2044" fmla="*/ 590524 h 2729555"/>
                <a:gd name="connsiteX2045" fmla="*/ 218496 w 5631293"/>
                <a:gd name="connsiteY2045" fmla="*/ 591666 h 2729555"/>
                <a:gd name="connsiteX2046" fmla="*/ 215070 w 5631293"/>
                <a:gd name="connsiteY2046" fmla="*/ 591666 h 2729555"/>
                <a:gd name="connsiteX2047" fmla="*/ 215070 w 5631293"/>
                <a:gd name="connsiteY2047" fmla="*/ 585956 h 2729555"/>
                <a:gd name="connsiteX2048" fmla="*/ 216593 w 5631293"/>
                <a:gd name="connsiteY2048" fmla="*/ 587098 h 2729555"/>
                <a:gd name="connsiteX2049" fmla="*/ 211137 w 5631293"/>
                <a:gd name="connsiteY2049" fmla="*/ 587098 h 2729555"/>
                <a:gd name="connsiteX2050" fmla="*/ 211137 w 5631293"/>
                <a:gd name="connsiteY2050" fmla="*/ 581261 h 2729555"/>
                <a:gd name="connsiteX2051" fmla="*/ 212660 w 5631293"/>
                <a:gd name="connsiteY2051" fmla="*/ 582403 h 2729555"/>
                <a:gd name="connsiteX2052" fmla="*/ 209234 w 5631293"/>
                <a:gd name="connsiteY2052" fmla="*/ 582403 h 2729555"/>
                <a:gd name="connsiteX2053" fmla="*/ 209234 w 5631293"/>
                <a:gd name="connsiteY2053" fmla="*/ 576693 h 2729555"/>
                <a:gd name="connsiteX2054" fmla="*/ 210756 w 5631293"/>
                <a:gd name="connsiteY2054" fmla="*/ 577835 h 2729555"/>
                <a:gd name="connsiteX2055" fmla="*/ 207331 w 5631293"/>
                <a:gd name="connsiteY2055" fmla="*/ 577835 h 2729555"/>
                <a:gd name="connsiteX2056" fmla="*/ 207331 w 5631293"/>
                <a:gd name="connsiteY2056" fmla="*/ 567431 h 2729555"/>
                <a:gd name="connsiteX2057" fmla="*/ 208853 w 5631293"/>
                <a:gd name="connsiteY2057" fmla="*/ 568446 h 2729555"/>
                <a:gd name="connsiteX2058" fmla="*/ 205427 w 5631293"/>
                <a:gd name="connsiteY2058" fmla="*/ 568446 h 2729555"/>
                <a:gd name="connsiteX2059" fmla="*/ 205427 w 5631293"/>
                <a:gd name="connsiteY2059" fmla="*/ 562863 h 2729555"/>
                <a:gd name="connsiteX2060" fmla="*/ 206950 w 5631293"/>
                <a:gd name="connsiteY2060" fmla="*/ 563878 h 2729555"/>
                <a:gd name="connsiteX2061" fmla="*/ 203397 w 5631293"/>
                <a:gd name="connsiteY2061" fmla="*/ 563878 h 2729555"/>
                <a:gd name="connsiteX2062" fmla="*/ 203397 w 5631293"/>
                <a:gd name="connsiteY2062" fmla="*/ 553600 h 2729555"/>
                <a:gd name="connsiteX2063" fmla="*/ 204920 w 5631293"/>
                <a:gd name="connsiteY2063" fmla="*/ 554742 h 2729555"/>
                <a:gd name="connsiteX2064" fmla="*/ 201494 w 5631293"/>
                <a:gd name="connsiteY2064" fmla="*/ 554742 h 2729555"/>
                <a:gd name="connsiteX2065" fmla="*/ 201494 w 5631293"/>
                <a:gd name="connsiteY2065" fmla="*/ 544338 h 2729555"/>
                <a:gd name="connsiteX2066" fmla="*/ 203016 w 5631293"/>
                <a:gd name="connsiteY2066" fmla="*/ 545480 h 2729555"/>
                <a:gd name="connsiteX2067" fmla="*/ 197687 w 5631293"/>
                <a:gd name="connsiteY2067" fmla="*/ 545480 h 2729555"/>
                <a:gd name="connsiteX2068" fmla="*/ 197687 w 5631293"/>
                <a:gd name="connsiteY2068" fmla="*/ 535075 h 2729555"/>
                <a:gd name="connsiteX2069" fmla="*/ 199210 w 5631293"/>
                <a:gd name="connsiteY2069" fmla="*/ 536217 h 2729555"/>
                <a:gd name="connsiteX2070" fmla="*/ 195784 w 5631293"/>
                <a:gd name="connsiteY2070" fmla="*/ 536217 h 2729555"/>
                <a:gd name="connsiteX2071" fmla="*/ 195784 w 5631293"/>
                <a:gd name="connsiteY2071" fmla="*/ 530380 h 2729555"/>
                <a:gd name="connsiteX2072" fmla="*/ 197307 w 5631293"/>
                <a:gd name="connsiteY2072" fmla="*/ 531522 h 2729555"/>
                <a:gd name="connsiteX2073" fmla="*/ 193754 w 5631293"/>
                <a:gd name="connsiteY2073" fmla="*/ 531522 h 2729555"/>
                <a:gd name="connsiteX2074" fmla="*/ 193754 w 5631293"/>
                <a:gd name="connsiteY2074" fmla="*/ 525812 h 2729555"/>
                <a:gd name="connsiteX2075" fmla="*/ 195276 w 5631293"/>
                <a:gd name="connsiteY2075" fmla="*/ 526954 h 2729555"/>
                <a:gd name="connsiteX2076" fmla="*/ 191851 w 5631293"/>
                <a:gd name="connsiteY2076" fmla="*/ 526954 h 2729555"/>
                <a:gd name="connsiteX2077" fmla="*/ 191851 w 5631293"/>
                <a:gd name="connsiteY2077" fmla="*/ 516550 h 2729555"/>
                <a:gd name="connsiteX2078" fmla="*/ 193373 w 5631293"/>
                <a:gd name="connsiteY2078" fmla="*/ 517692 h 2729555"/>
                <a:gd name="connsiteX2079" fmla="*/ 189947 w 5631293"/>
                <a:gd name="connsiteY2079" fmla="*/ 517692 h 2729555"/>
                <a:gd name="connsiteX2080" fmla="*/ 189947 w 5631293"/>
                <a:gd name="connsiteY2080" fmla="*/ 498152 h 2729555"/>
                <a:gd name="connsiteX2081" fmla="*/ 191470 w 5631293"/>
                <a:gd name="connsiteY2081" fmla="*/ 499167 h 2729555"/>
                <a:gd name="connsiteX2082" fmla="*/ 188044 w 5631293"/>
                <a:gd name="connsiteY2082" fmla="*/ 499167 h 2729555"/>
                <a:gd name="connsiteX2083" fmla="*/ 188044 w 5631293"/>
                <a:gd name="connsiteY2083" fmla="*/ 493457 h 2729555"/>
                <a:gd name="connsiteX2084" fmla="*/ 189567 w 5631293"/>
                <a:gd name="connsiteY2084" fmla="*/ 494599 h 2729555"/>
                <a:gd name="connsiteX2085" fmla="*/ 186014 w 5631293"/>
                <a:gd name="connsiteY2085" fmla="*/ 494599 h 2729555"/>
                <a:gd name="connsiteX2086" fmla="*/ 186014 w 5631293"/>
                <a:gd name="connsiteY2086" fmla="*/ 484321 h 2729555"/>
                <a:gd name="connsiteX2087" fmla="*/ 187536 w 5631293"/>
                <a:gd name="connsiteY2087" fmla="*/ 485336 h 2729555"/>
                <a:gd name="connsiteX2088" fmla="*/ 182080 w 5631293"/>
                <a:gd name="connsiteY2088" fmla="*/ 485336 h 2729555"/>
                <a:gd name="connsiteX2089" fmla="*/ 182080 w 5631293"/>
                <a:gd name="connsiteY2089" fmla="*/ 470491 h 2729555"/>
                <a:gd name="connsiteX2090" fmla="*/ 183603 w 5631293"/>
                <a:gd name="connsiteY2090" fmla="*/ 471632 h 2729555"/>
                <a:gd name="connsiteX2091" fmla="*/ 180177 w 5631293"/>
                <a:gd name="connsiteY2091" fmla="*/ 471632 h 2729555"/>
                <a:gd name="connsiteX2092" fmla="*/ 180177 w 5631293"/>
                <a:gd name="connsiteY2092" fmla="*/ 465923 h 2729555"/>
                <a:gd name="connsiteX2093" fmla="*/ 181700 w 5631293"/>
                <a:gd name="connsiteY2093" fmla="*/ 466938 h 2729555"/>
                <a:gd name="connsiteX2094" fmla="*/ 176244 w 5631293"/>
                <a:gd name="connsiteY2094" fmla="*/ 466938 h 2729555"/>
                <a:gd name="connsiteX2095" fmla="*/ 176244 w 5631293"/>
                <a:gd name="connsiteY2095" fmla="*/ 461355 h 2729555"/>
                <a:gd name="connsiteX2096" fmla="*/ 177766 w 5631293"/>
                <a:gd name="connsiteY2096" fmla="*/ 462370 h 2729555"/>
                <a:gd name="connsiteX2097" fmla="*/ 174340 w 5631293"/>
                <a:gd name="connsiteY2097" fmla="*/ 462370 h 2729555"/>
                <a:gd name="connsiteX2098" fmla="*/ 174340 w 5631293"/>
                <a:gd name="connsiteY2098" fmla="*/ 442956 h 2729555"/>
                <a:gd name="connsiteX2099" fmla="*/ 175863 w 5631293"/>
                <a:gd name="connsiteY2099" fmla="*/ 443972 h 2729555"/>
                <a:gd name="connsiteX2100" fmla="*/ 172437 w 5631293"/>
                <a:gd name="connsiteY2100" fmla="*/ 443972 h 2729555"/>
                <a:gd name="connsiteX2101" fmla="*/ 172437 w 5631293"/>
                <a:gd name="connsiteY2101" fmla="*/ 433694 h 2729555"/>
                <a:gd name="connsiteX2102" fmla="*/ 173960 w 5631293"/>
                <a:gd name="connsiteY2102" fmla="*/ 434836 h 2729555"/>
                <a:gd name="connsiteX2103" fmla="*/ 170534 w 5631293"/>
                <a:gd name="connsiteY2103" fmla="*/ 434836 h 2729555"/>
                <a:gd name="connsiteX2104" fmla="*/ 170534 w 5631293"/>
                <a:gd name="connsiteY2104" fmla="*/ 424558 h 2729555"/>
                <a:gd name="connsiteX2105" fmla="*/ 172056 w 5631293"/>
                <a:gd name="connsiteY2105" fmla="*/ 425573 h 2729555"/>
                <a:gd name="connsiteX2106" fmla="*/ 168631 w 5631293"/>
                <a:gd name="connsiteY2106" fmla="*/ 425573 h 2729555"/>
                <a:gd name="connsiteX2107" fmla="*/ 168631 w 5631293"/>
                <a:gd name="connsiteY2107" fmla="*/ 415295 h 2729555"/>
                <a:gd name="connsiteX2108" fmla="*/ 170153 w 5631293"/>
                <a:gd name="connsiteY2108" fmla="*/ 416437 h 2729555"/>
                <a:gd name="connsiteX2109" fmla="*/ 166600 w 5631293"/>
                <a:gd name="connsiteY2109" fmla="*/ 416437 h 2729555"/>
                <a:gd name="connsiteX2110" fmla="*/ 166600 w 5631293"/>
                <a:gd name="connsiteY2110" fmla="*/ 406160 h 2729555"/>
                <a:gd name="connsiteX2111" fmla="*/ 168123 w 5631293"/>
                <a:gd name="connsiteY2111" fmla="*/ 407175 h 2729555"/>
                <a:gd name="connsiteX2112" fmla="*/ 164697 w 5631293"/>
                <a:gd name="connsiteY2112" fmla="*/ 407175 h 2729555"/>
                <a:gd name="connsiteX2113" fmla="*/ 164697 w 5631293"/>
                <a:gd name="connsiteY2113" fmla="*/ 387761 h 2729555"/>
                <a:gd name="connsiteX2114" fmla="*/ 166220 w 5631293"/>
                <a:gd name="connsiteY2114" fmla="*/ 388776 h 2729555"/>
                <a:gd name="connsiteX2115" fmla="*/ 162794 w 5631293"/>
                <a:gd name="connsiteY2115" fmla="*/ 388776 h 2729555"/>
                <a:gd name="connsiteX2116" fmla="*/ 162794 w 5631293"/>
                <a:gd name="connsiteY2116" fmla="*/ 364795 h 2729555"/>
                <a:gd name="connsiteX2117" fmla="*/ 164316 w 5631293"/>
                <a:gd name="connsiteY2117" fmla="*/ 365810 h 2729555"/>
                <a:gd name="connsiteX2118" fmla="*/ 160890 w 5631293"/>
                <a:gd name="connsiteY2118" fmla="*/ 365810 h 2729555"/>
                <a:gd name="connsiteX2119" fmla="*/ 160890 w 5631293"/>
                <a:gd name="connsiteY2119" fmla="*/ 355532 h 2729555"/>
                <a:gd name="connsiteX2120" fmla="*/ 162413 w 5631293"/>
                <a:gd name="connsiteY2120" fmla="*/ 356674 h 2729555"/>
                <a:gd name="connsiteX2121" fmla="*/ 158987 w 5631293"/>
                <a:gd name="connsiteY2121" fmla="*/ 356674 h 2729555"/>
                <a:gd name="connsiteX2122" fmla="*/ 158987 w 5631293"/>
                <a:gd name="connsiteY2122" fmla="*/ 350965 h 2729555"/>
                <a:gd name="connsiteX2123" fmla="*/ 160510 w 5631293"/>
                <a:gd name="connsiteY2123" fmla="*/ 352107 h 2729555"/>
                <a:gd name="connsiteX2124" fmla="*/ 156957 w 5631293"/>
                <a:gd name="connsiteY2124" fmla="*/ 352107 h 2729555"/>
                <a:gd name="connsiteX2125" fmla="*/ 156957 w 5631293"/>
                <a:gd name="connsiteY2125" fmla="*/ 341829 h 2729555"/>
                <a:gd name="connsiteX2126" fmla="*/ 158480 w 5631293"/>
                <a:gd name="connsiteY2126" fmla="*/ 342971 h 2729555"/>
                <a:gd name="connsiteX2127" fmla="*/ 155054 w 5631293"/>
                <a:gd name="connsiteY2127" fmla="*/ 342971 h 2729555"/>
                <a:gd name="connsiteX2128" fmla="*/ 155054 w 5631293"/>
                <a:gd name="connsiteY2128" fmla="*/ 337261 h 2729555"/>
                <a:gd name="connsiteX2129" fmla="*/ 156576 w 5631293"/>
                <a:gd name="connsiteY2129" fmla="*/ 338403 h 2729555"/>
                <a:gd name="connsiteX2130" fmla="*/ 153150 w 5631293"/>
                <a:gd name="connsiteY2130" fmla="*/ 338403 h 2729555"/>
                <a:gd name="connsiteX2131" fmla="*/ 153150 w 5631293"/>
                <a:gd name="connsiteY2131" fmla="*/ 332693 h 2729555"/>
                <a:gd name="connsiteX2132" fmla="*/ 154673 w 5631293"/>
                <a:gd name="connsiteY2132" fmla="*/ 333835 h 2729555"/>
                <a:gd name="connsiteX2133" fmla="*/ 151247 w 5631293"/>
                <a:gd name="connsiteY2133" fmla="*/ 333835 h 2729555"/>
                <a:gd name="connsiteX2134" fmla="*/ 151247 w 5631293"/>
                <a:gd name="connsiteY2134" fmla="*/ 323557 h 2729555"/>
                <a:gd name="connsiteX2135" fmla="*/ 152770 w 5631293"/>
                <a:gd name="connsiteY2135" fmla="*/ 324699 h 2729555"/>
                <a:gd name="connsiteX2136" fmla="*/ 149344 w 5631293"/>
                <a:gd name="connsiteY2136" fmla="*/ 324699 h 2729555"/>
                <a:gd name="connsiteX2137" fmla="*/ 149344 w 5631293"/>
                <a:gd name="connsiteY2137" fmla="*/ 305159 h 2729555"/>
                <a:gd name="connsiteX2138" fmla="*/ 150867 w 5631293"/>
                <a:gd name="connsiteY2138" fmla="*/ 306301 h 2729555"/>
                <a:gd name="connsiteX2139" fmla="*/ 147314 w 5631293"/>
                <a:gd name="connsiteY2139" fmla="*/ 306301 h 2729555"/>
                <a:gd name="connsiteX2140" fmla="*/ 147314 w 5631293"/>
                <a:gd name="connsiteY2140" fmla="*/ 296023 h 2729555"/>
                <a:gd name="connsiteX2141" fmla="*/ 148836 w 5631293"/>
                <a:gd name="connsiteY2141" fmla="*/ 297165 h 2729555"/>
                <a:gd name="connsiteX2142" fmla="*/ 145411 w 5631293"/>
                <a:gd name="connsiteY2142" fmla="*/ 297165 h 2729555"/>
                <a:gd name="connsiteX2143" fmla="*/ 145411 w 5631293"/>
                <a:gd name="connsiteY2143" fmla="*/ 282320 h 2729555"/>
                <a:gd name="connsiteX2144" fmla="*/ 146933 w 5631293"/>
                <a:gd name="connsiteY2144" fmla="*/ 283462 h 2729555"/>
                <a:gd name="connsiteX2145" fmla="*/ 143507 w 5631293"/>
                <a:gd name="connsiteY2145" fmla="*/ 283462 h 2729555"/>
                <a:gd name="connsiteX2146" fmla="*/ 143507 w 5631293"/>
                <a:gd name="connsiteY2146" fmla="*/ 277752 h 2729555"/>
                <a:gd name="connsiteX2147" fmla="*/ 145030 w 5631293"/>
                <a:gd name="connsiteY2147" fmla="*/ 278894 h 2729555"/>
                <a:gd name="connsiteX2148" fmla="*/ 141604 w 5631293"/>
                <a:gd name="connsiteY2148" fmla="*/ 278894 h 2729555"/>
                <a:gd name="connsiteX2149" fmla="*/ 141604 w 5631293"/>
                <a:gd name="connsiteY2149" fmla="*/ 273184 h 2729555"/>
                <a:gd name="connsiteX2150" fmla="*/ 143127 w 5631293"/>
                <a:gd name="connsiteY2150" fmla="*/ 274199 h 2729555"/>
                <a:gd name="connsiteX2151" fmla="*/ 139701 w 5631293"/>
                <a:gd name="connsiteY2151" fmla="*/ 274199 h 2729555"/>
                <a:gd name="connsiteX2152" fmla="*/ 139701 w 5631293"/>
                <a:gd name="connsiteY2152" fmla="*/ 268616 h 2729555"/>
                <a:gd name="connsiteX2153" fmla="*/ 141223 w 5631293"/>
                <a:gd name="connsiteY2153" fmla="*/ 269631 h 2729555"/>
                <a:gd name="connsiteX2154" fmla="*/ 137670 w 5631293"/>
                <a:gd name="connsiteY2154" fmla="*/ 269631 h 2729555"/>
                <a:gd name="connsiteX2155" fmla="*/ 137670 w 5631293"/>
                <a:gd name="connsiteY2155" fmla="*/ 259353 h 2729555"/>
                <a:gd name="connsiteX2156" fmla="*/ 139193 w 5631293"/>
                <a:gd name="connsiteY2156" fmla="*/ 260495 h 2729555"/>
                <a:gd name="connsiteX2157" fmla="*/ 135640 w 5631293"/>
                <a:gd name="connsiteY2157" fmla="*/ 260495 h 2729555"/>
                <a:gd name="connsiteX2158" fmla="*/ 135640 w 5631293"/>
                <a:gd name="connsiteY2158" fmla="*/ 245650 h 2729555"/>
                <a:gd name="connsiteX2159" fmla="*/ 137290 w 5631293"/>
                <a:gd name="connsiteY2159" fmla="*/ 246792 h 2729555"/>
                <a:gd name="connsiteX2160" fmla="*/ 133737 w 5631293"/>
                <a:gd name="connsiteY2160" fmla="*/ 246792 h 2729555"/>
                <a:gd name="connsiteX2161" fmla="*/ 133737 w 5631293"/>
                <a:gd name="connsiteY2161" fmla="*/ 236641 h 2729555"/>
                <a:gd name="connsiteX2162" fmla="*/ 135260 w 5631293"/>
                <a:gd name="connsiteY2162" fmla="*/ 237783 h 2729555"/>
                <a:gd name="connsiteX2163" fmla="*/ 131834 w 5631293"/>
                <a:gd name="connsiteY2163" fmla="*/ 237783 h 2729555"/>
                <a:gd name="connsiteX2164" fmla="*/ 131834 w 5631293"/>
                <a:gd name="connsiteY2164" fmla="*/ 232073 h 2729555"/>
                <a:gd name="connsiteX2165" fmla="*/ 133356 w 5631293"/>
                <a:gd name="connsiteY2165" fmla="*/ 233215 h 2729555"/>
                <a:gd name="connsiteX2166" fmla="*/ 129930 w 5631293"/>
                <a:gd name="connsiteY2166" fmla="*/ 233215 h 2729555"/>
                <a:gd name="connsiteX2167" fmla="*/ 129930 w 5631293"/>
                <a:gd name="connsiteY2167" fmla="*/ 222937 h 2729555"/>
                <a:gd name="connsiteX2168" fmla="*/ 131453 w 5631293"/>
                <a:gd name="connsiteY2168" fmla="*/ 224079 h 2729555"/>
                <a:gd name="connsiteX2169" fmla="*/ 129423 w 5631293"/>
                <a:gd name="connsiteY2169" fmla="*/ 224079 h 2729555"/>
                <a:gd name="connsiteX2170" fmla="*/ 125997 w 5631293"/>
                <a:gd name="connsiteY2170" fmla="*/ 224079 h 2729555"/>
                <a:gd name="connsiteX2171" fmla="*/ 125997 w 5631293"/>
                <a:gd name="connsiteY2171" fmla="*/ 218370 h 2729555"/>
                <a:gd name="connsiteX2172" fmla="*/ 127520 w 5631293"/>
                <a:gd name="connsiteY2172" fmla="*/ 219385 h 2729555"/>
                <a:gd name="connsiteX2173" fmla="*/ 124094 w 5631293"/>
                <a:gd name="connsiteY2173" fmla="*/ 219385 h 2729555"/>
                <a:gd name="connsiteX2174" fmla="*/ 124094 w 5631293"/>
                <a:gd name="connsiteY2174" fmla="*/ 209234 h 2729555"/>
                <a:gd name="connsiteX2175" fmla="*/ 125616 w 5631293"/>
                <a:gd name="connsiteY2175" fmla="*/ 210376 h 2729555"/>
                <a:gd name="connsiteX2176" fmla="*/ 120160 w 5631293"/>
                <a:gd name="connsiteY2176" fmla="*/ 210376 h 2729555"/>
                <a:gd name="connsiteX2177" fmla="*/ 120160 w 5631293"/>
                <a:gd name="connsiteY2177" fmla="*/ 204666 h 2729555"/>
                <a:gd name="connsiteX2178" fmla="*/ 121683 w 5631293"/>
                <a:gd name="connsiteY2178" fmla="*/ 205808 h 2729555"/>
                <a:gd name="connsiteX2179" fmla="*/ 117876 w 5631293"/>
                <a:gd name="connsiteY2179" fmla="*/ 205808 h 2729555"/>
                <a:gd name="connsiteX2180" fmla="*/ 114450 w 5631293"/>
                <a:gd name="connsiteY2180" fmla="*/ 205808 h 2729555"/>
                <a:gd name="connsiteX2181" fmla="*/ 114450 w 5631293"/>
                <a:gd name="connsiteY2181" fmla="*/ 195657 h 2729555"/>
                <a:gd name="connsiteX2182" fmla="*/ 115973 w 5631293"/>
                <a:gd name="connsiteY2182" fmla="*/ 196799 h 2729555"/>
                <a:gd name="connsiteX2183" fmla="*/ 112547 w 5631293"/>
                <a:gd name="connsiteY2183" fmla="*/ 196799 h 2729555"/>
                <a:gd name="connsiteX2184" fmla="*/ 112547 w 5631293"/>
                <a:gd name="connsiteY2184" fmla="*/ 186521 h 2729555"/>
                <a:gd name="connsiteX2185" fmla="*/ 114070 w 5631293"/>
                <a:gd name="connsiteY2185" fmla="*/ 187663 h 2729555"/>
                <a:gd name="connsiteX2186" fmla="*/ 110517 w 5631293"/>
                <a:gd name="connsiteY2186" fmla="*/ 187663 h 2729555"/>
                <a:gd name="connsiteX2187" fmla="*/ 110517 w 5631293"/>
                <a:gd name="connsiteY2187" fmla="*/ 181953 h 2729555"/>
                <a:gd name="connsiteX2188" fmla="*/ 112040 w 5631293"/>
                <a:gd name="connsiteY2188" fmla="*/ 183095 h 2729555"/>
                <a:gd name="connsiteX2189" fmla="*/ 108614 w 5631293"/>
                <a:gd name="connsiteY2189" fmla="*/ 183095 h 2729555"/>
                <a:gd name="connsiteX2190" fmla="*/ 108614 w 5631293"/>
                <a:gd name="connsiteY2190" fmla="*/ 172945 h 2729555"/>
                <a:gd name="connsiteX2191" fmla="*/ 110136 w 5631293"/>
                <a:gd name="connsiteY2191" fmla="*/ 174087 h 2729555"/>
                <a:gd name="connsiteX2192" fmla="*/ 100874 w 5631293"/>
                <a:gd name="connsiteY2192" fmla="*/ 174087 h 2729555"/>
                <a:gd name="connsiteX2193" fmla="*/ 100874 w 5631293"/>
                <a:gd name="connsiteY2193" fmla="*/ 163936 h 2729555"/>
                <a:gd name="connsiteX2194" fmla="*/ 102396 w 5631293"/>
                <a:gd name="connsiteY2194" fmla="*/ 164951 h 2729555"/>
                <a:gd name="connsiteX2195" fmla="*/ 98971 w 5631293"/>
                <a:gd name="connsiteY2195" fmla="*/ 164951 h 2729555"/>
                <a:gd name="connsiteX2196" fmla="*/ 98971 w 5631293"/>
                <a:gd name="connsiteY2196" fmla="*/ 154800 h 2729555"/>
                <a:gd name="connsiteX2197" fmla="*/ 100493 w 5631293"/>
                <a:gd name="connsiteY2197" fmla="*/ 155942 h 2729555"/>
                <a:gd name="connsiteX2198" fmla="*/ 97067 w 5631293"/>
                <a:gd name="connsiteY2198" fmla="*/ 155942 h 2729555"/>
                <a:gd name="connsiteX2199" fmla="*/ 97067 w 5631293"/>
                <a:gd name="connsiteY2199" fmla="*/ 150232 h 2729555"/>
                <a:gd name="connsiteX2200" fmla="*/ 98590 w 5631293"/>
                <a:gd name="connsiteY2200" fmla="*/ 151374 h 2729555"/>
                <a:gd name="connsiteX2201" fmla="*/ 95164 w 5631293"/>
                <a:gd name="connsiteY2201" fmla="*/ 151374 h 2729555"/>
                <a:gd name="connsiteX2202" fmla="*/ 95164 w 5631293"/>
                <a:gd name="connsiteY2202" fmla="*/ 141223 h 2729555"/>
                <a:gd name="connsiteX2203" fmla="*/ 96687 w 5631293"/>
                <a:gd name="connsiteY2203" fmla="*/ 142365 h 2729555"/>
                <a:gd name="connsiteX2204" fmla="*/ 93261 w 5631293"/>
                <a:gd name="connsiteY2204" fmla="*/ 142365 h 2729555"/>
                <a:gd name="connsiteX2205" fmla="*/ 93261 w 5631293"/>
                <a:gd name="connsiteY2205" fmla="*/ 136655 h 2729555"/>
                <a:gd name="connsiteX2206" fmla="*/ 94783 w 5631293"/>
                <a:gd name="connsiteY2206" fmla="*/ 137797 h 2729555"/>
                <a:gd name="connsiteX2207" fmla="*/ 81460 w 5631293"/>
                <a:gd name="connsiteY2207" fmla="*/ 137797 h 2729555"/>
                <a:gd name="connsiteX2208" fmla="*/ 81460 w 5631293"/>
                <a:gd name="connsiteY2208" fmla="*/ 127520 h 2729555"/>
                <a:gd name="connsiteX2209" fmla="*/ 82983 w 5631293"/>
                <a:gd name="connsiteY2209" fmla="*/ 128662 h 2729555"/>
                <a:gd name="connsiteX2210" fmla="*/ 69533 w 5631293"/>
                <a:gd name="connsiteY2210" fmla="*/ 128662 h 2729555"/>
                <a:gd name="connsiteX2211" fmla="*/ 66107 w 5631293"/>
                <a:gd name="connsiteY2211" fmla="*/ 128662 h 2729555"/>
                <a:gd name="connsiteX2212" fmla="*/ 66107 w 5631293"/>
                <a:gd name="connsiteY2212" fmla="*/ 123079 h 2729555"/>
                <a:gd name="connsiteX2213" fmla="*/ 67630 w 5631293"/>
                <a:gd name="connsiteY2213" fmla="*/ 124221 h 2729555"/>
                <a:gd name="connsiteX2214" fmla="*/ 64204 w 5631293"/>
                <a:gd name="connsiteY2214" fmla="*/ 124221 h 2729555"/>
                <a:gd name="connsiteX2215" fmla="*/ 64204 w 5631293"/>
                <a:gd name="connsiteY2215" fmla="*/ 118638 h 2729555"/>
                <a:gd name="connsiteX2216" fmla="*/ 65727 w 5631293"/>
                <a:gd name="connsiteY2216" fmla="*/ 119653 h 2729555"/>
                <a:gd name="connsiteX2217" fmla="*/ 62174 w 5631293"/>
                <a:gd name="connsiteY2217" fmla="*/ 119653 h 2729555"/>
                <a:gd name="connsiteX2218" fmla="*/ 62174 w 5631293"/>
                <a:gd name="connsiteY2218" fmla="*/ 114070 h 2729555"/>
                <a:gd name="connsiteX2219" fmla="*/ 63696 w 5631293"/>
                <a:gd name="connsiteY2219" fmla="*/ 115085 h 2729555"/>
                <a:gd name="connsiteX2220" fmla="*/ 58367 w 5631293"/>
                <a:gd name="connsiteY2220" fmla="*/ 115085 h 2729555"/>
                <a:gd name="connsiteX2221" fmla="*/ 58367 w 5631293"/>
                <a:gd name="connsiteY2221" fmla="*/ 109502 h 2729555"/>
                <a:gd name="connsiteX2222" fmla="*/ 59890 w 5631293"/>
                <a:gd name="connsiteY2222" fmla="*/ 110644 h 2729555"/>
                <a:gd name="connsiteX2223" fmla="*/ 54434 w 5631293"/>
                <a:gd name="connsiteY2223" fmla="*/ 110644 h 2729555"/>
                <a:gd name="connsiteX2224" fmla="*/ 54434 w 5631293"/>
                <a:gd name="connsiteY2224" fmla="*/ 95925 h 2729555"/>
                <a:gd name="connsiteX2225" fmla="*/ 55956 w 5631293"/>
                <a:gd name="connsiteY2225" fmla="*/ 97067 h 2729555"/>
                <a:gd name="connsiteX2226" fmla="*/ 48724 w 5631293"/>
                <a:gd name="connsiteY2226" fmla="*/ 97067 h 2729555"/>
                <a:gd name="connsiteX2227" fmla="*/ 48724 w 5631293"/>
                <a:gd name="connsiteY2227" fmla="*/ 91357 h 2729555"/>
                <a:gd name="connsiteX2228" fmla="*/ 50247 w 5631293"/>
                <a:gd name="connsiteY2228" fmla="*/ 92499 h 2729555"/>
                <a:gd name="connsiteX2229" fmla="*/ 46821 w 5631293"/>
                <a:gd name="connsiteY2229" fmla="*/ 92499 h 2729555"/>
                <a:gd name="connsiteX2230" fmla="*/ 46821 w 5631293"/>
                <a:gd name="connsiteY2230" fmla="*/ 86790 h 2729555"/>
                <a:gd name="connsiteX2231" fmla="*/ 48343 w 5631293"/>
                <a:gd name="connsiteY2231" fmla="*/ 87931 h 2729555"/>
                <a:gd name="connsiteX2232" fmla="*/ 44791 w 5631293"/>
                <a:gd name="connsiteY2232" fmla="*/ 87931 h 2729555"/>
                <a:gd name="connsiteX2233" fmla="*/ 44791 w 5631293"/>
                <a:gd name="connsiteY2233" fmla="*/ 82349 h 2729555"/>
                <a:gd name="connsiteX2234" fmla="*/ 46313 w 5631293"/>
                <a:gd name="connsiteY2234" fmla="*/ 83490 h 2729555"/>
                <a:gd name="connsiteX2235" fmla="*/ 42887 w 5631293"/>
                <a:gd name="connsiteY2235" fmla="*/ 83490 h 2729555"/>
                <a:gd name="connsiteX2236" fmla="*/ 42887 w 5631293"/>
                <a:gd name="connsiteY2236" fmla="*/ 77781 h 2729555"/>
                <a:gd name="connsiteX2237" fmla="*/ 44410 w 5631293"/>
                <a:gd name="connsiteY2237" fmla="*/ 78923 h 2729555"/>
                <a:gd name="connsiteX2238" fmla="*/ 42507 w 5631293"/>
                <a:gd name="connsiteY2238" fmla="*/ 78923 h 2729555"/>
                <a:gd name="connsiteX2239" fmla="*/ 37050 w 5631293"/>
                <a:gd name="connsiteY2239" fmla="*/ 78923 h 2729555"/>
                <a:gd name="connsiteX2240" fmla="*/ 37050 w 5631293"/>
                <a:gd name="connsiteY2240" fmla="*/ 73340 h 2729555"/>
                <a:gd name="connsiteX2241" fmla="*/ 38573 w 5631293"/>
                <a:gd name="connsiteY2241" fmla="*/ 74482 h 2729555"/>
                <a:gd name="connsiteX2242" fmla="*/ 35020 w 5631293"/>
                <a:gd name="connsiteY2242" fmla="*/ 74482 h 2729555"/>
                <a:gd name="connsiteX2243" fmla="*/ 35020 w 5631293"/>
                <a:gd name="connsiteY2243" fmla="*/ 68772 h 2729555"/>
                <a:gd name="connsiteX2244" fmla="*/ 36543 w 5631293"/>
                <a:gd name="connsiteY2244" fmla="*/ 69914 h 2729555"/>
                <a:gd name="connsiteX2245" fmla="*/ 33117 w 5631293"/>
                <a:gd name="connsiteY2245" fmla="*/ 69914 h 2729555"/>
                <a:gd name="connsiteX2246" fmla="*/ 33117 w 5631293"/>
                <a:gd name="connsiteY2246" fmla="*/ 50754 h 2729555"/>
                <a:gd name="connsiteX2247" fmla="*/ 34640 w 5631293"/>
                <a:gd name="connsiteY2247" fmla="*/ 51769 h 2729555"/>
                <a:gd name="connsiteX2248" fmla="*/ 27407 w 5631293"/>
                <a:gd name="connsiteY2248" fmla="*/ 51769 h 2729555"/>
                <a:gd name="connsiteX2249" fmla="*/ 27407 w 5631293"/>
                <a:gd name="connsiteY2249" fmla="*/ 41618 h 2729555"/>
                <a:gd name="connsiteX2250" fmla="*/ 28930 w 5631293"/>
                <a:gd name="connsiteY2250" fmla="*/ 42887 h 2729555"/>
                <a:gd name="connsiteX2251" fmla="*/ 25377 w 5631293"/>
                <a:gd name="connsiteY2251" fmla="*/ 42887 h 2729555"/>
                <a:gd name="connsiteX2252" fmla="*/ 25377 w 5631293"/>
                <a:gd name="connsiteY2252" fmla="*/ 37177 h 2729555"/>
                <a:gd name="connsiteX2253" fmla="*/ 26900 w 5631293"/>
                <a:gd name="connsiteY2253" fmla="*/ 38319 h 2729555"/>
                <a:gd name="connsiteX2254" fmla="*/ 23474 w 5631293"/>
                <a:gd name="connsiteY2254" fmla="*/ 38319 h 2729555"/>
                <a:gd name="connsiteX2255" fmla="*/ 23474 w 5631293"/>
                <a:gd name="connsiteY2255" fmla="*/ 32736 h 2729555"/>
                <a:gd name="connsiteX2256" fmla="*/ 24996 w 5631293"/>
                <a:gd name="connsiteY2256" fmla="*/ 33751 h 2729555"/>
                <a:gd name="connsiteX2257" fmla="*/ 21571 w 5631293"/>
                <a:gd name="connsiteY2257" fmla="*/ 33751 h 2729555"/>
                <a:gd name="connsiteX2258" fmla="*/ 21571 w 5631293"/>
                <a:gd name="connsiteY2258" fmla="*/ 28169 h 2729555"/>
                <a:gd name="connsiteX2259" fmla="*/ 23093 w 5631293"/>
                <a:gd name="connsiteY2259" fmla="*/ 29310 h 2729555"/>
                <a:gd name="connsiteX2260" fmla="*/ 17764 w 5631293"/>
                <a:gd name="connsiteY2260" fmla="*/ 29310 h 2729555"/>
                <a:gd name="connsiteX2261" fmla="*/ 17764 w 5631293"/>
                <a:gd name="connsiteY2261" fmla="*/ 23601 h 2729555"/>
                <a:gd name="connsiteX2262" fmla="*/ 19287 w 5631293"/>
                <a:gd name="connsiteY2262" fmla="*/ 24743 h 2729555"/>
                <a:gd name="connsiteX2263" fmla="*/ 13830 w 5631293"/>
                <a:gd name="connsiteY2263" fmla="*/ 24743 h 2729555"/>
                <a:gd name="connsiteX2264" fmla="*/ 13830 w 5631293"/>
                <a:gd name="connsiteY2264" fmla="*/ 19160 h 2729555"/>
                <a:gd name="connsiteX2265" fmla="*/ 15353 w 5631293"/>
                <a:gd name="connsiteY2265" fmla="*/ 20302 h 2729555"/>
                <a:gd name="connsiteX2266" fmla="*/ 11927 w 5631293"/>
                <a:gd name="connsiteY2266" fmla="*/ 20302 h 2729555"/>
                <a:gd name="connsiteX2267" fmla="*/ 11927 w 5631293"/>
                <a:gd name="connsiteY2267" fmla="*/ 10024 h 2729555"/>
                <a:gd name="connsiteX2268" fmla="*/ 13450 w 5631293"/>
                <a:gd name="connsiteY2268" fmla="*/ 11166 h 2729555"/>
                <a:gd name="connsiteX2269" fmla="*/ 4187 w 5631293"/>
                <a:gd name="connsiteY2269" fmla="*/ 11166 h 2729555"/>
                <a:gd name="connsiteX2270" fmla="*/ 4187 w 5631293"/>
                <a:gd name="connsiteY2270" fmla="*/ 5583 h 2729555"/>
                <a:gd name="connsiteX2271" fmla="*/ 5710 w 5631293"/>
                <a:gd name="connsiteY2271" fmla="*/ 6725 h 2729555"/>
                <a:gd name="connsiteX2272" fmla="*/ 381 w 5631293"/>
                <a:gd name="connsiteY2272" fmla="*/ 6725 h 2729555"/>
                <a:gd name="connsiteX2273" fmla="*/ 381 w 5631293"/>
                <a:gd name="connsiteY2273" fmla="*/ 1142 h 2729555"/>
                <a:gd name="connsiteX2274" fmla="*/ 1903 w 5631293"/>
                <a:gd name="connsiteY2274" fmla="*/ 2284 h 2729555"/>
                <a:gd name="connsiteX2275" fmla="*/ 0 w 5631293"/>
                <a:gd name="connsiteY2275" fmla="*/ 2284 h 2729555"/>
                <a:gd name="connsiteX2276" fmla="*/ 0 w 5631293"/>
                <a:gd name="connsiteY2276" fmla="*/ 0 h 272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</a:cxnLst>
              <a:rect l="l" t="t" r="r" b="b"/>
              <a:pathLst>
                <a:path w="5631293" h="2729555">
                  <a:moveTo>
                    <a:pt x="0" y="0"/>
                  </a:moveTo>
                  <a:lnTo>
                    <a:pt x="3426" y="0"/>
                  </a:lnTo>
                  <a:lnTo>
                    <a:pt x="3426" y="5583"/>
                  </a:lnTo>
                  <a:lnTo>
                    <a:pt x="1903" y="4441"/>
                  </a:lnTo>
                  <a:lnTo>
                    <a:pt x="7232" y="4441"/>
                  </a:lnTo>
                  <a:lnTo>
                    <a:pt x="7232" y="10024"/>
                  </a:lnTo>
                  <a:lnTo>
                    <a:pt x="5710" y="9009"/>
                  </a:lnTo>
                  <a:lnTo>
                    <a:pt x="14972" y="9009"/>
                  </a:lnTo>
                  <a:lnTo>
                    <a:pt x="14972" y="19160"/>
                  </a:lnTo>
                  <a:lnTo>
                    <a:pt x="13450" y="18018"/>
                  </a:lnTo>
                  <a:lnTo>
                    <a:pt x="16876" y="18018"/>
                  </a:lnTo>
                  <a:lnTo>
                    <a:pt x="16876" y="23601"/>
                  </a:lnTo>
                  <a:lnTo>
                    <a:pt x="15353" y="22459"/>
                  </a:lnTo>
                  <a:lnTo>
                    <a:pt x="20809" y="22459"/>
                  </a:lnTo>
                  <a:lnTo>
                    <a:pt x="20809" y="28169"/>
                  </a:lnTo>
                  <a:lnTo>
                    <a:pt x="19287" y="27027"/>
                  </a:lnTo>
                  <a:lnTo>
                    <a:pt x="24616" y="27027"/>
                  </a:lnTo>
                  <a:lnTo>
                    <a:pt x="24616" y="32736"/>
                  </a:lnTo>
                  <a:lnTo>
                    <a:pt x="23093" y="31594"/>
                  </a:lnTo>
                  <a:lnTo>
                    <a:pt x="26519" y="31594"/>
                  </a:lnTo>
                  <a:lnTo>
                    <a:pt x="26519" y="37177"/>
                  </a:lnTo>
                  <a:lnTo>
                    <a:pt x="24996" y="36035"/>
                  </a:lnTo>
                  <a:lnTo>
                    <a:pt x="28422" y="36035"/>
                  </a:lnTo>
                  <a:lnTo>
                    <a:pt x="28422" y="41618"/>
                  </a:lnTo>
                  <a:lnTo>
                    <a:pt x="26900" y="40476"/>
                  </a:lnTo>
                  <a:lnTo>
                    <a:pt x="30452" y="40476"/>
                  </a:lnTo>
                  <a:lnTo>
                    <a:pt x="30452" y="50754"/>
                  </a:lnTo>
                  <a:lnTo>
                    <a:pt x="28930" y="49612"/>
                  </a:lnTo>
                  <a:lnTo>
                    <a:pt x="36162" y="49612"/>
                  </a:lnTo>
                  <a:lnTo>
                    <a:pt x="36162" y="68772"/>
                  </a:lnTo>
                  <a:lnTo>
                    <a:pt x="34640" y="67757"/>
                  </a:lnTo>
                  <a:lnTo>
                    <a:pt x="38066" y="67757"/>
                  </a:lnTo>
                  <a:lnTo>
                    <a:pt x="38066" y="73340"/>
                  </a:lnTo>
                  <a:lnTo>
                    <a:pt x="36543" y="72198"/>
                  </a:lnTo>
                  <a:lnTo>
                    <a:pt x="40223" y="72198"/>
                  </a:lnTo>
                  <a:lnTo>
                    <a:pt x="40223" y="77781"/>
                  </a:lnTo>
                  <a:lnTo>
                    <a:pt x="38573" y="76639"/>
                  </a:lnTo>
                  <a:lnTo>
                    <a:pt x="42507" y="76639"/>
                  </a:lnTo>
                  <a:lnTo>
                    <a:pt x="45932" y="76639"/>
                  </a:lnTo>
                  <a:lnTo>
                    <a:pt x="45932" y="82349"/>
                  </a:lnTo>
                  <a:lnTo>
                    <a:pt x="44410" y="81207"/>
                  </a:lnTo>
                  <a:lnTo>
                    <a:pt x="47836" y="81207"/>
                  </a:lnTo>
                  <a:lnTo>
                    <a:pt x="47836" y="86790"/>
                  </a:lnTo>
                  <a:lnTo>
                    <a:pt x="46313" y="85774"/>
                  </a:lnTo>
                  <a:lnTo>
                    <a:pt x="49866" y="85774"/>
                  </a:lnTo>
                  <a:lnTo>
                    <a:pt x="49866" y="91357"/>
                  </a:lnTo>
                  <a:lnTo>
                    <a:pt x="48343" y="90342"/>
                  </a:lnTo>
                  <a:lnTo>
                    <a:pt x="51769" y="90342"/>
                  </a:lnTo>
                  <a:lnTo>
                    <a:pt x="51769" y="95925"/>
                  </a:lnTo>
                  <a:lnTo>
                    <a:pt x="50247" y="94783"/>
                  </a:lnTo>
                  <a:lnTo>
                    <a:pt x="57479" y="94783"/>
                  </a:lnTo>
                  <a:lnTo>
                    <a:pt x="57479" y="109502"/>
                  </a:lnTo>
                  <a:lnTo>
                    <a:pt x="55956" y="108360"/>
                  </a:lnTo>
                  <a:lnTo>
                    <a:pt x="61412" y="108360"/>
                  </a:lnTo>
                  <a:lnTo>
                    <a:pt x="61412" y="114070"/>
                  </a:lnTo>
                  <a:lnTo>
                    <a:pt x="59890" y="112928"/>
                  </a:lnTo>
                  <a:lnTo>
                    <a:pt x="65219" y="112928"/>
                  </a:lnTo>
                  <a:lnTo>
                    <a:pt x="65219" y="118638"/>
                  </a:lnTo>
                  <a:lnTo>
                    <a:pt x="63696" y="117496"/>
                  </a:lnTo>
                  <a:lnTo>
                    <a:pt x="67249" y="117496"/>
                  </a:lnTo>
                  <a:lnTo>
                    <a:pt x="67249" y="123079"/>
                  </a:lnTo>
                  <a:lnTo>
                    <a:pt x="65727" y="121937"/>
                  </a:lnTo>
                  <a:lnTo>
                    <a:pt x="69152" y="121937"/>
                  </a:lnTo>
                  <a:lnTo>
                    <a:pt x="69152" y="127520"/>
                  </a:lnTo>
                  <a:lnTo>
                    <a:pt x="67630" y="126378"/>
                  </a:lnTo>
                  <a:lnTo>
                    <a:pt x="69533" y="126378"/>
                  </a:lnTo>
                  <a:lnTo>
                    <a:pt x="84506" y="126378"/>
                  </a:lnTo>
                  <a:lnTo>
                    <a:pt x="84506" y="136655"/>
                  </a:lnTo>
                  <a:lnTo>
                    <a:pt x="82983" y="135640"/>
                  </a:lnTo>
                  <a:lnTo>
                    <a:pt x="96306" y="135640"/>
                  </a:lnTo>
                  <a:lnTo>
                    <a:pt x="96306" y="141223"/>
                  </a:lnTo>
                  <a:lnTo>
                    <a:pt x="94783" y="140081"/>
                  </a:lnTo>
                  <a:lnTo>
                    <a:pt x="98209" y="140081"/>
                  </a:lnTo>
                  <a:lnTo>
                    <a:pt x="98209" y="150232"/>
                  </a:lnTo>
                  <a:lnTo>
                    <a:pt x="96687" y="149090"/>
                  </a:lnTo>
                  <a:lnTo>
                    <a:pt x="100112" y="149090"/>
                  </a:lnTo>
                  <a:lnTo>
                    <a:pt x="100112" y="154800"/>
                  </a:lnTo>
                  <a:lnTo>
                    <a:pt x="98590" y="153658"/>
                  </a:lnTo>
                  <a:lnTo>
                    <a:pt x="102016" y="153658"/>
                  </a:lnTo>
                  <a:lnTo>
                    <a:pt x="102016" y="163936"/>
                  </a:lnTo>
                  <a:lnTo>
                    <a:pt x="100493" y="162794"/>
                  </a:lnTo>
                  <a:lnTo>
                    <a:pt x="103919" y="162794"/>
                  </a:lnTo>
                  <a:lnTo>
                    <a:pt x="103919" y="172945"/>
                  </a:lnTo>
                  <a:lnTo>
                    <a:pt x="102396" y="171803"/>
                  </a:lnTo>
                  <a:lnTo>
                    <a:pt x="111659" y="171803"/>
                  </a:lnTo>
                  <a:lnTo>
                    <a:pt x="111659" y="181953"/>
                  </a:lnTo>
                  <a:lnTo>
                    <a:pt x="110136" y="180938"/>
                  </a:lnTo>
                  <a:lnTo>
                    <a:pt x="113562" y="180938"/>
                  </a:lnTo>
                  <a:lnTo>
                    <a:pt x="113562" y="186521"/>
                  </a:lnTo>
                  <a:lnTo>
                    <a:pt x="112040" y="185506"/>
                  </a:lnTo>
                  <a:lnTo>
                    <a:pt x="115592" y="185506"/>
                  </a:lnTo>
                  <a:lnTo>
                    <a:pt x="115592" y="195657"/>
                  </a:lnTo>
                  <a:lnTo>
                    <a:pt x="114070" y="194515"/>
                  </a:lnTo>
                  <a:lnTo>
                    <a:pt x="117496" y="194515"/>
                  </a:lnTo>
                  <a:lnTo>
                    <a:pt x="117496" y="204666"/>
                  </a:lnTo>
                  <a:lnTo>
                    <a:pt x="115973" y="203524"/>
                  </a:lnTo>
                  <a:lnTo>
                    <a:pt x="117876" y="203524"/>
                  </a:lnTo>
                  <a:lnTo>
                    <a:pt x="123206" y="203524"/>
                  </a:lnTo>
                  <a:lnTo>
                    <a:pt x="123206" y="209234"/>
                  </a:lnTo>
                  <a:lnTo>
                    <a:pt x="121683" y="208092"/>
                  </a:lnTo>
                  <a:lnTo>
                    <a:pt x="127139" y="208092"/>
                  </a:lnTo>
                  <a:lnTo>
                    <a:pt x="127139" y="218370"/>
                  </a:lnTo>
                  <a:lnTo>
                    <a:pt x="125616" y="217228"/>
                  </a:lnTo>
                  <a:lnTo>
                    <a:pt x="129042" y="217228"/>
                  </a:lnTo>
                  <a:lnTo>
                    <a:pt x="129042" y="222937"/>
                  </a:lnTo>
                  <a:lnTo>
                    <a:pt x="127520" y="221795"/>
                  </a:lnTo>
                  <a:lnTo>
                    <a:pt x="129423" y="221795"/>
                  </a:lnTo>
                  <a:lnTo>
                    <a:pt x="132976" y="221795"/>
                  </a:lnTo>
                  <a:lnTo>
                    <a:pt x="132976" y="232073"/>
                  </a:lnTo>
                  <a:lnTo>
                    <a:pt x="131453" y="230931"/>
                  </a:lnTo>
                  <a:lnTo>
                    <a:pt x="134879" y="230931"/>
                  </a:lnTo>
                  <a:lnTo>
                    <a:pt x="134879" y="236641"/>
                  </a:lnTo>
                  <a:lnTo>
                    <a:pt x="133356" y="235499"/>
                  </a:lnTo>
                  <a:lnTo>
                    <a:pt x="136909" y="235499"/>
                  </a:lnTo>
                  <a:lnTo>
                    <a:pt x="136909" y="245650"/>
                  </a:lnTo>
                  <a:lnTo>
                    <a:pt x="135260" y="244508"/>
                  </a:lnTo>
                  <a:lnTo>
                    <a:pt x="138812" y="244508"/>
                  </a:lnTo>
                  <a:lnTo>
                    <a:pt x="138812" y="259353"/>
                  </a:lnTo>
                  <a:lnTo>
                    <a:pt x="137290" y="258338"/>
                  </a:lnTo>
                  <a:lnTo>
                    <a:pt x="140716" y="258338"/>
                  </a:lnTo>
                  <a:lnTo>
                    <a:pt x="140716" y="268616"/>
                  </a:lnTo>
                  <a:lnTo>
                    <a:pt x="139193" y="267474"/>
                  </a:lnTo>
                  <a:lnTo>
                    <a:pt x="142746" y="267474"/>
                  </a:lnTo>
                  <a:lnTo>
                    <a:pt x="142746" y="273184"/>
                  </a:lnTo>
                  <a:lnTo>
                    <a:pt x="141223" y="272042"/>
                  </a:lnTo>
                  <a:lnTo>
                    <a:pt x="144649" y="272042"/>
                  </a:lnTo>
                  <a:lnTo>
                    <a:pt x="144649" y="277752"/>
                  </a:lnTo>
                  <a:lnTo>
                    <a:pt x="143127" y="276610"/>
                  </a:lnTo>
                  <a:lnTo>
                    <a:pt x="146552" y="276610"/>
                  </a:lnTo>
                  <a:lnTo>
                    <a:pt x="146552" y="282320"/>
                  </a:lnTo>
                  <a:lnTo>
                    <a:pt x="145030" y="281178"/>
                  </a:lnTo>
                  <a:lnTo>
                    <a:pt x="148456" y="281178"/>
                  </a:lnTo>
                  <a:lnTo>
                    <a:pt x="148456" y="296023"/>
                  </a:lnTo>
                  <a:lnTo>
                    <a:pt x="146933" y="294881"/>
                  </a:lnTo>
                  <a:lnTo>
                    <a:pt x="150359" y="294881"/>
                  </a:lnTo>
                  <a:lnTo>
                    <a:pt x="150359" y="305159"/>
                  </a:lnTo>
                  <a:lnTo>
                    <a:pt x="148836" y="304017"/>
                  </a:lnTo>
                  <a:lnTo>
                    <a:pt x="152389" y="304017"/>
                  </a:lnTo>
                  <a:lnTo>
                    <a:pt x="152389" y="323557"/>
                  </a:lnTo>
                  <a:lnTo>
                    <a:pt x="150867" y="322415"/>
                  </a:lnTo>
                  <a:lnTo>
                    <a:pt x="154292" y="322415"/>
                  </a:lnTo>
                  <a:lnTo>
                    <a:pt x="154292" y="332693"/>
                  </a:lnTo>
                  <a:lnTo>
                    <a:pt x="152770" y="331551"/>
                  </a:lnTo>
                  <a:lnTo>
                    <a:pt x="156196" y="331551"/>
                  </a:lnTo>
                  <a:lnTo>
                    <a:pt x="156196" y="337261"/>
                  </a:lnTo>
                  <a:lnTo>
                    <a:pt x="154673" y="336119"/>
                  </a:lnTo>
                  <a:lnTo>
                    <a:pt x="158099" y="336119"/>
                  </a:lnTo>
                  <a:lnTo>
                    <a:pt x="158099" y="341829"/>
                  </a:lnTo>
                  <a:lnTo>
                    <a:pt x="156576" y="340687"/>
                  </a:lnTo>
                  <a:lnTo>
                    <a:pt x="160002" y="340687"/>
                  </a:lnTo>
                  <a:lnTo>
                    <a:pt x="160002" y="350965"/>
                  </a:lnTo>
                  <a:lnTo>
                    <a:pt x="158480" y="349950"/>
                  </a:lnTo>
                  <a:lnTo>
                    <a:pt x="162032" y="349950"/>
                  </a:lnTo>
                  <a:lnTo>
                    <a:pt x="162032" y="355532"/>
                  </a:lnTo>
                  <a:lnTo>
                    <a:pt x="160510" y="354517"/>
                  </a:lnTo>
                  <a:lnTo>
                    <a:pt x="163936" y="354517"/>
                  </a:lnTo>
                  <a:lnTo>
                    <a:pt x="163936" y="364795"/>
                  </a:lnTo>
                  <a:lnTo>
                    <a:pt x="162413" y="363653"/>
                  </a:lnTo>
                  <a:lnTo>
                    <a:pt x="165839" y="363653"/>
                  </a:lnTo>
                  <a:lnTo>
                    <a:pt x="165839" y="387761"/>
                  </a:lnTo>
                  <a:lnTo>
                    <a:pt x="164316" y="386619"/>
                  </a:lnTo>
                  <a:lnTo>
                    <a:pt x="167742" y="386619"/>
                  </a:lnTo>
                  <a:lnTo>
                    <a:pt x="167742" y="406160"/>
                  </a:lnTo>
                  <a:lnTo>
                    <a:pt x="166220" y="405018"/>
                  </a:lnTo>
                  <a:lnTo>
                    <a:pt x="169646" y="405018"/>
                  </a:lnTo>
                  <a:lnTo>
                    <a:pt x="169646" y="415295"/>
                  </a:lnTo>
                  <a:lnTo>
                    <a:pt x="168123" y="414153"/>
                  </a:lnTo>
                  <a:lnTo>
                    <a:pt x="171676" y="414153"/>
                  </a:lnTo>
                  <a:lnTo>
                    <a:pt x="171676" y="424558"/>
                  </a:lnTo>
                  <a:lnTo>
                    <a:pt x="170153" y="423416"/>
                  </a:lnTo>
                  <a:lnTo>
                    <a:pt x="173579" y="423416"/>
                  </a:lnTo>
                  <a:lnTo>
                    <a:pt x="173579" y="433694"/>
                  </a:lnTo>
                  <a:lnTo>
                    <a:pt x="172056" y="432552"/>
                  </a:lnTo>
                  <a:lnTo>
                    <a:pt x="175482" y="432552"/>
                  </a:lnTo>
                  <a:lnTo>
                    <a:pt x="175482" y="442956"/>
                  </a:lnTo>
                  <a:lnTo>
                    <a:pt x="173960" y="441814"/>
                  </a:lnTo>
                  <a:lnTo>
                    <a:pt x="177386" y="441814"/>
                  </a:lnTo>
                  <a:lnTo>
                    <a:pt x="177386" y="461355"/>
                  </a:lnTo>
                  <a:lnTo>
                    <a:pt x="175863" y="460213"/>
                  </a:lnTo>
                  <a:lnTo>
                    <a:pt x="179289" y="460213"/>
                  </a:lnTo>
                  <a:lnTo>
                    <a:pt x="179289" y="465923"/>
                  </a:lnTo>
                  <a:lnTo>
                    <a:pt x="177766" y="464781"/>
                  </a:lnTo>
                  <a:lnTo>
                    <a:pt x="183222" y="464781"/>
                  </a:lnTo>
                  <a:lnTo>
                    <a:pt x="183222" y="470491"/>
                  </a:lnTo>
                  <a:lnTo>
                    <a:pt x="181700" y="469475"/>
                  </a:lnTo>
                  <a:lnTo>
                    <a:pt x="185252" y="469475"/>
                  </a:lnTo>
                  <a:lnTo>
                    <a:pt x="185252" y="484321"/>
                  </a:lnTo>
                  <a:lnTo>
                    <a:pt x="183603" y="483179"/>
                  </a:lnTo>
                  <a:lnTo>
                    <a:pt x="189059" y="483179"/>
                  </a:lnTo>
                  <a:lnTo>
                    <a:pt x="189059" y="493457"/>
                  </a:lnTo>
                  <a:lnTo>
                    <a:pt x="187536" y="492442"/>
                  </a:lnTo>
                  <a:lnTo>
                    <a:pt x="191089" y="492442"/>
                  </a:lnTo>
                  <a:lnTo>
                    <a:pt x="191089" y="498152"/>
                  </a:lnTo>
                  <a:lnTo>
                    <a:pt x="189567" y="497010"/>
                  </a:lnTo>
                  <a:lnTo>
                    <a:pt x="192992" y="497010"/>
                  </a:lnTo>
                  <a:lnTo>
                    <a:pt x="192992" y="516550"/>
                  </a:lnTo>
                  <a:lnTo>
                    <a:pt x="191470" y="515408"/>
                  </a:lnTo>
                  <a:lnTo>
                    <a:pt x="194896" y="515408"/>
                  </a:lnTo>
                  <a:lnTo>
                    <a:pt x="194896" y="525812"/>
                  </a:lnTo>
                  <a:lnTo>
                    <a:pt x="193373" y="524670"/>
                  </a:lnTo>
                  <a:lnTo>
                    <a:pt x="196799" y="524670"/>
                  </a:lnTo>
                  <a:lnTo>
                    <a:pt x="196799" y="530380"/>
                  </a:lnTo>
                  <a:lnTo>
                    <a:pt x="195276" y="529238"/>
                  </a:lnTo>
                  <a:lnTo>
                    <a:pt x="198829" y="529238"/>
                  </a:lnTo>
                  <a:lnTo>
                    <a:pt x="198829" y="535075"/>
                  </a:lnTo>
                  <a:lnTo>
                    <a:pt x="197307" y="533933"/>
                  </a:lnTo>
                  <a:lnTo>
                    <a:pt x="200732" y="533933"/>
                  </a:lnTo>
                  <a:lnTo>
                    <a:pt x="200732" y="544338"/>
                  </a:lnTo>
                  <a:lnTo>
                    <a:pt x="199210" y="543196"/>
                  </a:lnTo>
                  <a:lnTo>
                    <a:pt x="204539" y="543196"/>
                  </a:lnTo>
                  <a:lnTo>
                    <a:pt x="204539" y="553600"/>
                  </a:lnTo>
                  <a:lnTo>
                    <a:pt x="203016" y="552458"/>
                  </a:lnTo>
                  <a:lnTo>
                    <a:pt x="206442" y="552458"/>
                  </a:lnTo>
                  <a:lnTo>
                    <a:pt x="206442" y="562863"/>
                  </a:lnTo>
                  <a:lnTo>
                    <a:pt x="204920" y="561721"/>
                  </a:lnTo>
                  <a:lnTo>
                    <a:pt x="208472" y="561721"/>
                  </a:lnTo>
                  <a:lnTo>
                    <a:pt x="208472" y="567431"/>
                  </a:lnTo>
                  <a:lnTo>
                    <a:pt x="206950" y="566289"/>
                  </a:lnTo>
                  <a:lnTo>
                    <a:pt x="210376" y="566289"/>
                  </a:lnTo>
                  <a:lnTo>
                    <a:pt x="210376" y="576693"/>
                  </a:lnTo>
                  <a:lnTo>
                    <a:pt x="208853" y="575552"/>
                  </a:lnTo>
                  <a:lnTo>
                    <a:pt x="212279" y="575552"/>
                  </a:lnTo>
                  <a:lnTo>
                    <a:pt x="212279" y="581261"/>
                  </a:lnTo>
                  <a:lnTo>
                    <a:pt x="210756" y="580119"/>
                  </a:lnTo>
                  <a:lnTo>
                    <a:pt x="214182" y="580119"/>
                  </a:lnTo>
                  <a:lnTo>
                    <a:pt x="214182" y="585956"/>
                  </a:lnTo>
                  <a:lnTo>
                    <a:pt x="212660" y="584814"/>
                  </a:lnTo>
                  <a:lnTo>
                    <a:pt x="218116" y="584814"/>
                  </a:lnTo>
                  <a:lnTo>
                    <a:pt x="218116" y="590524"/>
                  </a:lnTo>
                  <a:lnTo>
                    <a:pt x="216593" y="589382"/>
                  </a:lnTo>
                  <a:lnTo>
                    <a:pt x="220019" y="589382"/>
                  </a:lnTo>
                  <a:lnTo>
                    <a:pt x="220019" y="599787"/>
                  </a:lnTo>
                  <a:lnTo>
                    <a:pt x="218496" y="598645"/>
                  </a:lnTo>
                  <a:lnTo>
                    <a:pt x="223826" y="598645"/>
                  </a:lnTo>
                  <a:lnTo>
                    <a:pt x="223826" y="609049"/>
                  </a:lnTo>
                  <a:lnTo>
                    <a:pt x="222303" y="607907"/>
                  </a:lnTo>
                  <a:lnTo>
                    <a:pt x="225729" y="607907"/>
                  </a:lnTo>
                  <a:lnTo>
                    <a:pt x="225729" y="618312"/>
                  </a:lnTo>
                  <a:lnTo>
                    <a:pt x="224206" y="617297"/>
                  </a:lnTo>
                  <a:lnTo>
                    <a:pt x="226236" y="617297"/>
                  </a:lnTo>
                  <a:lnTo>
                    <a:pt x="231566" y="617297"/>
                  </a:lnTo>
                  <a:lnTo>
                    <a:pt x="231566" y="622880"/>
                  </a:lnTo>
                  <a:lnTo>
                    <a:pt x="230043" y="621865"/>
                  </a:lnTo>
                  <a:lnTo>
                    <a:pt x="233596" y="621865"/>
                  </a:lnTo>
                  <a:lnTo>
                    <a:pt x="233596" y="627574"/>
                  </a:lnTo>
                  <a:lnTo>
                    <a:pt x="231946" y="626432"/>
                  </a:lnTo>
                  <a:lnTo>
                    <a:pt x="235499" y="626432"/>
                  </a:lnTo>
                  <a:lnTo>
                    <a:pt x="235499" y="636837"/>
                  </a:lnTo>
                  <a:lnTo>
                    <a:pt x="233976" y="635695"/>
                  </a:lnTo>
                  <a:lnTo>
                    <a:pt x="237529" y="635695"/>
                  </a:lnTo>
                  <a:lnTo>
                    <a:pt x="237529" y="646227"/>
                  </a:lnTo>
                  <a:lnTo>
                    <a:pt x="236007" y="645085"/>
                  </a:lnTo>
                  <a:lnTo>
                    <a:pt x="239432" y="645085"/>
                  </a:lnTo>
                  <a:lnTo>
                    <a:pt x="239432" y="655489"/>
                  </a:lnTo>
                  <a:lnTo>
                    <a:pt x="237910" y="654347"/>
                  </a:lnTo>
                  <a:lnTo>
                    <a:pt x="241336" y="654347"/>
                  </a:lnTo>
                  <a:lnTo>
                    <a:pt x="241336" y="660184"/>
                  </a:lnTo>
                  <a:lnTo>
                    <a:pt x="239813" y="659042"/>
                  </a:lnTo>
                  <a:lnTo>
                    <a:pt x="243239" y="659042"/>
                  </a:lnTo>
                  <a:lnTo>
                    <a:pt x="243239" y="674268"/>
                  </a:lnTo>
                  <a:lnTo>
                    <a:pt x="241716" y="673126"/>
                  </a:lnTo>
                  <a:lnTo>
                    <a:pt x="245142" y="673126"/>
                  </a:lnTo>
                  <a:lnTo>
                    <a:pt x="245142" y="678836"/>
                  </a:lnTo>
                  <a:lnTo>
                    <a:pt x="243620" y="677694"/>
                  </a:lnTo>
                  <a:lnTo>
                    <a:pt x="247172" y="677694"/>
                  </a:lnTo>
                  <a:lnTo>
                    <a:pt x="247172" y="697615"/>
                  </a:lnTo>
                  <a:lnTo>
                    <a:pt x="245650" y="696473"/>
                  </a:lnTo>
                  <a:lnTo>
                    <a:pt x="249076" y="696473"/>
                  </a:lnTo>
                  <a:lnTo>
                    <a:pt x="249076" y="711573"/>
                  </a:lnTo>
                  <a:lnTo>
                    <a:pt x="247553" y="710431"/>
                  </a:lnTo>
                  <a:lnTo>
                    <a:pt x="250979" y="710431"/>
                  </a:lnTo>
                  <a:lnTo>
                    <a:pt x="250979" y="730352"/>
                  </a:lnTo>
                  <a:lnTo>
                    <a:pt x="249456" y="729210"/>
                  </a:lnTo>
                  <a:lnTo>
                    <a:pt x="252882" y="729210"/>
                  </a:lnTo>
                  <a:lnTo>
                    <a:pt x="252882" y="735046"/>
                  </a:lnTo>
                  <a:lnTo>
                    <a:pt x="251360" y="733904"/>
                  </a:lnTo>
                  <a:lnTo>
                    <a:pt x="254786" y="733904"/>
                  </a:lnTo>
                  <a:lnTo>
                    <a:pt x="254786" y="753698"/>
                  </a:lnTo>
                  <a:lnTo>
                    <a:pt x="253263" y="752556"/>
                  </a:lnTo>
                  <a:lnTo>
                    <a:pt x="258719" y="752556"/>
                  </a:lnTo>
                  <a:lnTo>
                    <a:pt x="258719" y="772351"/>
                  </a:lnTo>
                  <a:lnTo>
                    <a:pt x="257196" y="771209"/>
                  </a:lnTo>
                  <a:lnTo>
                    <a:pt x="260622" y="771209"/>
                  </a:lnTo>
                  <a:lnTo>
                    <a:pt x="260622" y="781740"/>
                  </a:lnTo>
                  <a:lnTo>
                    <a:pt x="259100" y="780598"/>
                  </a:lnTo>
                  <a:lnTo>
                    <a:pt x="262526" y="780598"/>
                  </a:lnTo>
                  <a:lnTo>
                    <a:pt x="262526" y="791130"/>
                  </a:lnTo>
                  <a:lnTo>
                    <a:pt x="261003" y="789988"/>
                  </a:lnTo>
                  <a:lnTo>
                    <a:pt x="264556" y="789988"/>
                  </a:lnTo>
                  <a:lnTo>
                    <a:pt x="264556" y="805087"/>
                  </a:lnTo>
                  <a:lnTo>
                    <a:pt x="263033" y="803945"/>
                  </a:lnTo>
                  <a:lnTo>
                    <a:pt x="266459" y="803945"/>
                  </a:lnTo>
                  <a:lnTo>
                    <a:pt x="266459" y="809782"/>
                  </a:lnTo>
                  <a:lnTo>
                    <a:pt x="264936" y="808640"/>
                  </a:lnTo>
                  <a:lnTo>
                    <a:pt x="268362" y="808640"/>
                  </a:lnTo>
                  <a:lnTo>
                    <a:pt x="268362" y="823866"/>
                  </a:lnTo>
                  <a:lnTo>
                    <a:pt x="266840" y="822724"/>
                  </a:lnTo>
                  <a:lnTo>
                    <a:pt x="270266" y="822724"/>
                  </a:lnTo>
                  <a:lnTo>
                    <a:pt x="270266" y="833255"/>
                  </a:lnTo>
                  <a:lnTo>
                    <a:pt x="268743" y="832113"/>
                  </a:lnTo>
                  <a:lnTo>
                    <a:pt x="272169" y="832113"/>
                  </a:lnTo>
                  <a:lnTo>
                    <a:pt x="272169" y="837950"/>
                  </a:lnTo>
                  <a:lnTo>
                    <a:pt x="270646" y="836808"/>
                  </a:lnTo>
                  <a:lnTo>
                    <a:pt x="274199" y="836808"/>
                  </a:lnTo>
                  <a:lnTo>
                    <a:pt x="274199" y="842518"/>
                  </a:lnTo>
                  <a:lnTo>
                    <a:pt x="272676" y="841503"/>
                  </a:lnTo>
                  <a:lnTo>
                    <a:pt x="276102" y="841503"/>
                  </a:lnTo>
                  <a:lnTo>
                    <a:pt x="276102" y="847340"/>
                  </a:lnTo>
                  <a:lnTo>
                    <a:pt x="274580" y="846198"/>
                  </a:lnTo>
                  <a:lnTo>
                    <a:pt x="278006" y="846198"/>
                  </a:lnTo>
                  <a:lnTo>
                    <a:pt x="278006" y="856729"/>
                  </a:lnTo>
                  <a:lnTo>
                    <a:pt x="276483" y="855587"/>
                  </a:lnTo>
                  <a:lnTo>
                    <a:pt x="281939" y="855587"/>
                  </a:lnTo>
                  <a:lnTo>
                    <a:pt x="281939" y="861297"/>
                  </a:lnTo>
                  <a:lnTo>
                    <a:pt x="280290" y="860282"/>
                  </a:lnTo>
                  <a:lnTo>
                    <a:pt x="285872" y="860282"/>
                  </a:lnTo>
                  <a:lnTo>
                    <a:pt x="285872" y="870687"/>
                  </a:lnTo>
                  <a:lnTo>
                    <a:pt x="284350" y="869545"/>
                  </a:lnTo>
                  <a:lnTo>
                    <a:pt x="287776" y="869545"/>
                  </a:lnTo>
                  <a:lnTo>
                    <a:pt x="287776" y="884771"/>
                  </a:lnTo>
                  <a:lnTo>
                    <a:pt x="286253" y="883629"/>
                  </a:lnTo>
                  <a:lnTo>
                    <a:pt x="289679" y="883629"/>
                  </a:lnTo>
                  <a:lnTo>
                    <a:pt x="289679" y="889466"/>
                  </a:lnTo>
                  <a:lnTo>
                    <a:pt x="288156" y="888324"/>
                  </a:lnTo>
                  <a:lnTo>
                    <a:pt x="292090" y="888324"/>
                  </a:lnTo>
                  <a:lnTo>
                    <a:pt x="295516" y="888324"/>
                  </a:lnTo>
                  <a:lnTo>
                    <a:pt x="295516" y="898855"/>
                  </a:lnTo>
                  <a:lnTo>
                    <a:pt x="293993" y="897713"/>
                  </a:lnTo>
                  <a:lnTo>
                    <a:pt x="297419" y="897713"/>
                  </a:lnTo>
                  <a:lnTo>
                    <a:pt x="297419" y="903550"/>
                  </a:lnTo>
                  <a:lnTo>
                    <a:pt x="295896" y="902408"/>
                  </a:lnTo>
                  <a:lnTo>
                    <a:pt x="299322" y="902408"/>
                  </a:lnTo>
                  <a:lnTo>
                    <a:pt x="299322" y="908245"/>
                  </a:lnTo>
                  <a:lnTo>
                    <a:pt x="297800" y="907103"/>
                  </a:lnTo>
                  <a:lnTo>
                    <a:pt x="301226" y="907103"/>
                  </a:lnTo>
                  <a:lnTo>
                    <a:pt x="301226" y="912939"/>
                  </a:lnTo>
                  <a:lnTo>
                    <a:pt x="299703" y="911797"/>
                  </a:lnTo>
                  <a:lnTo>
                    <a:pt x="303256" y="911797"/>
                  </a:lnTo>
                  <a:lnTo>
                    <a:pt x="303256" y="917634"/>
                  </a:lnTo>
                  <a:lnTo>
                    <a:pt x="301733" y="916492"/>
                  </a:lnTo>
                  <a:lnTo>
                    <a:pt x="308966" y="916492"/>
                  </a:lnTo>
                  <a:lnTo>
                    <a:pt x="308966" y="936413"/>
                  </a:lnTo>
                  <a:lnTo>
                    <a:pt x="307443" y="935271"/>
                  </a:lnTo>
                  <a:lnTo>
                    <a:pt x="310869" y="935271"/>
                  </a:lnTo>
                  <a:lnTo>
                    <a:pt x="310869" y="945803"/>
                  </a:lnTo>
                  <a:lnTo>
                    <a:pt x="309346" y="944788"/>
                  </a:lnTo>
                  <a:lnTo>
                    <a:pt x="312899" y="944788"/>
                  </a:lnTo>
                  <a:lnTo>
                    <a:pt x="312899" y="955319"/>
                  </a:lnTo>
                  <a:lnTo>
                    <a:pt x="311376" y="954177"/>
                  </a:lnTo>
                  <a:lnTo>
                    <a:pt x="314802" y="954177"/>
                  </a:lnTo>
                  <a:lnTo>
                    <a:pt x="314802" y="969403"/>
                  </a:lnTo>
                  <a:lnTo>
                    <a:pt x="313280" y="968261"/>
                  </a:lnTo>
                  <a:lnTo>
                    <a:pt x="316706" y="968261"/>
                  </a:lnTo>
                  <a:lnTo>
                    <a:pt x="316706" y="974098"/>
                  </a:lnTo>
                  <a:lnTo>
                    <a:pt x="315183" y="973083"/>
                  </a:lnTo>
                  <a:lnTo>
                    <a:pt x="318609" y="973083"/>
                  </a:lnTo>
                  <a:lnTo>
                    <a:pt x="318609" y="993004"/>
                  </a:lnTo>
                  <a:lnTo>
                    <a:pt x="317086" y="991862"/>
                  </a:lnTo>
                  <a:lnTo>
                    <a:pt x="320512" y="991862"/>
                  </a:lnTo>
                  <a:lnTo>
                    <a:pt x="320512" y="1007215"/>
                  </a:lnTo>
                  <a:lnTo>
                    <a:pt x="318990" y="1006073"/>
                  </a:lnTo>
                  <a:lnTo>
                    <a:pt x="322542" y="1006073"/>
                  </a:lnTo>
                  <a:lnTo>
                    <a:pt x="322542" y="1011910"/>
                  </a:lnTo>
                  <a:lnTo>
                    <a:pt x="321020" y="1010768"/>
                  </a:lnTo>
                  <a:lnTo>
                    <a:pt x="324446" y="1010768"/>
                  </a:lnTo>
                  <a:lnTo>
                    <a:pt x="324446" y="1021426"/>
                  </a:lnTo>
                  <a:lnTo>
                    <a:pt x="322923" y="1020284"/>
                  </a:lnTo>
                  <a:lnTo>
                    <a:pt x="326349" y="1020284"/>
                  </a:lnTo>
                  <a:lnTo>
                    <a:pt x="326349" y="1030816"/>
                  </a:lnTo>
                  <a:lnTo>
                    <a:pt x="324826" y="1029674"/>
                  </a:lnTo>
                  <a:lnTo>
                    <a:pt x="328252" y="1029674"/>
                  </a:lnTo>
                  <a:lnTo>
                    <a:pt x="328252" y="1063933"/>
                  </a:lnTo>
                  <a:lnTo>
                    <a:pt x="326730" y="1062791"/>
                  </a:lnTo>
                  <a:lnTo>
                    <a:pt x="330409" y="1062791"/>
                  </a:lnTo>
                  <a:lnTo>
                    <a:pt x="330409" y="1073449"/>
                  </a:lnTo>
                  <a:lnTo>
                    <a:pt x="328760" y="1072307"/>
                  </a:lnTo>
                  <a:lnTo>
                    <a:pt x="332312" y="1072307"/>
                  </a:lnTo>
                  <a:lnTo>
                    <a:pt x="332312" y="1078017"/>
                  </a:lnTo>
                  <a:lnTo>
                    <a:pt x="330790" y="1077002"/>
                  </a:lnTo>
                  <a:lnTo>
                    <a:pt x="334216" y="1077002"/>
                  </a:lnTo>
                  <a:lnTo>
                    <a:pt x="334216" y="1082839"/>
                  </a:lnTo>
                  <a:lnTo>
                    <a:pt x="332693" y="1081697"/>
                  </a:lnTo>
                  <a:lnTo>
                    <a:pt x="338022" y="1081697"/>
                  </a:lnTo>
                  <a:lnTo>
                    <a:pt x="338022" y="1087660"/>
                  </a:lnTo>
                  <a:lnTo>
                    <a:pt x="336500" y="1086518"/>
                  </a:lnTo>
                  <a:lnTo>
                    <a:pt x="340052" y="1086518"/>
                  </a:lnTo>
                  <a:lnTo>
                    <a:pt x="340052" y="1092228"/>
                  </a:lnTo>
                  <a:lnTo>
                    <a:pt x="338530" y="1091213"/>
                  </a:lnTo>
                  <a:lnTo>
                    <a:pt x="341956" y="1091213"/>
                  </a:lnTo>
                  <a:lnTo>
                    <a:pt x="341956" y="1097050"/>
                  </a:lnTo>
                  <a:lnTo>
                    <a:pt x="340433" y="1095908"/>
                  </a:lnTo>
                  <a:lnTo>
                    <a:pt x="343859" y="1095908"/>
                  </a:lnTo>
                  <a:lnTo>
                    <a:pt x="343859" y="1101745"/>
                  </a:lnTo>
                  <a:lnTo>
                    <a:pt x="342336" y="1100603"/>
                  </a:lnTo>
                  <a:lnTo>
                    <a:pt x="345762" y="1100603"/>
                  </a:lnTo>
                  <a:lnTo>
                    <a:pt x="345762" y="1106439"/>
                  </a:lnTo>
                  <a:lnTo>
                    <a:pt x="344240" y="1105297"/>
                  </a:lnTo>
                  <a:lnTo>
                    <a:pt x="347666" y="1105297"/>
                  </a:lnTo>
                  <a:lnTo>
                    <a:pt x="347666" y="1115956"/>
                  </a:lnTo>
                  <a:lnTo>
                    <a:pt x="346143" y="1114814"/>
                  </a:lnTo>
                  <a:lnTo>
                    <a:pt x="349696" y="1114814"/>
                  </a:lnTo>
                  <a:lnTo>
                    <a:pt x="349696" y="1120651"/>
                  </a:lnTo>
                  <a:lnTo>
                    <a:pt x="348173" y="1119509"/>
                  </a:lnTo>
                  <a:lnTo>
                    <a:pt x="351599" y="1119509"/>
                  </a:lnTo>
                  <a:lnTo>
                    <a:pt x="351599" y="1125472"/>
                  </a:lnTo>
                  <a:lnTo>
                    <a:pt x="350076" y="1124330"/>
                  </a:lnTo>
                  <a:lnTo>
                    <a:pt x="353502" y="1124330"/>
                  </a:lnTo>
                  <a:lnTo>
                    <a:pt x="353502" y="1130167"/>
                  </a:lnTo>
                  <a:lnTo>
                    <a:pt x="351980" y="1129025"/>
                  </a:lnTo>
                  <a:lnTo>
                    <a:pt x="357309" y="1129025"/>
                  </a:lnTo>
                  <a:lnTo>
                    <a:pt x="357309" y="1139683"/>
                  </a:lnTo>
                  <a:lnTo>
                    <a:pt x="355786" y="1138541"/>
                  </a:lnTo>
                  <a:lnTo>
                    <a:pt x="359339" y="1138541"/>
                  </a:lnTo>
                  <a:lnTo>
                    <a:pt x="359339" y="1168106"/>
                  </a:lnTo>
                  <a:lnTo>
                    <a:pt x="357816" y="1166964"/>
                  </a:lnTo>
                  <a:lnTo>
                    <a:pt x="361242" y="1166964"/>
                  </a:lnTo>
                  <a:lnTo>
                    <a:pt x="361242" y="1172800"/>
                  </a:lnTo>
                  <a:lnTo>
                    <a:pt x="359720" y="1171785"/>
                  </a:lnTo>
                  <a:lnTo>
                    <a:pt x="365049" y="1171785"/>
                  </a:lnTo>
                  <a:lnTo>
                    <a:pt x="365049" y="1177622"/>
                  </a:lnTo>
                  <a:lnTo>
                    <a:pt x="363526" y="1176480"/>
                  </a:lnTo>
                  <a:lnTo>
                    <a:pt x="366952" y="1176480"/>
                  </a:lnTo>
                  <a:lnTo>
                    <a:pt x="366952" y="1187012"/>
                  </a:lnTo>
                  <a:lnTo>
                    <a:pt x="365430" y="1185870"/>
                  </a:lnTo>
                  <a:lnTo>
                    <a:pt x="368982" y="1185870"/>
                  </a:lnTo>
                  <a:lnTo>
                    <a:pt x="368982" y="1201350"/>
                  </a:lnTo>
                  <a:lnTo>
                    <a:pt x="367460" y="1200208"/>
                  </a:lnTo>
                  <a:lnTo>
                    <a:pt x="370886" y="1200208"/>
                  </a:lnTo>
                  <a:lnTo>
                    <a:pt x="370886" y="1210739"/>
                  </a:lnTo>
                  <a:lnTo>
                    <a:pt x="369363" y="1209597"/>
                  </a:lnTo>
                  <a:lnTo>
                    <a:pt x="372789" y="1209597"/>
                  </a:lnTo>
                  <a:lnTo>
                    <a:pt x="372789" y="1220255"/>
                  </a:lnTo>
                  <a:lnTo>
                    <a:pt x="371266" y="1219114"/>
                  </a:lnTo>
                  <a:lnTo>
                    <a:pt x="374692" y="1219114"/>
                  </a:lnTo>
                  <a:lnTo>
                    <a:pt x="374692" y="1234467"/>
                  </a:lnTo>
                  <a:lnTo>
                    <a:pt x="373170" y="1233325"/>
                  </a:lnTo>
                  <a:lnTo>
                    <a:pt x="376595" y="1233325"/>
                  </a:lnTo>
                  <a:lnTo>
                    <a:pt x="376595" y="1243983"/>
                  </a:lnTo>
                  <a:lnTo>
                    <a:pt x="375073" y="1242841"/>
                  </a:lnTo>
                  <a:lnTo>
                    <a:pt x="378752" y="1242841"/>
                  </a:lnTo>
                  <a:lnTo>
                    <a:pt x="378752" y="1253499"/>
                  </a:lnTo>
                  <a:lnTo>
                    <a:pt x="377103" y="1252357"/>
                  </a:lnTo>
                  <a:lnTo>
                    <a:pt x="380656" y="1252357"/>
                  </a:lnTo>
                  <a:lnTo>
                    <a:pt x="380656" y="1263016"/>
                  </a:lnTo>
                  <a:lnTo>
                    <a:pt x="379133" y="1261874"/>
                  </a:lnTo>
                  <a:lnTo>
                    <a:pt x="382559" y="1261874"/>
                  </a:lnTo>
                  <a:lnTo>
                    <a:pt x="382559" y="1272405"/>
                  </a:lnTo>
                  <a:lnTo>
                    <a:pt x="381036" y="1271263"/>
                  </a:lnTo>
                  <a:lnTo>
                    <a:pt x="384462" y="1271263"/>
                  </a:lnTo>
                  <a:lnTo>
                    <a:pt x="384462" y="1281922"/>
                  </a:lnTo>
                  <a:lnTo>
                    <a:pt x="382940" y="1280780"/>
                  </a:lnTo>
                  <a:lnTo>
                    <a:pt x="386366" y="1280780"/>
                  </a:lnTo>
                  <a:lnTo>
                    <a:pt x="386366" y="1286616"/>
                  </a:lnTo>
                  <a:lnTo>
                    <a:pt x="384843" y="1285474"/>
                  </a:lnTo>
                  <a:lnTo>
                    <a:pt x="388396" y="1285474"/>
                  </a:lnTo>
                  <a:lnTo>
                    <a:pt x="388396" y="1305649"/>
                  </a:lnTo>
                  <a:lnTo>
                    <a:pt x="386873" y="1304507"/>
                  </a:lnTo>
                  <a:lnTo>
                    <a:pt x="390299" y="1304507"/>
                  </a:lnTo>
                  <a:lnTo>
                    <a:pt x="390299" y="1315039"/>
                  </a:lnTo>
                  <a:lnTo>
                    <a:pt x="388776" y="1313897"/>
                  </a:lnTo>
                  <a:lnTo>
                    <a:pt x="392202" y="1313897"/>
                  </a:lnTo>
                  <a:lnTo>
                    <a:pt x="392202" y="1319860"/>
                  </a:lnTo>
                  <a:lnTo>
                    <a:pt x="390680" y="1318718"/>
                  </a:lnTo>
                  <a:lnTo>
                    <a:pt x="396136" y="1318718"/>
                  </a:lnTo>
                  <a:lnTo>
                    <a:pt x="396136" y="1324555"/>
                  </a:lnTo>
                  <a:lnTo>
                    <a:pt x="394613" y="1323540"/>
                  </a:lnTo>
                  <a:lnTo>
                    <a:pt x="396516" y="1323540"/>
                  </a:lnTo>
                  <a:lnTo>
                    <a:pt x="399942" y="1323540"/>
                  </a:lnTo>
                  <a:lnTo>
                    <a:pt x="399942" y="1334072"/>
                  </a:lnTo>
                  <a:lnTo>
                    <a:pt x="398420" y="1333056"/>
                  </a:lnTo>
                  <a:lnTo>
                    <a:pt x="401846" y="1333056"/>
                  </a:lnTo>
                  <a:lnTo>
                    <a:pt x="401846" y="1348283"/>
                  </a:lnTo>
                  <a:lnTo>
                    <a:pt x="400323" y="1347141"/>
                  </a:lnTo>
                  <a:lnTo>
                    <a:pt x="403749" y="1347141"/>
                  </a:lnTo>
                  <a:lnTo>
                    <a:pt x="403749" y="1353104"/>
                  </a:lnTo>
                  <a:lnTo>
                    <a:pt x="402226" y="1351962"/>
                  </a:lnTo>
                  <a:lnTo>
                    <a:pt x="407682" y="1351962"/>
                  </a:lnTo>
                  <a:lnTo>
                    <a:pt x="407682" y="1372137"/>
                  </a:lnTo>
                  <a:lnTo>
                    <a:pt x="406160" y="1370995"/>
                  </a:lnTo>
                  <a:lnTo>
                    <a:pt x="409586" y="1370995"/>
                  </a:lnTo>
                  <a:lnTo>
                    <a:pt x="409586" y="1376832"/>
                  </a:lnTo>
                  <a:lnTo>
                    <a:pt x="408063" y="1375817"/>
                  </a:lnTo>
                  <a:lnTo>
                    <a:pt x="411489" y="1375817"/>
                  </a:lnTo>
                  <a:lnTo>
                    <a:pt x="411489" y="1386475"/>
                  </a:lnTo>
                  <a:lnTo>
                    <a:pt x="409966" y="1385333"/>
                  </a:lnTo>
                  <a:lnTo>
                    <a:pt x="417326" y="1385333"/>
                  </a:lnTo>
                  <a:lnTo>
                    <a:pt x="417326" y="1391170"/>
                  </a:lnTo>
                  <a:lnTo>
                    <a:pt x="415803" y="1390028"/>
                  </a:lnTo>
                  <a:lnTo>
                    <a:pt x="419229" y="1390028"/>
                  </a:lnTo>
                  <a:lnTo>
                    <a:pt x="419229" y="1400686"/>
                  </a:lnTo>
                  <a:lnTo>
                    <a:pt x="417706" y="1399544"/>
                  </a:lnTo>
                  <a:lnTo>
                    <a:pt x="423035" y="1399544"/>
                  </a:lnTo>
                  <a:lnTo>
                    <a:pt x="423035" y="1405508"/>
                  </a:lnTo>
                  <a:lnTo>
                    <a:pt x="421513" y="1404366"/>
                  </a:lnTo>
                  <a:lnTo>
                    <a:pt x="428999" y="1404366"/>
                  </a:lnTo>
                  <a:lnTo>
                    <a:pt x="428999" y="1410203"/>
                  </a:lnTo>
                  <a:lnTo>
                    <a:pt x="427476" y="1409061"/>
                  </a:lnTo>
                  <a:lnTo>
                    <a:pt x="430902" y="1409061"/>
                  </a:lnTo>
                  <a:lnTo>
                    <a:pt x="430902" y="1415024"/>
                  </a:lnTo>
                  <a:lnTo>
                    <a:pt x="429380" y="1414009"/>
                  </a:lnTo>
                  <a:lnTo>
                    <a:pt x="434836" y="1414009"/>
                  </a:lnTo>
                  <a:lnTo>
                    <a:pt x="434836" y="1419846"/>
                  </a:lnTo>
                  <a:lnTo>
                    <a:pt x="433313" y="1418704"/>
                  </a:lnTo>
                  <a:lnTo>
                    <a:pt x="436739" y="1418704"/>
                  </a:lnTo>
                  <a:lnTo>
                    <a:pt x="436739" y="1424668"/>
                  </a:lnTo>
                  <a:lnTo>
                    <a:pt x="435216" y="1423526"/>
                  </a:lnTo>
                  <a:lnTo>
                    <a:pt x="438642" y="1423526"/>
                  </a:lnTo>
                  <a:lnTo>
                    <a:pt x="438642" y="1443700"/>
                  </a:lnTo>
                  <a:lnTo>
                    <a:pt x="437120" y="1442558"/>
                  </a:lnTo>
                  <a:lnTo>
                    <a:pt x="440546" y="1442558"/>
                  </a:lnTo>
                  <a:lnTo>
                    <a:pt x="440546" y="1453217"/>
                  </a:lnTo>
                  <a:lnTo>
                    <a:pt x="439023" y="1452075"/>
                  </a:lnTo>
                  <a:lnTo>
                    <a:pt x="442449" y="1452075"/>
                  </a:lnTo>
                  <a:lnTo>
                    <a:pt x="442449" y="1457912"/>
                  </a:lnTo>
                  <a:lnTo>
                    <a:pt x="440926" y="1456770"/>
                  </a:lnTo>
                  <a:lnTo>
                    <a:pt x="450189" y="1456770"/>
                  </a:lnTo>
                  <a:lnTo>
                    <a:pt x="450189" y="1462733"/>
                  </a:lnTo>
                  <a:lnTo>
                    <a:pt x="448666" y="1461591"/>
                  </a:lnTo>
                  <a:lnTo>
                    <a:pt x="452092" y="1461591"/>
                  </a:lnTo>
                  <a:lnTo>
                    <a:pt x="452092" y="1472250"/>
                  </a:lnTo>
                  <a:lnTo>
                    <a:pt x="450570" y="1471108"/>
                  </a:lnTo>
                  <a:lnTo>
                    <a:pt x="456026" y="1471108"/>
                  </a:lnTo>
                  <a:lnTo>
                    <a:pt x="456026" y="1477071"/>
                  </a:lnTo>
                  <a:lnTo>
                    <a:pt x="454503" y="1475929"/>
                  </a:lnTo>
                  <a:lnTo>
                    <a:pt x="457929" y="1475929"/>
                  </a:lnTo>
                  <a:lnTo>
                    <a:pt x="457929" y="1486588"/>
                  </a:lnTo>
                  <a:lnTo>
                    <a:pt x="456406" y="1485446"/>
                  </a:lnTo>
                  <a:lnTo>
                    <a:pt x="465669" y="1485446"/>
                  </a:lnTo>
                  <a:lnTo>
                    <a:pt x="465669" y="1496104"/>
                  </a:lnTo>
                  <a:lnTo>
                    <a:pt x="464146" y="1494962"/>
                  </a:lnTo>
                  <a:lnTo>
                    <a:pt x="467572" y="1494962"/>
                  </a:lnTo>
                  <a:lnTo>
                    <a:pt x="467572" y="1500926"/>
                  </a:lnTo>
                  <a:lnTo>
                    <a:pt x="466050" y="1499784"/>
                  </a:lnTo>
                  <a:lnTo>
                    <a:pt x="469475" y="1499784"/>
                  </a:lnTo>
                  <a:lnTo>
                    <a:pt x="469475" y="1515137"/>
                  </a:lnTo>
                  <a:lnTo>
                    <a:pt x="467953" y="1514122"/>
                  </a:lnTo>
                  <a:lnTo>
                    <a:pt x="471506" y="1514122"/>
                  </a:lnTo>
                  <a:lnTo>
                    <a:pt x="471506" y="1519958"/>
                  </a:lnTo>
                  <a:lnTo>
                    <a:pt x="469983" y="1518816"/>
                  </a:lnTo>
                  <a:lnTo>
                    <a:pt x="473409" y="1518816"/>
                  </a:lnTo>
                  <a:lnTo>
                    <a:pt x="473409" y="1529475"/>
                  </a:lnTo>
                  <a:lnTo>
                    <a:pt x="471886" y="1528333"/>
                  </a:lnTo>
                  <a:lnTo>
                    <a:pt x="475439" y="1528333"/>
                  </a:lnTo>
                  <a:lnTo>
                    <a:pt x="475439" y="1534296"/>
                  </a:lnTo>
                  <a:lnTo>
                    <a:pt x="473916" y="1533155"/>
                  </a:lnTo>
                  <a:lnTo>
                    <a:pt x="477342" y="1533155"/>
                  </a:lnTo>
                  <a:lnTo>
                    <a:pt x="477342" y="1543813"/>
                  </a:lnTo>
                  <a:lnTo>
                    <a:pt x="475820" y="1542798"/>
                  </a:lnTo>
                  <a:lnTo>
                    <a:pt x="479246" y="1542798"/>
                  </a:lnTo>
                  <a:lnTo>
                    <a:pt x="479246" y="1562846"/>
                  </a:lnTo>
                  <a:lnTo>
                    <a:pt x="477723" y="1561831"/>
                  </a:lnTo>
                  <a:lnTo>
                    <a:pt x="481276" y="1561831"/>
                  </a:lnTo>
                  <a:lnTo>
                    <a:pt x="481276" y="1567667"/>
                  </a:lnTo>
                  <a:lnTo>
                    <a:pt x="479753" y="1566525"/>
                  </a:lnTo>
                  <a:lnTo>
                    <a:pt x="483179" y="1566525"/>
                  </a:lnTo>
                  <a:lnTo>
                    <a:pt x="483179" y="1572489"/>
                  </a:lnTo>
                  <a:lnTo>
                    <a:pt x="481656" y="1571347"/>
                  </a:lnTo>
                  <a:lnTo>
                    <a:pt x="485082" y="1571347"/>
                  </a:lnTo>
                  <a:lnTo>
                    <a:pt x="485082" y="1582005"/>
                  </a:lnTo>
                  <a:lnTo>
                    <a:pt x="483560" y="1580990"/>
                  </a:lnTo>
                  <a:lnTo>
                    <a:pt x="486986" y="1580990"/>
                  </a:lnTo>
                  <a:lnTo>
                    <a:pt x="486986" y="1586827"/>
                  </a:lnTo>
                  <a:lnTo>
                    <a:pt x="485463" y="1585685"/>
                  </a:lnTo>
                  <a:lnTo>
                    <a:pt x="488889" y="1585685"/>
                  </a:lnTo>
                  <a:lnTo>
                    <a:pt x="488889" y="1596343"/>
                  </a:lnTo>
                  <a:lnTo>
                    <a:pt x="487366" y="1595201"/>
                  </a:lnTo>
                  <a:lnTo>
                    <a:pt x="490919" y="1595201"/>
                  </a:lnTo>
                  <a:lnTo>
                    <a:pt x="490919" y="1601165"/>
                  </a:lnTo>
                  <a:lnTo>
                    <a:pt x="489396" y="1600023"/>
                  </a:lnTo>
                  <a:lnTo>
                    <a:pt x="492822" y="1600023"/>
                  </a:lnTo>
                  <a:lnTo>
                    <a:pt x="492822" y="1620325"/>
                  </a:lnTo>
                  <a:lnTo>
                    <a:pt x="491300" y="1619183"/>
                  </a:lnTo>
                  <a:lnTo>
                    <a:pt x="498532" y="1619183"/>
                  </a:lnTo>
                  <a:lnTo>
                    <a:pt x="498532" y="1625146"/>
                  </a:lnTo>
                  <a:lnTo>
                    <a:pt x="497010" y="1624004"/>
                  </a:lnTo>
                  <a:lnTo>
                    <a:pt x="504369" y="1624004"/>
                  </a:lnTo>
                  <a:lnTo>
                    <a:pt x="504369" y="1634663"/>
                  </a:lnTo>
                  <a:lnTo>
                    <a:pt x="502846" y="1633521"/>
                  </a:lnTo>
                  <a:lnTo>
                    <a:pt x="510206" y="1633521"/>
                  </a:lnTo>
                  <a:lnTo>
                    <a:pt x="510206" y="1644306"/>
                  </a:lnTo>
                  <a:lnTo>
                    <a:pt x="508683" y="1643164"/>
                  </a:lnTo>
                  <a:lnTo>
                    <a:pt x="512109" y="1643164"/>
                  </a:lnTo>
                  <a:lnTo>
                    <a:pt x="512109" y="1649001"/>
                  </a:lnTo>
                  <a:lnTo>
                    <a:pt x="510586" y="1647859"/>
                  </a:lnTo>
                  <a:lnTo>
                    <a:pt x="514012" y="1647859"/>
                  </a:lnTo>
                  <a:lnTo>
                    <a:pt x="514012" y="1653822"/>
                  </a:lnTo>
                  <a:lnTo>
                    <a:pt x="512490" y="1652680"/>
                  </a:lnTo>
                  <a:lnTo>
                    <a:pt x="519849" y="1652680"/>
                  </a:lnTo>
                  <a:lnTo>
                    <a:pt x="519849" y="1658644"/>
                  </a:lnTo>
                  <a:lnTo>
                    <a:pt x="518326" y="1657502"/>
                  </a:lnTo>
                  <a:lnTo>
                    <a:pt x="529619" y="1657502"/>
                  </a:lnTo>
                  <a:lnTo>
                    <a:pt x="529619" y="1663339"/>
                  </a:lnTo>
                  <a:lnTo>
                    <a:pt x="528096" y="1662324"/>
                  </a:lnTo>
                  <a:lnTo>
                    <a:pt x="531522" y="1662324"/>
                  </a:lnTo>
                  <a:lnTo>
                    <a:pt x="531522" y="1668160"/>
                  </a:lnTo>
                  <a:lnTo>
                    <a:pt x="530000" y="1667018"/>
                  </a:lnTo>
                  <a:lnTo>
                    <a:pt x="535329" y="1667018"/>
                  </a:lnTo>
                  <a:lnTo>
                    <a:pt x="535329" y="1682498"/>
                  </a:lnTo>
                  <a:lnTo>
                    <a:pt x="533806" y="1681356"/>
                  </a:lnTo>
                  <a:lnTo>
                    <a:pt x="537359" y="1681356"/>
                  </a:lnTo>
                  <a:lnTo>
                    <a:pt x="537359" y="1692015"/>
                  </a:lnTo>
                  <a:lnTo>
                    <a:pt x="535836" y="1690873"/>
                  </a:lnTo>
                  <a:lnTo>
                    <a:pt x="539262" y="1690873"/>
                  </a:lnTo>
                  <a:lnTo>
                    <a:pt x="539262" y="1696963"/>
                  </a:lnTo>
                  <a:lnTo>
                    <a:pt x="537740" y="1695821"/>
                  </a:lnTo>
                  <a:lnTo>
                    <a:pt x="543069" y="1695821"/>
                  </a:lnTo>
                  <a:lnTo>
                    <a:pt x="543069" y="1701658"/>
                  </a:lnTo>
                  <a:lnTo>
                    <a:pt x="541546" y="1700516"/>
                  </a:lnTo>
                  <a:lnTo>
                    <a:pt x="544972" y="1700516"/>
                  </a:lnTo>
                  <a:lnTo>
                    <a:pt x="544972" y="1706480"/>
                  </a:lnTo>
                  <a:lnTo>
                    <a:pt x="543450" y="1705338"/>
                  </a:lnTo>
                  <a:lnTo>
                    <a:pt x="547002" y="1705338"/>
                  </a:lnTo>
                  <a:lnTo>
                    <a:pt x="547002" y="1711174"/>
                  </a:lnTo>
                  <a:lnTo>
                    <a:pt x="545480" y="1710032"/>
                  </a:lnTo>
                  <a:lnTo>
                    <a:pt x="560452" y="1710032"/>
                  </a:lnTo>
                  <a:lnTo>
                    <a:pt x="560452" y="1720818"/>
                  </a:lnTo>
                  <a:lnTo>
                    <a:pt x="558930" y="1719676"/>
                  </a:lnTo>
                  <a:lnTo>
                    <a:pt x="562355" y="1719676"/>
                  </a:lnTo>
                  <a:lnTo>
                    <a:pt x="562355" y="1725639"/>
                  </a:lnTo>
                  <a:lnTo>
                    <a:pt x="560833" y="1724497"/>
                  </a:lnTo>
                  <a:lnTo>
                    <a:pt x="564259" y="1724497"/>
                  </a:lnTo>
                  <a:lnTo>
                    <a:pt x="564259" y="1739977"/>
                  </a:lnTo>
                  <a:lnTo>
                    <a:pt x="562736" y="1738835"/>
                  </a:lnTo>
                  <a:lnTo>
                    <a:pt x="564766" y="1738835"/>
                  </a:lnTo>
                  <a:lnTo>
                    <a:pt x="572126" y="1738835"/>
                  </a:lnTo>
                  <a:lnTo>
                    <a:pt x="572126" y="1744672"/>
                  </a:lnTo>
                  <a:lnTo>
                    <a:pt x="570603" y="1743657"/>
                  </a:lnTo>
                  <a:lnTo>
                    <a:pt x="576059" y="1743657"/>
                  </a:lnTo>
                  <a:lnTo>
                    <a:pt x="576059" y="1749621"/>
                  </a:lnTo>
                  <a:lnTo>
                    <a:pt x="574536" y="1748479"/>
                  </a:lnTo>
                  <a:lnTo>
                    <a:pt x="585702" y="1748479"/>
                  </a:lnTo>
                  <a:lnTo>
                    <a:pt x="585702" y="1759137"/>
                  </a:lnTo>
                  <a:lnTo>
                    <a:pt x="584180" y="1758122"/>
                  </a:lnTo>
                  <a:lnTo>
                    <a:pt x="591412" y="1758122"/>
                  </a:lnTo>
                  <a:lnTo>
                    <a:pt x="591412" y="1764086"/>
                  </a:lnTo>
                  <a:lnTo>
                    <a:pt x="589890" y="1762944"/>
                  </a:lnTo>
                  <a:lnTo>
                    <a:pt x="593442" y="1762944"/>
                  </a:lnTo>
                  <a:lnTo>
                    <a:pt x="593442" y="1768907"/>
                  </a:lnTo>
                  <a:lnTo>
                    <a:pt x="591920" y="1767765"/>
                  </a:lnTo>
                  <a:lnTo>
                    <a:pt x="597249" y="1767765"/>
                  </a:lnTo>
                  <a:lnTo>
                    <a:pt x="597249" y="1778677"/>
                  </a:lnTo>
                  <a:lnTo>
                    <a:pt x="595726" y="1777536"/>
                  </a:lnTo>
                  <a:lnTo>
                    <a:pt x="601055" y="1777536"/>
                  </a:lnTo>
                  <a:lnTo>
                    <a:pt x="601055" y="1788194"/>
                  </a:lnTo>
                  <a:lnTo>
                    <a:pt x="599533" y="1787179"/>
                  </a:lnTo>
                  <a:lnTo>
                    <a:pt x="608795" y="1787179"/>
                  </a:lnTo>
                  <a:lnTo>
                    <a:pt x="608795" y="1793142"/>
                  </a:lnTo>
                  <a:lnTo>
                    <a:pt x="607273" y="1792000"/>
                  </a:lnTo>
                  <a:lnTo>
                    <a:pt x="610699" y="1792000"/>
                  </a:lnTo>
                  <a:lnTo>
                    <a:pt x="610699" y="1797964"/>
                  </a:lnTo>
                  <a:lnTo>
                    <a:pt x="609176" y="1796822"/>
                  </a:lnTo>
                  <a:lnTo>
                    <a:pt x="612729" y="1796822"/>
                  </a:lnTo>
                  <a:lnTo>
                    <a:pt x="612729" y="1807607"/>
                  </a:lnTo>
                  <a:lnTo>
                    <a:pt x="611206" y="1806592"/>
                  </a:lnTo>
                  <a:lnTo>
                    <a:pt x="620469" y="1806592"/>
                  </a:lnTo>
                  <a:lnTo>
                    <a:pt x="620469" y="1812556"/>
                  </a:lnTo>
                  <a:lnTo>
                    <a:pt x="618946" y="1811414"/>
                  </a:lnTo>
                  <a:lnTo>
                    <a:pt x="622499" y="1811414"/>
                  </a:lnTo>
                  <a:lnTo>
                    <a:pt x="622499" y="1817377"/>
                  </a:lnTo>
                  <a:lnTo>
                    <a:pt x="620976" y="1816236"/>
                  </a:lnTo>
                  <a:lnTo>
                    <a:pt x="628209" y="1816236"/>
                  </a:lnTo>
                  <a:lnTo>
                    <a:pt x="628209" y="1822072"/>
                  </a:lnTo>
                  <a:lnTo>
                    <a:pt x="626686" y="1821057"/>
                  </a:lnTo>
                  <a:lnTo>
                    <a:pt x="630112" y="1821057"/>
                  </a:lnTo>
                  <a:lnTo>
                    <a:pt x="630112" y="1827021"/>
                  </a:lnTo>
                  <a:lnTo>
                    <a:pt x="628590" y="1825879"/>
                  </a:lnTo>
                  <a:lnTo>
                    <a:pt x="632142" y="1825879"/>
                  </a:lnTo>
                  <a:lnTo>
                    <a:pt x="632142" y="1831842"/>
                  </a:lnTo>
                  <a:lnTo>
                    <a:pt x="630620" y="1830700"/>
                  </a:lnTo>
                  <a:lnTo>
                    <a:pt x="634426" y="1830700"/>
                  </a:lnTo>
                  <a:lnTo>
                    <a:pt x="639755" y="1830700"/>
                  </a:lnTo>
                  <a:lnTo>
                    <a:pt x="639755" y="1836664"/>
                  </a:lnTo>
                  <a:lnTo>
                    <a:pt x="638233" y="1835522"/>
                  </a:lnTo>
                  <a:lnTo>
                    <a:pt x="643689" y="1835522"/>
                  </a:lnTo>
                  <a:lnTo>
                    <a:pt x="643689" y="1841613"/>
                  </a:lnTo>
                  <a:lnTo>
                    <a:pt x="642166" y="1840470"/>
                  </a:lnTo>
                  <a:lnTo>
                    <a:pt x="649526" y="1840470"/>
                  </a:lnTo>
                  <a:lnTo>
                    <a:pt x="649526" y="1846561"/>
                  </a:lnTo>
                  <a:lnTo>
                    <a:pt x="648003" y="1845419"/>
                  </a:lnTo>
                  <a:lnTo>
                    <a:pt x="657139" y="1845419"/>
                  </a:lnTo>
                  <a:lnTo>
                    <a:pt x="657139" y="1851383"/>
                  </a:lnTo>
                  <a:lnTo>
                    <a:pt x="655616" y="1850241"/>
                  </a:lnTo>
                  <a:lnTo>
                    <a:pt x="659169" y="1850241"/>
                  </a:lnTo>
                  <a:lnTo>
                    <a:pt x="659169" y="1861026"/>
                  </a:lnTo>
                  <a:lnTo>
                    <a:pt x="657646" y="1860011"/>
                  </a:lnTo>
                  <a:lnTo>
                    <a:pt x="661072" y="1860011"/>
                  </a:lnTo>
                  <a:lnTo>
                    <a:pt x="661072" y="1865975"/>
                  </a:lnTo>
                  <a:lnTo>
                    <a:pt x="659550" y="1864832"/>
                  </a:lnTo>
                  <a:lnTo>
                    <a:pt x="662975" y="1864832"/>
                  </a:lnTo>
                  <a:lnTo>
                    <a:pt x="662975" y="1875618"/>
                  </a:lnTo>
                  <a:lnTo>
                    <a:pt x="661453" y="1874476"/>
                  </a:lnTo>
                  <a:lnTo>
                    <a:pt x="666909" y="1874476"/>
                  </a:lnTo>
                  <a:lnTo>
                    <a:pt x="666909" y="1880439"/>
                  </a:lnTo>
                  <a:lnTo>
                    <a:pt x="665259" y="1879424"/>
                  </a:lnTo>
                  <a:lnTo>
                    <a:pt x="672746" y="1879424"/>
                  </a:lnTo>
                  <a:lnTo>
                    <a:pt x="672746" y="1885388"/>
                  </a:lnTo>
                  <a:lnTo>
                    <a:pt x="671223" y="1884246"/>
                  </a:lnTo>
                  <a:lnTo>
                    <a:pt x="676552" y="1884246"/>
                  </a:lnTo>
                  <a:lnTo>
                    <a:pt x="676552" y="1890209"/>
                  </a:lnTo>
                  <a:lnTo>
                    <a:pt x="675030" y="1889068"/>
                  </a:lnTo>
                  <a:lnTo>
                    <a:pt x="682389" y="1889068"/>
                  </a:lnTo>
                  <a:lnTo>
                    <a:pt x="682389" y="1895031"/>
                  </a:lnTo>
                  <a:lnTo>
                    <a:pt x="680866" y="1893889"/>
                  </a:lnTo>
                  <a:lnTo>
                    <a:pt x="688226" y="1893889"/>
                  </a:lnTo>
                  <a:lnTo>
                    <a:pt x="688226" y="1899980"/>
                  </a:lnTo>
                  <a:lnTo>
                    <a:pt x="686703" y="1898838"/>
                  </a:lnTo>
                  <a:lnTo>
                    <a:pt x="693935" y="1898838"/>
                  </a:lnTo>
                  <a:lnTo>
                    <a:pt x="693935" y="1904928"/>
                  </a:lnTo>
                  <a:lnTo>
                    <a:pt x="692413" y="1903786"/>
                  </a:lnTo>
                  <a:lnTo>
                    <a:pt x="695839" y="1903786"/>
                  </a:lnTo>
                  <a:lnTo>
                    <a:pt x="695839" y="1914572"/>
                  </a:lnTo>
                  <a:lnTo>
                    <a:pt x="694316" y="1913430"/>
                  </a:lnTo>
                  <a:lnTo>
                    <a:pt x="699772" y="1913430"/>
                  </a:lnTo>
                  <a:lnTo>
                    <a:pt x="699772" y="1919393"/>
                  </a:lnTo>
                  <a:lnTo>
                    <a:pt x="698249" y="1918378"/>
                  </a:lnTo>
                  <a:lnTo>
                    <a:pt x="701675" y="1918378"/>
                  </a:lnTo>
                  <a:lnTo>
                    <a:pt x="701675" y="1924342"/>
                  </a:lnTo>
                  <a:lnTo>
                    <a:pt x="700153" y="1923200"/>
                  </a:lnTo>
                  <a:lnTo>
                    <a:pt x="707512" y="1923200"/>
                  </a:lnTo>
                  <a:lnTo>
                    <a:pt x="707512" y="1929163"/>
                  </a:lnTo>
                  <a:lnTo>
                    <a:pt x="705989" y="1928021"/>
                  </a:lnTo>
                  <a:lnTo>
                    <a:pt x="715379" y="1928021"/>
                  </a:lnTo>
                  <a:lnTo>
                    <a:pt x="715379" y="1938807"/>
                  </a:lnTo>
                  <a:lnTo>
                    <a:pt x="713729" y="1937791"/>
                  </a:lnTo>
                  <a:lnTo>
                    <a:pt x="719186" y="1937791"/>
                  </a:lnTo>
                  <a:lnTo>
                    <a:pt x="719186" y="1948704"/>
                  </a:lnTo>
                  <a:lnTo>
                    <a:pt x="717663" y="1947562"/>
                  </a:lnTo>
                  <a:lnTo>
                    <a:pt x="721089" y="1947562"/>
                  </a:lnTo>
                  <a:lnTo>
                    <a:pt x="721089" y="1953525"/>
                  </a:lnTo>
                  <a:lnTo>
                    <a:pt x="719566" y="1952383"/>
                  </a:lnTo>
                  <a:lnTo>
                    <a:pt x="722992" y="1952383"/>
                  </a:lnTo>
                  <a:lnTo>
                    <a:pt x="722992" y="1958347"/>
                  </a:lnTo>
                  <a:lnTo>
                    <a:pt x="721469" y="1957205"/>
                  </a:lnTo>
                  <a:lnTo>
                    <a:pt x="725022" y="1957205"/>
                  </a:lnTo>
                  <a:lnTo>
                    <a:pt x="725022" y="1972939"/>
                  </a:lnTo>
                  <a:lnTo>
                    <a:pt x="723500" y="1971797"/>
                  </a:lnTo>
                  <a:lnTo>
                    <a:pt x="732635" y="1971797"/>
                  </a:lnTo>
                  <a:lnTo>
                    <a:pt x="732635" y="1987531"/>
                  </a:lnTo>
                  <a:lnTo>
                    <a:pt x="731113" y="1986389"/>
                  </a:lnTo>
                  <a:lnTo>
                    <a:pt x="738472" y="1986389"/>
                  </a:lnTo>
                  <a:lnTo>
                    <a:pt x="738472" y="1997301"/>
                  </a:lnTo>
                  <a:lnTo>
                    <a:pt x="736950" y="1996159"/>
                  </a:lnTo>
                  <a:lnTo>
                    <a:pt x="746212" y="1996159"/>
                  </a:lnTo>
                  <a:lnTo>
                    <a:pt x="746212" y="2002122"/>
                  </a:lnTo>
                  <a:lnTo>
                    <a:pt x="744690" y="2001107"/>
                  </a:lnTo>
                  <a:lnTo>
                    <a:pt x="748115" y="2001107"/>
                  </a:lnTo>
                  <a:lnTo>
                    <a:pt x="748115" y="2007071"/>
                  </a:lnTo>
                  <a:lnTo>
                    <a:pt x="746593" y="2005929"/>
                  </a:lnTo>
                  <a:lnTo>
                    <a:pt x="755855" y="2005929"/>
                  </a:lnTo>
                  <a:lnTo>
                    <a:pt x="755855" y="2011893"/>
                  </a:lnTo>
                  <a:lnTo>
                    <a:pt x="754333" y="2010750"/>
                  </a:lnTo>
                  <a:lnTo>
                    <a:pt x="769432" y="2010750"/>
                  </a:lnTo>
                  <a:lnTo>
                    <a:pt x="769432" y="2016714"/>
                  </a:lnTo>
                  <a:lnTo>
                    <a:pt x="767910" y="2015572"/>
                  </a:lnTo>
                  <a:lnTo>
                    <a:pt x="773366" y="2015572"/>
                  </a:lnTo>
                  <a:lnTo>
                    <a:pt x="773366" y="2026484"/>
                  </a:lnTo>
                  <a:lnTo>
                    <a:pt x="771843" y="2025342"/>
                  </a:lnTo>
                  <a:lnTo>
                    <a:pt x="775269" y="2025342"/>
                  </a:lnTo>
                  <a:lnTo>
                    <a:pt x="775269" y="2031306"/>
                  </a:lnTo>
                  <a:lnTo>
                    <a:pt x="773746" y="2030164"/>
                  </a:lnTo>
                  <a:lnTo>
                    <a:pt x="777172" y="2030164"/>
                  </a:lnTo>
                  <a:lnTo>
                    <a:pt x="777172" y="2036128"/>
                  </a:lnTo>
                  <a:lnTo>
                    <a:pt x="775650" y="2034986"/>
                  </a:lnTo>
                  <a:lnTo>
                    <a:pt x="798362" y="2034986"/>
                  </a:lnTo>
                  <a:lnTo>
                    <a:pt x="798362" y="2041076"/>
                  </a:lnTo>
                  <a:lnTo>
                    <a:pt x="796839" y="2039934"/>
                  </a:lnTo>
                  <a:lnTo>
                    <a:pt x="800392" y="2039934"/>
                  </a:lnTo>
                  <a:lnTo>
                    <a:pt x="800392" y="2050973"/>
                  </a:lnTo>
                  <a:lnTo>
                    <a:pt x="798869" y="2049831"/>
                  </a:lnTo>
                  <a:lnTo>
                    <a:pt x="802295" y="2049831"/>
                  </a:lnTo>
                  <a:lnTo>
                    <a:pt x="802295" y="2065819"/>
                  </a:lnTo>
                  <a:lnTo>
                    <a:pt x="800773" y="2064677"/>
                  </a:lnTo>
                  <a:lnTo>
                    <a:pt x="806102" y="2064677"/>
                  </a:lnTo>
                  <a:lnTo>
                    <a:pt x="806102" y="2070767"/>
                  </a:lnTo>
                  <a:lnTo>
                    <a:pt x="804579" y="2069625"/>
                  </a:lnTo>
                  <a:lnTo>
                    <a:pt x="808005" y="2069625"/>
                  </a:lnTo>
                  <a:lnTo>
                    <a:pt x="808005" y="2075716"/>
                  </a:lnTo>
                  <a:lnTo>
                    <a:pt x="806483" y="2074574"/>
                  </a:lnTo>
                  <a:lnTo>
                    <a:pt x="813969" y="2074574"/>
                  </a:lnTo>
                  <a:lnTo>
                    <a:pt x="813969" y="2080664"/>
                  </a:lnTo>
                  <a:lnTo>
                    <a:pt x="812446" y="2079522"/>
                  </a:lnTo>
                  <a:lnTo>
                    <a:pt x="817775" y="2079522"/>
                  </a:lnTo>
                  <a:lnTo>
                    <a:pt x="817775" y="2085613"/>
                  </a:lnTo>
                  <a:lnTo>
                    <a:pt x="816253" y="2084471"/>
                  </a:lnTo>
                  <a:lnTo>
                    <a:pt x="821709" y="2084471"/>
                  </a:lnTo>
                  <a:lnTo>
                    <a:pt x="821709" y="2090561"/>
                  </a:lnTo>
                  <a:lnTo>
                    <a:pt x="820186" y="2089419"/>
                  </a:lnTo>
                  <a:lnTo>
                    <a:pt x="825896" y="2089419"/>
                  </a:lnTo>
                  <a:lnTo>
                    <a:pt x="827926" y="2089419"/>
                  </a:lnTo>
                  <a:lnTo>
                    <a:pt x="844802" y="2089419"/>
                  </a:lnTo>
                  <a:lnTo>
                    <a:pt x="844802" y="2105788"/>
                  </a:lnTo>
                  <a:lnTo>
                    <a:pt x="843279" y="2104646"/>
                  </a:lnTo>
                  <a:lnTo>
                    <a:pt x="850639" y="2104646"/>
                  </a:lnTo>
                  <a:lnTo>
                    <a:pt x="850639" y="2110863"/>
                  </a:lnTo>
                  <a:lnTo>
                    <a:pt x="849116" y="2109721"/>
                  </a:lnTo>
                  <a:lnTo>
                    <a:pt x="852542" y="2109721"/>
                  </a:lnTo>
                  <a:lnTo>
                    <a:pt x="852542" y="2115939"/>
                  </a:lnTo>
                  <a:lnTo>
                    <a:pt x="851019" y="2114797"/>
                  </a:lnTo>
                  <a:lnTo>
                    <a:pt x="856475" y="2114797"/>
                  </a:lnTo>
                  <a:lnTo>
                    <a:pt x="856475" y="2126089"/>
                  </a:lnTo>
                  <a:lnTo>
                    <a:pt x="854953" y="2124947"/>
                  </a:lnTo>
                  <a:lnTo>
                    <a:pt x="860409" y="2124947"/>
                  </a:lnTo>
                  <a:lnTo>
                    <a:pt x="860409" y="2131165"/>
                  </a:lnTo>
                  <a:lnTo>
                    <a:pt x="858759" y="2130023"/>
                  </a:lnTo>
                  <a:lnTo>
                    <a:pt x="879695" y="2130023"/>
                  </a:lnTo>
                  <a:lnTo>
                    <a:pt x="879695" y="2136113"/>
                  </a:lnTo>
                  <a:lnTo>
                    <a:pt x="878173" y="2135098"/>
                  </a:lnTo>
                  <a:lnTo>
                    <a:pt x="887435" y="2135098"/>
                  </a:lnTo>
                  <a:lnTo>
                    <a:pt x="887435" y="2141189"/>
                  </a:lnTo>
                  <a:lnTo>
                    <a:pt x="885913" y="2140047"/>
                  </a:lnTo>
                  <a:lnTo>
                    <a:pt x="895175" y="2140047"/>
                  </a:lnTo>
                  <a:lnTo>
                    <a:pt x="895175" y="2151339"/>
                  </a:lnTo>
                  <a:lnTo>
                    <a:pt x="893653" y="2150324"/>
                  </a:lnTo>
                  <a:lnTo>
                    <a:pt x="897079" y="2150324"/>
                  </a:lnTo>
                  <a:lnTo>
                    <a:pt x="897079" y="2156415"/>
                  </a:lnTo>
                  <a:lnTo>
                    <a:pt x="895556" y="2155273"/>
                  </a:lnTo>
                  <a:lnTo>
                    <a:pt x="900885" y="2155273"/>
                  </a:lnTo>
                  <a:lnTo>
                    <a:pt x="900885" y="2161490"/>
                  </a:lnTo>
                  <a:lnTo>
                    <a:pt x="899363" y="2160348"/>
                  </a:lnTo>
                  <a:lnTo>
                    <a:pt x="920299" y="2160348"/>
                  </a:lnTo>
                  <a:lnTo>
                    <a:pt x="920299" y="2166566"/>
                  </a:lnTo>
                  <a:lnTo>
                    <a:pt x="918776" y="2165424"/>
                  </a:lnTo>
                  <a:lnTo>
                    <a:pt x="933875" y="2165424"/>
                  </a:lnTo>
                  <a:lnTo>
                    <a:pt x="933875" y="2171514"/>
                  </a:lnTo>
                  <a:lnTo>
                    <a:pt x="932353" y="2170499"/>
                  </a:lnTo>
                  <a:lnTo>
                    <a:pt x="935779" y="2170499"/>
                  </a:lnTo>
                  <a:lnTo>
                    <a:pt x="935779" y="2176716"/>
                  </a:lnTo>
                  <a:lnTo>
                    <a:pt x="934256" y="2175575"/>
                  </a:lnTo>
                  <a:lnTo>
                    <a:pt x="958999" y="2175575"/>
                  </a:lnTo>
                  <a:lnTo>
                    <a:pt x="958999" y="2181792"/>
                  </a:lnTo>
                  <a:lnTo>
                    <a:pt x="957476" y="2180650"/>
                  </a:lnTo>
                  <a:lnTo>
                    <a:pt x="961029" y="2180650"/>
                  </a:lnTo>
                  <a:lnTo>
                    <a:pt x="961029" y="2186740"/>
                  </a:lnTo>
                  <a:lnTo>
                    <a:pt x="959506" y="2185725"/>
                  </a:lnTo>
                  <a:lnTo>
                    <a:pt x="966739" y="2185725"/>
                  </a:lnTo>
                  <a:lnTo>
                    <a:pt x="966739" y="2191816"/>
                  </a:lnTo>
                  <a:lnTo>
                    <a:pt x="965216" y="2190674"/>
                  </a:lnTo>
                  <a:lnTo>
                    <a:pt x="976382" y="2190674"/>
                  </a:lnTo>
                  <a:lnTo>
                    <a:pt x="976382" y="2196891"/>
                  </a:lnTo>
                  <a:lnTo>
                    <a:pt x="974859" y="2195749"/>
                  </a:lnTo>
                  <a:lnTo>
                    <a:pt x="982219" y="2195749"/>
                  </a:lnTo>
                  <a:lnTo>
                    <a:pt x="982219" y="2201967"/>
                  </a:lnTo>
                  <a:lnTo>
                    <a:pt x="980696" y="2200825"/>
                  </a:lnTo>
                  <a:lnTo>
                    <a:pt x="984503" y="2200825"/>
                  </a:lnTo>
                  <a:lnTo>
                    <a:pt x="988055" y="2200825"/>
                  </a:lnTo>
                  <a:lnTo>
                    <a:pt x="988055" y="2207042"/>
                  </a:lnTo>
                  <a:lnTo>
                    <a:pt x="986533" y="2205900"/>
                  </a:lnTo>
                  <a:lnTo>
                    <a:pt x="997699" y="2205900"/>
                  </a:lnTo>
                  <a:lnTo>
                    <a:pt x="997699" y="2217193"/>
                  </a:lnTo>
                  <a:lnTo>
                    <a:pt x="996176" y="2216051"/>
                  </a:lnTo>
                  <a:lnTo>
                    <a:pt x="1015082" y="2216051"/>
                  </a:lnTo>
                  <a:lnTo>
                    <a:pt x="1015082" y="2222395"/>
                  </a:lnTo>
                  <a:lnTo>
                    <a:pt x="1013559" y="2221253"/>
                  </a:lnTo>
                  <a:lnTo>
                    <a:pt x="1024725" y="2221253"/>
                  </a:lnTo>
                  <a:lnTo>
                    <a:pt x="1024725" y="2227344"/>
                  </a:lnTo>
                  <a:lnTo>
                    <a:pt x="1023203" y="2226329"/>
                  </a:lnTo>
                  <a:lnTo>
                    <a:pt x="1026755" y="2226329"/>
                  </a:lnTo>
                  <a:lnTo>
                    <a:pt x="1026755" y="2232546"/>
                  </a:lnTo>
                  <a:lnTo>
                    <a:pt x="1025233" y="2231404"/>
                  </a:lnTo>
                  <a:lnTo>
                    <a:pt x="1032465" y="2231404"/>
                  </a:lnTo>
                  <a:lnTo>
                    <a:pt x="1032465" y="2237621"/>
                  </a:lnTo>
                  <a:lnTo>
                    <a:pt x="1030943" y="2236479"/>
                  </a:lnTo>
                  <a:lnTo>
                    <a:pt x="1038302" y="2236479"/>
                  </a:lnTo>
                  <a:lnTo>
                    <a:pt x="1038302" y="2242697"/>
                  </a:lnTo>
                  <a:lnTo>
                    <a:pt x="1036779" y="2241555"/>
                  </a:lnTo>
                  <a:lnTo>
                    <a:pt x="1044519" y="2241555"/>
                  </a:lnTo>
                  <a:lnTo>
                    <a:pt x="1059619" y="2241555"/>
                  </a:lnTo>
                  <a:lnTo>
                    <a:pt x="1059619" y="2247899"/>
                  </a:lnTo>
                  <a:lnTo>
                    <a:pt x="1058096" y="2246757"/>
                  </a:lnTo>
                  <a:lnTo>
                    <a:pt x="1063933" y="2246757"/>
                  </a:lnTo>
                  <a:lnTo>
                    <a:pt x="1073195" y="2246757"/>
                  </a:lnTo>
                  <a:lnTo>
                    <a:pt x="1073195" y="2252975"/>
                  </a:lnTo>
                  <a:lnTo>
                    <a:pt x="1071673" y="2251832"/>
                  </a:lnTo>
                  <a:lnTo>
                    <a:pt x="1090452" y="2251832"/>
                  </a:lnTo>
                  <a:lnTo>
                    <a:pt x="1090452" y="2258177"/>
                  </a:lnTo>
                  <a:lnTo>
                    <a:pt x="1088929" y="2257162"/>
                  </a:lnTo>
                  <a:lnTo>
                    <a:pt x="1100730" y="2257162"/>
                  </a:lnTo>
                  <a:lnTo>
                    <a:pt x="1113799" y="2257162"/>
                  </a:lnTo>
                  <a:lnTo>
                    <a:pt x="1113799" y="2263379"/>
                  </a:lnTo>
                  <a:lnTo>
                    <a:pt x="1112276" y="2262237"/>
                  </a:lnTo>
                  <a:lnTo>
                    <a:pt x="1120016" y="2262237"/>
                  </a:lnTo>
                  <a:lnTo>
                    <a:pt x="1134989" y="2262237"/>
                  </a:lnTo>
                  <a:lnTo>
                    <a:pt x="1134989" y="2268581"/>
                  </a:lnTo>
                  <a:lnTo>
                    <a:pt x="1133466" y="2267440"/>
                  </a:lnTo>
                  <a:lnTo>
                    <a:pt x="1136892" y="2267440"/>
                  </a:lnTo>
                  <a:lnTo>
                    <a:pt x="1136892" y="2273911"/>
                  </a:lnTo>
                  <a:lnTo>
                    <a:pt x="1135369" y="2272769"/>
                  </a:lnTo>
                  <a:lnTo>
                    <a:pt x="1140825" y="2272769"/>
                  </a:lnTo>
                  <a:lnTo>
                    <a:pt x="1140825" y="2279113"/>
                  </a:lnTo>
                  <a:lnTo>
                    <a:pt x="1139303" y="2277971"/>
                  </a:lnTo>
                  <a:lnTo>
                    <a:pt x="1142729" y="2277971"/>
                  </a:lnTo>
                  <a:lnTo>
                    <a:pt x="1142729" y="2284315"/>
                  </a:lnTo>
                  <a:lnTo>
                    <a:pt x="1141206" y="2283300"/>
                  </a:lnTo>
                  <a:lnTo>
                    <a:pt x="1167979" y="2283300"/>
                  </a:lnTo>
                  <a:lnTo>
                    <a:pt x="1167979" y="2289644"/>
                  </a:lnTo>
                  <a:lnTo>
                    <a:pt x="1166456" y="2288502"/>
                  </a:lnTo>
                  <a:lnTo>
                    <a:pt x="1169882" y="2288502"/>
                  </a:lnTo>
                  <a:lnTo>
                    <a:pt x="1169882" y="2294847"/>
                  </a:lnTo>
                  <a:lnTo>
                    <a:pt x="1168359" y="2293705"/>
                  </a:lnTo>
                  <a:lnTo>
                    <a:pt x="1179906" y="2293705"/>
                  </a:lnTo>
                  <a:lnTo>
                    <a:pt x="1192975" y="2293705"/>
                  </a:lnTo>
                  <a:lnTo>
                    <a:pt x="1192975" y="2300176"/>
                  </a:lnTo>
                  <a:lnTo>
                    <a:pt x="1191452" y="2299034"/>
                  </a:lnTo>
                  <a:lnTo>
                    <a:pt x="1214799" y="2299034"/>
                  </a:lnTo>
                  <a:lnTo>
                    <a:pt x="1243349" y="2299034"/>
                  </a:lnTo>
                  <a:lnTo>
                    <a:pt x="1243349" y="2305505"/>
                  </a:lnTo>
                  <a:lnTo>
                    <a:pt x="1241826" y="2304363"/>
                  </a:lnTo>
                  <a:lnTo>
                    <a:pt x="1247282" y="2304363"/>
                  </a:lnTo>
                  <a:lnTo>
                    <a:pt x="1247282" y="2310834"/>
                  </a:lnTo>
                  <a:lnTo>
                    <a:pt x="1245759" y="2309692"/>
                  </a:lnTo>
                  <a:lnTo>
                    <a:pt x="1249185" y="2309692"/>
                  </a:lnTo>
                  <a:lnTo>
                    <a:pt x="1249185" y="2316163"/>
                  </a:lnTo>
                  <a:lnTo>
                    <a:pt x="1247663" y="2315021"/>
                  </a:lnTo>
                  <a:lnTo>
                    <a:pt x="1251215" y="2315021"/>
                  </a:lnTo>
                  <a:lnTo>
                    <a:pt x="1251215" y="2321493"/>
                  </a:lnTo>
                  <a:lnTo>
                    <a:pt x="1249693" y="2320351"/>
                  </a:lnTo>
                  <a:lnTo>
                    <a:pt x="1263143" y="2320351"/>
                  </a:lnTo>
                  <a:lnTo>
                    <a:pt x="1266569" y="2320351"/>
                  </a:lnTo>
                  <a:lnTo>
                    <a:pt x="1266569" y="2326822"/>
                  </a:lnTo>
                  <a:lnTo>
                    <a:pt x="1265046" y="2325680"/>
                  </a:lnTo>
                  <a:lnTo>
                    <a:pt x="1291692" y="2325680"/>
                  </a:lnTo>
                  <a:lnTo>
                    <a:pt x="1291692" y="2332278"/>
                  </a:lnTo>
                  <a:lnTo>
                    <a:pt x="1290169" y="2331136"/>
                  </a:lnTo>
                  <a:lnTo>
                    <a:pt x="1295625" y="2331136"/>
                  </a:lnTo>
                  <a:lnTo>
                    <a:pt x="1295625" y="2343063"/>
                  </a:lnTo>
                  <a:lnTo>
                    <a:pt x="1294103" y="2341921"/>
                  </a:lnTo>
                  <a:lnTo>
                    <a:pt x="1309202" y="2341921"/>
                  </a:lnTo>
                  <a:lnTo>
                    <a:pt x="1309202" y="2348392"/>
                  </a:lnTo>
                  <a:lnTo>
                    <a:pt x="1307679" y="2347250"/>
                  </a:lnTo>
                  <a:lnTo>
                    <a:pt x="1315419" y="2347250"/>
                  </a:lnTo>
                  <a:lnTo>
                    <a:pt x="1332295" y="2347250"/>
                  </a:lnTo>
                  <a:lnTo>
                    <a:pt x="1332295" y="2353848"/>
                  </a:lnTo>
                  <a:lnTo>
                    <a:pt x="1330773" y="2352706"/>
                  </a:lnTo>
                  <a:lnTo>
                    <a:pt x="1347902" y="2352706"/>
                  </a:lnTo>
                  <a:lnTo>
                    <a:pt x="1347902" y="2359304"/>
                  </a:lnTo>
                  <a:lnTo>
                    <a:pt x="1346379" y="2358162"/>
                  </a:lnTo>
                  <a:lnTo>
                    <a:pt x="1359449" y="2358162"/>
                  </a:lnTo>
                  <a:lnTo>
                    <a:pt x="1359449" y="2364633"/>
                  </a:lnTo>
                  <a:lnTo>
                    <a:pt x="1357926" y="2363492"/>
                  </a:lnTo>
                  <a:lnTo>
                    <a:pt x="1365666" y="2363492"/>
                  </a:lnTo>
                  <a:lnTo>
                    <a:pt x="1374929" y="2363492"/>
                  </a:lnTo>
                  <a:lnTo>
                    <a:pt x="1374929" y="2370216"/>
                  </a:lnTo>
                  <a:lnTo>
                    <a:pt x="1373406" y="2369075"/>
                  </a:lnTo>
                  <a:lnTo>
                    <a:pt x="1378735" y="2369075"/>
                  </a:lnTo>
                  <a:lnTo>
                    <a:pt x="1378735" y="2375673"/>
                  </a:lnTo>
                  <a:lnTo>
                    <a:pt x="1377212" y="2374531"/>
                  </a:lnTo>
                  <a:lnTo>
                    <a:pt x="1392439" y="2374531"/>
                  </a:lnTo>
                  <a:lnTo>
                    <a:pt x="1392439" y="2381256"/>
                  </a:lnTo>
                  <a:lnTo>
                    <a:pt x="1390916" y="2380113"/>
                  </a:lnTo>
                  <a:lnTo>
                    <a:pt x="1392819" y="2380113"/>
                  </a:lnTo>
                  <a:lnTo>
                    <a:pt x="1396626" y="2380113"/>
                  </a:lnTo>
                  <a:lnTo>
                    <a:pt x="1402463" y="2380113"/>
                  </a:lnTo>
                  <a:lnTo>
                    <a:pt x="1410203" y="2380113"/>
                  </a:lnTo>
                  <a:lnTo>
                    <a:pt x="1415532" y="2380113"/>
                  </a:lnTo>
                  <a:lnTo>
                    <a:pt x="1415532" y="2386965"/>
                  </a:lnTo>
                  <a:lnTo>
                    <a:pt x="1414009" y="2385823"/>
                  </a:lnTo>
                  <a:lnTo>
                    <a:pt x="1425175" y="2385823"/>
                  </a:lnTo>
                  <a:lnTo>
                    <a:pt x="1425175" y="2392675"/>
                  </a:lnTo>
                  <a:lnTo>
                    <a:pt x="1423653" y="2391533"/>
                  </a:lnTo>
                  <a:lnTo>
                    <a:pt x="1450806" y="2391533"/>
                  </a:lnTo>
                  <a:lnTo>
                    <a:pt x="1461972" y="2391533"/>
                  </a:lnTo>
                  <a:lnTo>
                    <a:pt x="1461972" y="2404349"/>
                  </a:lnTo>
                  <a:lnTo>
                    <a:pt x="1460449" y="2403207"/>
                  </a:lnTo>
                  <a:lnTo>
                    <a:pt x="1494962" y="2403207"/>
                  </a:lnTo>
                  <a:lnTo>
                    <a:pt x="1494962" y="2410185"/>
                  </a:lnTo>
                  <a:lnTo>
                    <a:pt x="1493439" y="2409043"/>
                  </a:lnTo>
                  <a:lnTo>
                    <a:pt x="1506509" y="2409043"/>
                  </a:lnTo>
                  <a:lnTo>
                    <a:pt x="1506509" y="2415895"/>
                  </a:lnTo>
                  <a:lnTo>
                    <a:pt x="1504986" y="2414880"/>
                  </a:lnTo>
                  <a:lnTo>
                    <a:pt x="1521862" y="2414880"/>
                  </a:lnTo>
                  <a:lnTo>
                    <a:pt x="1521862" y="2421859"/>
                  </a:lnTo>
                  <a:lnTo>
                    <a:pt x="1520339" y="2420717"/>
                  </a:lnTo>
                  <a:lnTo>
                    <a:pt x="1533662" y="2420717"/>
                  </a:lnTo>
                  <a:lnTo>
                    <a:pt x="1533662" y="2433405"/>
                  </a:lnTo>
                  <a:lnTo>
                    <a:pt x="1532012" y="2432263"/>
                  </a:lnTo>
                  <a:lnTo>
                    <a:pt x="1557136" y="2432263"/>
                  </a:lnTo>
                  <a:lnTo>
                    <a:pt x="1568302" y="2432263"/>
                  </a:lnTo>
                  <a:lnTo>
                    <a:pt x="1568302" y="2439242"/>
                  </a:lnTo>
                  <a:lnTo>
                    <a:pt x="1566779" y="2438227"/>
                  </a:lnTo>
                  <a:lnTo>
                    <a:pt x="1587715" y="2438227"/>
                  </a:lnTo>
                  <a:lnTo>
                    <a:pt x="1587715" y="2445206"/>
                  </a:lnTo>
                  <a:lnTo>
                    <a:pt x="1586192" y="2444191"/>
                  </a:lnTo>
                  <a:lnTo>
                    <a:pt x="1588223" y="2444191"/>
                  </a:lnTo>
                  <a:lnTo>
                    <a:pt x="1599388" y="2444191"/>
                  </a:lnTo>
                  <a:lnTo>
                    <a:pt x="1599388" y="2457260"/>
                  </a:lnTo>
                  <a:lnTo>
                    <a:pt x="1597866" y="2456245"/>
                  </a:lnTo>
                  <a:lnTo>
                    <a:pt x="1601292" y="2456245"/>
                  </a:lnTo>
                  <a:lnTo>
                    <a:pt x="1601292" y="2463223"/>
                  </a:lnTo>
                  <a:lnTo>
                    <a:pt x="1599769" y="2462208"/>
                  </a:lnTo>
                  <a:lnTo>
                    <a:pt x="1609412" y="2462208"/>
                  </a:lnTo>
                  <a:lnTo>
                    <a:pt x="1626796" y="2462208"/>
                  </a:lnTo>
                  <a:lnTo>
                    <a:pt x="1630348" y="2462208"/>
                  </a:lnTo>
                  <a:lnTo>
                    <a:pt x="1630348" y="2469441"/>
                  </a:lnTo>
                  <a:lnTo>
                    <a:pt x="1628699" y="2468299"/>
                  </a:lnTo>
                  <a:lnTo>
                    <a:pt x="1632252" y="2468299"/>
                  </a:lnTo>
                  <a:lnTo>
                    <a:pt x="1632252" y="2475658"/>
                  </a:lnTo>
                  <a:lnTo>
                    <a:pt x="1630729" y="2474516"/>
                  </a:lnTo>
                  <a:lnTo>
                    <a:pt x="1653949" y="2474516"/>
                  </a:lnTo>
                  <a:lnTo>
                    <a:pt x="1655853" y="2474516"/>
                  </a:lnTo>
                  <a:lnTo>
                    <a:pt x="1663593" y="2474516"/>
                  </a:lnTo>
                  <a:lnTo>
                    <a:pt x="1733252" y="2474516"/>
                  </a:lnTo>
                  <a:lnTo>
                    <a:pt x="1755965" y="2474516"/>
                  </a:lnTo>
                  <a:lnTo>
                    <a:pt x="1755965" y="2482129"/>
                  </a:lnTo>
                  <a:lnTo>
                    <a:pt x="1754442" y="2480987"/>
                  </a:lnTo>
                  <a:lnTo>
                    <a:pt x="1792762" y="2480987"/>
                  </a:lnTo>
                  <a:lnTo>
                    <a:pt x="1792762" y="2488727"/>
                  </a:lnTo>
                  <a:lnTo>
                    <a:pt x="1791239" y="2487585"/>
                  </a:lnTo>
                  <a:lnTo>
                    <a:pt x="1800502" y="2487585"/>
                  </a:lnTo>
                  <a:lnTo>
                    <a:pt x="1800502" y="2495072"/>
                  </a:lnTo>
                  <a:lnTo>
                    <a:pt x="1798979" y="2494057"/>
                  </a:lnTo>
                  <a:lnTo>
                    <a:pt x="1810145" y="2494057"/>
                  </a:lnTo>
                  <a:lnTo>
                    <a:pt x="1810145" y="2501670"/>
                  </a:lnTo>
                  <a:lnTo>
                    <a:pt x="1808622" y="2500528"/>
                  </a:lnTo>
                  <a:lnTo>
                    <a:pt x="1845038" y="2500528"/>
                  </a:lnTo>
                  <a:lnTo>
                    <a:pt x="1845038" y="2508141"/>
                  </a:lnTo>
                  <a:lnTo>
                    <a:pt x="1843516" y="2507126"/>
                  </a:lnTo>
                  <a:lnTo>
                    <a:pt x="1866228" y="2507126"/>
                  </a:lnTo>
                  <a:lnTo>
                    <a:pt x="1866228" y="2514612"/>
                  </a:lnTo>
                  <a:lnTo>
                    <a:pt x="1864706" y="2513470"/>
                  </a:lnTo>
                  <a:lnTo>
                    <a:pt x="1876379" y="2513470"/>
                  </a:lnTo>
                  <a:lnTo>
                    <a:pt x="1885642" y="2513470"/>
                  </a:lnTo>
                  <a:lnTo>
                    <a:pt x="1885642" y="2521210"/>
                  </a:lnTo>
                  <a:lnTo>
                    <a:pt x="1884119" y="2520195"/>
                  </a:lnTo>
                  <a:lnTo>
                    <a:pt x="1899218" y="2520195"/>
                  </a:lnTo>
                  <a:lnTo>
                    <a:pt x="1899218" y="2527935"/>
                  </a:lnTo>
                  <a:lnTo>
                    <a:pt x="1897696" y="2526793"/>
                  </a:lnTo>
                  <a:lnTo>
                    <a:pt x="1899599" y="2526793"/>
                  </a:lnTo>
                  <a:lnTo>
                    <a:pt x="1912668" y="2526793"/>
                  </a:lnTo>
                  <a:lnTo>
                    <a:pt x="1912668" y="2534660"/>
                  </a:lnTo>
                  <a:lnTo>
                    <a:pt x="1911146" y="2533645"/>
                  </a:lnTo>
                  <a:lnTo>
                    <a:pt x="1959108" y="2533645"/>
                  </a:lnTo>
                  <a:lnTo>
                    <a:pt x="1959108" y="2541512"/>
                  </a:lnTo>
                  <a:lnTo>
                    <a:pt x="1957586" y="2540370"/>
                  </a:lnTo>
                  <a:lnTo>
                    <a:pt x="1991971" y="2540370"/>
                  </a:lnTo>
                  <a:lnTo>
                    <a:pt x="1991971" y="2548363"/>
                  </a:lnTo>
                  <a:lnTo>
                    <a:pt x="1990449" y="2547222"/>
                  </a:lnTo>
                  <a:lnTo>
                    <a:pt x="1997808" y="2547222"/>
                  </a:lnTo>
                  <a:lnTo>
                    <a:pt x="1997808" y="2561940"/>
                  </a:lnTo>
                  <a:lnTo>
                    <a:pt x="1996286" y="2560925"/>
                  </a:lnTo>
                  <a:lnTo>
                    <a:pt x="2023058" y="2560925"/>
                  </a:lnTo>
                  <a:lnTo>
                    <a:pt x="2023058" y="2568792"/>
                  </a:lnTo>
                  <a:lnTo>
                    <a:pt x="2021536" y="2567650"/>
                  </a:lnTo>
                  <a:lnTo>
                    <a:pt x="2028768" y="2567650"/>
                  </a:lnTo>
                  <a:lnTo>
                    <a:pt x="2028768" y="2575644"/>
                  </a:lnTo>
                  <a:lnTo>
                    <a:pt x="2027245" y="2574502"/>
                  </a:lnTo>
                  <a:lnTo>
                    <a:pt x="2048562" y="2574502"/>
                  </a:lnTo>
                  <a:lnTo>
                    <a:pt x="2115938" y="2574502"/>
                  </a:lnTo>
                  <a:lnTo>
                    <a:pt x="2115938" y="2582622"/>
                  </a:lnTo>
                  <a:lnTo>
                    <a:pt x="2114416" y="2581481"/>
                  </a:lnTo>
                  <a:lnTo>
                    <a:pt x="2135225" y="2581481"/>
                  </a:lnTo>
                  <a:lnTo>
                    <a:pt x="2135225" y="2589474"/>
                  </a:lnTo>
                  <a:lnTo>
                    <a:pt x="2133702" y="2588459"/>
                  </a:lnTo>
                  <a:lnTo>
                    <a:pt x="2144868" y="2588459"/>
                  </a:lnTo>
                  <a:lnTo>
                    <a:pt x="2144868" y="2596453"/>
                  </a:lnTo>
                  <a:lnTo>
                    <a:pt x="2143346" y="2595311"/>
                  </a:lnTo>
                  <a:lnTo>
                    <a:pt x="2152608" y="2595311"/>
                  </a:lnTo>
                  <a:lnTo>
                    <a:pt x="2152608" y="2603432"/>
                  </a:lnTo>
                  <a:lnTo>
                    <a:pt x="2151086" y="2602290"/>
                  </a:lnTo>
                  <a:lnTo>
                    <a:pt x="2180142" y="2602290"/>
                  </a:lnTo>
                  <a:lnTo>
                    <a:pt x="2195115" y="2602290"/>
                  </a:lnTo>
                  <a:lnTo>
                    <a:pt x="2195115" y="2610537"/>
                  </a:lnTo>
                  <a:lnTo>
                    <a:pt x="2193592" y="2609395"/>
                  </a:lnTo>
                  <a:lnTo>
                    <a:pt x="2204758" y="2609395"/>
                  </a:lnTo>
                  <a:lnTo>
                    <a:pt x="2204758" y="2617643"/>
                  </a:lnTo>
                  <a:lnTo>
                    <a:pt x="2203236" y="2616501"/>
                  </a:lnTo>
                  <a:lnTo>
                    <a:pt x="2214528" y="2616501"/>
                  </a:lnTo>
                  <a:lnTo>
                    <a:pt x="2214528" y="2624748"/>
                  </a:lnTo>
                  <a:lnTo>
                    <a:pt x="2213006" y="2623606"/>
                  </a:lnTo>
                  <a:lnTo>
                    <a:pt x="2257162" y="2623606"/>
                  </a:lnTo>
                  <a:lnTo>
                    <a:pt x="2257162" y="2631854"/>
                  </a:lnTo>
                  <a:lnTo>
                    <a:pt x="2255512" y="2630712"/>
                  </a:lnTo>
                  <a:lnTo>
                    <a:pt x="2269089" y="2630712"/>
                  </a:lnTo>
                  <a:lnTo>
                    <a:pt x="2431121" y="2630712"/>
                  </a:lnTo>
                  <a:lnTo>
                    <a:pt x="2431121" y="2639086"/>
                  </a:lnTo>
                  <a:lnTo>
                    <a:pt x="2429599" y="2637944"/>
                  </a:lnTo>
                  <a:lnTo>
                    <a:pt x="2467918" y="2637944"/>
                  </a:lnTo>
                  <a:lnTo>
                    <a:pt x="2467918" y="2646319"/>
                  </a:lnTo>
                  <a:lnTo>
                    <a:pt x="2466395" y="2645177"/>
                  </a:lnTo>
                  <a:lnTo>
                    <a:pt x="2479465" y="2645177"/>
                  </a:lnTo>
                  <a:lnTo>
                    <a:pt x="2479465" y="2653551"/>
                  </a:lnTo>
                  <a:lnTo>
                    <a:pt x="2477942" y="2652409"/>
                  </a:lnTo>
                  <a:lnTo>
                    <a:pt x="2496848" y="2652409"/>
                  </a:lnTo>
                  <a:lnTo>
                    <a:pt x="2496848" y="2660784"/>
                  </a:lnTo>
                  <a:lnTo>
                    <a:pt x="2495325" y="2659642"/>
                  </a:lnTo>
                  <a:lnTo>
                    <a:pt x="2518165" y="2659642"/>
                  </a:lnTo>
                  <a:lnTo>
                    <a:pt x="2518165" y="2668016"/>
                  </a:lnTo>
                  <a:lnTo>
                    <a:pt x="2516642" y="2667001"/>
                  </a:lnTo>
                  <a:lnTo>
                    <a:pt x="2537959" y="2667001"/>
                  </a:lnTo>
                  <a:lnTo>
                    <a:pt x="2586302" y="2667001"/>
                  </a:lnTo>
                  <a:lnTo>
                    <a:pt x="2615359" y="2667001"/>
                  </a:lnTo>
                  <a:lnTo>
                    <a:pt x="2671442" y="2667001"/>
                  </a:lnTo>
                  <a:lnTo>
                    <a:pt x="2712045" y="2667001"/>
                  </a:lnTo>
                  <a:lnTo>
                    <a:pt x="2764322" y="2667001"/>
                  </a:lnTo>
                  <a:lnTo>
                    <a:pt x="2843625" y="2667001"/>
                  </a:lnTo>
                  <a:lnTo>
                    <a:pt x="2889685" y="2667001"/>
                  </a:lnTo>
                  <a:lnTo>
                    <a:pt x="2889685" y="2676898"/>
                  </a:lnTo>
                  <a:lnTo>
                    <a:pt x="2888162" y="2675756"/>
                  </a:lnTo>
                  <a:lnTo>
                    <a:pt x="2996522" y="2675756"/>
                  </a:lnTo>
                  <a:lnTo>
                    <a:pt x="3131909" y="2675756"/>
                  </a:lnTo>
                  <a:lnTo>
                    <a:pt x="3232021" y="2675756"/>
                  </a:lnTo>
                  <a:lnTo>
                    <a:pt x="3232021" y="2686414"/>
                  </a:lnTo>
                  <a:lnTo>
                    <a:pt x="3230498" y="2685273"/>
                  </a:lnTo>
                  <a:lnTo>
                    <a:pt x="3261458" y="2685273"/>
                  </a:lnTo>
                  <a:lnTo>
                    <a:pt x="3263362" y="2685273"/>
                  </a:lnTo>
                  <a:lnTo>
                    <a:pt x="3272751" y="2685273"/>
                  </a:lnTo>
                  <a:lnTo>
                    <a:pt x="3272751" y="2696439"/>
                  </a:lnTo>
                  <a:lnTo>
                    <a:pt x="3271228" y="2695297"/>
                  </a:lnTo>
                  <a:lnTo>
                    <a:pt x="3334544" y="2695297"/>
                  </a:lnTo>
                  <a:lnTo>
                    <a:pt x="3334544" y="2706716"/>
                  </a:lnTo>
                  <a:lnTo>
                    <a:pt x="3333022" y="2705574"/>
                  </a:lnTo>
                  <a:lnTo>
                    <a:pt x="3366012" y="2705574"/>
                  </a:lnTo>
                  <a:lnTo>
                    <a:pt x="3417781" y="2705574"/>
                  </a:lnTo>
                  <a:lnTo>
                    <a:pt x="3417781" y="2717248"/>
                  </a:lnTo>
                  <a:lnTo>
                    <a:pt x="3416258" y="2716106"/>
                  </a:lnTo>
                  <a:lnTo>
                    <a:pt x="3474245" y="2716106"/>
                  </a:lnTo>
                  <a:lnTo>
                    <a:pt x="3616991" y="2716106"/>
                  </a:lnTo>
                  <a:lnTo>
                    <a:pt x="3616991" y="2728414"/>
                  </a:lnTo>
                  <a:lnTo>
                    <a:pt x="3615468" y="2727272"/>
                  </a:lnTo>
                  <a:lnTo>
                    <a:pt x="3627142" y="2727272"/>
                  </a:lnTo>
                  <a:lnTo>
                    <a:pt x="3739308" y="2727272"/>
                  </a:lnTo>
                  <a:lnTo>
                    <a:pt x="3861245" y="2727272"/>
                  </a:lnTo>
                  <a:lnTo>
                    <a:pt x="4124278" y="2727272"/>
                  </a:lnTo>
                  <a:lnTo>
                    <a:pt x="4172621" y="2727272"/>
                  </a:lnTo>
                  <a:lnTo>
                    <a:pt x="4186198" y="2727272"/>
                  </a:lnTo>
                  <a:lnTo>
                    <a:pt x="4342902" y="2727272"/>
                  </a:lnTo>
                  <a:lnTo>
                    <a:pt x="4354448" y="2727272"/>
                  </a:lnTo>
                  <a:lnTo>
                    <a:pt x="4478288" y="2727272"/>
                  </a:lnTo>
                  <a:lnTo>
                    <a:pt x="4549851" y="2727272"/>
                  </a:lnTo>
                  <a:lnTo>
                    <a:pt x="4586648" y="2727272"/>
                  </a:lnTo>
                  <a:lnTo>
                    <a:pt x="4646538" y="2727272"/>
                  </a:lnTo>
                  <a:lnTo>
                    <a:pt x="4716325" y="2727272"/>
                  </a:lnTo>
                  <a:lnTo>
                    <a:pt x="4946368" y="2727272"/>
                  </a:lnTo>
                  <a:lnTo>
                    <a:pt x="5265611" y="2727272"/>
                  </a:lnTo>
                  <a:lnTo>
                    <a:pt x="5337174" y="2727272"/>
                  </a:lnTo>
                  <a:lnTo>
                    <a:pt x="5408738" y="2727272"/>
                  </a:lnTo>
                  <a:lnTo>
                    <a:pt x="5478397" y="2727272"/>
                  </a:lnTo>
                  <a:lnTo>
                    <a:pt x="5551991" y="2727272"/>
                  </a:lnTo>
                  <a:lnTo>
                    <a:pt x="5631294" y="2727272"/>
                  </a:lnTo>
                  <a:lnTo>
                    <a:pt x="5631294" y="2729556"/>
                  </a:lnTo>
                  <a:lnTo>
                    <a:pt x="5551991" y="2729556"/>
                  </a:lnTo>
                  <a:lnTo>
                    <a:pt x="5478397" y="2729556"/>
                  </a:lnTo>
                  <a:lnTo>
                    <a:pt x="5408738" y="2729556"/>
                  </a:lnTo>
                  <a:lnTo>
                    <a:pt x="5337174" y="2729556"/>
                  </a:lnTo>
                  <a:lnTo>
                    <a:pt x="5265611" y="2729556"/>
                  </a:lnTo>
                  <a:lnTo>
                    <a:pt x="4946368" y="2729556"/>
                  </a:lnTo>
                  <a:lnTo>
                    <a:pt x="4716325" y="2729556"/>
                  </a:lnTo>
                  <a:lnTo>
                    <a:pt x="4646538" y="2729556"/>
                  </a:lnTo>
                  <a:lnTo>
                    <a:pt x="4586648" y="2729556"/>
                  </a:lnTo>
                  <a:lnTo>
                    <a:pt x="4549851" y="2729556"/>
                  </a:lnTo>
                  <a:lnTo>
                    <a:pt x="4478288" y="2729556"/>
                  </a:lnTo>
                  <a:lnTo>
                    <a:pt x="4354448" y="2729556"/>
                  </a:lnTo>
                  <a:lnTo>
                    <a:pt x="4342902" y="2729556"/>
                  </a:lnTo>
                  <a:lnTo>
                    <a:pt x="4186198" y="2729556"/>
                  </a:lnTo>
                  <a:lnTo>
                    <a:pt x="4172621" y="2729556"/>
                  </a:lnTo>
                  <a:lnTo>
                    <a:pt x="4124278" y="2729556"/>
                  </a:lnTo>
                  <a:lnTo>
                    <a:pt x="3861245" y="2729556"/>
                  </a:lnTo>
                  <a:lnTo>
                    <a:pt x="3739308" y="2729556"/>
                  </a:lnTo>
                  <a:lnTo>
                    <a:pt x="3627142" y="2729556"/>
                  </a:lnTo>
                  <a:lnTo>
                    <a:pt x="3613946" y="2729556"/>
                  </a:lnTo>
                  <a:lnTo>
                    <a:pt x="3613946" y="2717248"/>
                  </a:lnTo>
                  <a:lnTo>
                    <a:pt x="3615468" y="2718390"/>
                  </a:lnTo>
                  <a:lnTo>
                    <a:pt x="3474245" y="2718390"/>
                  </a:lnTo>
                  <a:lnTo>
                    <a:pt x="3414736" y="2718390"/>
                  </a:lnTo>
                  <a:lnTo>
                    <a:pt x="3414736" y="2706716"/>
                  </a:lnTo>
                  <a:lnTo>
                    <a:pt x="3416258" y="2707731"/>
                  </a:lnTo>
                  <a:lnTo>
                    <a:pt x="3366012" y="2707731"/>
                  </a:lnTo>
                  <a:lnTo>
                    <a:pt x="3331499" y="2707731"/>
                  </a:lnTo>
                  <a:lnTo>
                    <a:pt x="3331499" y="2696439"/>
                  </a:lnTo>
                  <a:lnTo>
                    <a:pt x="3333022" y="2697580"/>
                  </a:lnTo>
                  <a:lnTo>
                    <a:pt x="3269706" y="2697580"/>
                  </a:lnTo>
                  <a:lnTo>
                    <a:pt x="3269706" y="2686414"/>
                  </a:lnTo>
                  <a:lnTo>
                    <a:pt x="3271228" y="2687430"/>
                  </a:lnTo>
                  <a:lnTo>
                    <a:pt x="3263362" y="2687430"/>
                  </a:lnTo>
                  <a:lnTo>
                    <a:pt x="3261458" y="2687430"/>
                  </a:lnTo>
                  <a:lnTo>
                    <a:pt x="3228976" y="2687430"/>
                  </a:lnTo>
                  <a:lnTo>
                    <a:pt x="3228976" y="2676898"/>
                  </a:lnTo>
                  <a:lnTo>
                    <a:pt x="3230498" y="2677913"/>
                  </a:lnTo>
                  <a:lnTo>
                    <a:pt x="3131909" y="2677913"/>
                  </a:lnTo>
                  <a:lnTo>
                    <a:pt x="2996522" y="2677913"/>
                  </a:lnTo>
                  <a:lnTo>
                    <a:pt x="2886639" y="2677913"/>
                  </a:lnTo>
                  <a:lnTo>
                    <a:pt x="2886639" y="2668016"/>
                  </a:lnTo>
                  <a:lnTo>
                    <a:pt x="2888162" y="2669158"/>
                  </a:lnTo>
                  <a:lnTo>
                    <a:pt x="2843625" y="2669158"/>
                  </a:lnTo>
                  <a:lnTo>
                    <a:pt x="2764322" y="2669158"/>
                  </a:lnTo>
                  <a:lnTo>
                    <a:pt x="2712045" y="2669158"/>
                  </a:lnTo>
                  <a:lnTo>
                    <a:pt x="2671442" y="2669158"/>
                  </a:lnTo>
                  <a:lnTo>
                    <a:pt x="2615359" y="2669158"/>
                  </a:lnTo>
                  <a:lnTo>
                    <a:pt x="2586302" y="2669158"/>
                  </a:lnTo>
                  <a:lnTo>
                    <a:pt x="2537959" y="2669158"/>
                  </a:lnTo>
                  <a:lnTo>
                    <a:pt x="2515119" y="2669158"/>
                  </a:lnTo>
                  <a:lnTo>
                    <a:pt x="2515119" y="2660784"/>
                  </a:lnTo>
                  <a:lnTo>
                    <a:pt x="2516642" y="2661926"/>
                  </a:lnTo>
                  <a:lnTo>
                    <a:pt x="2493803" y="2661926"/>
                  </a:lnTo>
                  <a:lnTo>
                    <a:pt x="2493803" y="2653551"/>
                  </a:lnTo>
                  <a:lnTo>
                    <a:pt x="2495325" y="2654566"/>
                  </a:lnTo>
                  <a:lnTo>
                    <a:pt x="2476419" y="2654566"/>
                  </a:lnTo>
                  <a:lnTo>
                    <a:pt x="2476419" y="2646319"/>
                  </a:lnTo>
                  <a:lnTo>
                    <a:pt x="2477942" y="2647461"/>
                  </a:lnTo>
                  <a:lnTo>
                    <a:pt x="2464873" y="2647461"/>
                  </a:lnTo>
                  <a:lnTo>
                    <a:pt x="2464873" y="2639086"/>
                  </a:lnTo>
                  <a:lnTo>
                    <a:pt x="2466395" y="2640101"/>
                  </a:lnTo>
                  <a:lnTo>
                    <a:pt x="2428076" y="2640101"/>
                  </a:lnTo>
                  <a:lnTo>
                    <a:pt x="2428076" y="2631854"/>
                  </a:lnTo>
                  <a:lnTo>
                    <a:pt x="2429599" y="2632996"/>
                  </a:lnTo>
                  <a:lnTo>
                    <a:pt x="2269089" y="2632996"/>
                  </a:lnTo>
                  <a:lnTo>
                    <a:pt x="2253990" y="2632996"/>
                  </a:lnTo>
                  <a:lnTo>
                    <a:pt x="2253990" y="2624748"/>
                  </a:lnTo>
                  <a:lnTo>
                    <a:pt x="2255512" y="2625890"/>
                  </a:lnTo>
                  <a:lnTo>
                    <a:pt x="2211483" y="2625890"/>
                  </a:lnTo>
                  <a:lnTo>
                    <a:pt x="2211483" y="2617643"/>
                  </a:lnTo>
                  <a:lnTo>
                    <a:pt x="2213006" y="2618785"/>
                  </a:lnTo>
                  <a:lnTo>
                    <a:pt x="2201713" y="2618785"/>
                  </a:lnTo>
                  <a:lnTo>
                    <a:pt x="2201713" y="2610537"/>
                  </a:lnTo>
                  <a:lnTo>
                    <a:pt x="2203236" y="2611679"/>
                  </a:lnTo>
                  <a:lnTo>
                    <a:pt x="2192070" y="2611679"/>
                  </a:lnTo>
                  <a:lnTo>
                    <a:pt x="2192070" y="2603432"/>
                  </a:lnTo>
                  <a:lnTo>
                    <a:pt x="2193592" y="2604574"/>
                  </a:lnTo>
                  <a:lnTo>
                    <a:pt x="2180142" y="2604574"/>
                  </a:lnTo>
                  <a:lnTo>
                    <a:pt x="2149563" y="2604574"/>
                  </a:lnTo>
                  <a:lnTo>
                    <a:pt x="2149563" y="2596453"/>
                  </a:lnTo>
                  <a:lnTo>
                    <a:pt x="2151086" y="2597595"/>
                  </a:lnTo>
                  <a:lnTo>
                    <a:pt x="2141823" y="2597595"/>
                  </a:lnTo>
                  <a:lnTo>
                    <a:pt x="2141823" y="2589474"/>
                  </a:lnTo>
                  <a:lnTo>
                    <a:pt x="2143346" y="2590616"/>
                  </a:lnTo>
                  <a:lnTo>
                    <a:pt x="2132180" y="2590616"/>
                  </a:lnTo>
                  <a:lnTo>
                    <a:pt x="2132180" y="2582622"/>
                  </a:lnTo>
                  <a:lnTo>
                    <a:pt x="2133702" y="2583764"/>
                  </a:lnTo>
                  <a:lnTo>
                    <a:pt x="2112893" y="2583764"/>
                  </a:lnTo>
                  <a:lnTo>
                    <a:pt x="2112893" y="2575644"/>
                  </a:lnTo>
                  <a:lnTo>
                    <a:pt x="2114416" y="2576786"/>
                  </a:lnTo>
                  <a:lnTo>
                    <a:pt x="2048562" y="2576786"/>
                  </a:lnTo>
                  <a:lnTo>
                    <a:pt x="2025723" y="2576786"/>
                  </a:lnTo>
                  <a:lnTo>
                    <a:pt x="2025723" y="2568792"/>
                  </a:lnTo>
                  <a:lnTo>
                    <a:pt x="2027245" y="2569934"/>
                  </a:lnTo>
                  <a:lnTo>
                    <a:pt x="2020013" y="2569934"/>
                  </a:lnTo>
                  <a:lnTo>
                    <a:pt x="2020013" y="2561940"/>
                  </a:lnTo>
                  <a:lnTo>
                    <a:pt x="2021536" y="2563082"/>
                  </a:lnTo>
                  <a:lnTo>
                    <a:pt x="1994763" y="2563082"/>
                  </a:lnTo>
                  <a:lnTo>
                    <a:pt x="1994763" y="2548363"/>
                  </a:lnTo>
                  <a:lnTo>
                    <a:pt x="1996286" y="2549505"/>
                  </a:lnTo>
                  <a:lnTo>
                    <a:pt x="1988926" y="2549505"/>
                  </a:lnTo>
                  <a:lnTo>
                    <a:pt x="1988926" y="2541512"/>
                  </a:lnTo>
                  <a:lnTo>
                    <a:pt x="1990449" y="2542654"/>
                  </a:lnTo>
                  <a:lnTo>
                    <a:pt x="1956063" y="2542654"/>
                  </a:lnTo>
                  <a:lnTo>
                    <a:pt x="1956063" y="2534660"/>
                  </a:lnTo>
                  <a:lnTo>
                    <a:pt x="1957586" y="2535802"/>
                  </a:lnTo>
                  <a:lnTo>
                    <a:pt x="1909623" y="2535802"/>
                  </a:lnTo>
                  <a:lnTo>
                    <a:pt x="1909623" y="2527935"/>
                  </a:lnTo>
                  <a:lnTo>
                    <a:pt x="1911146" y="2529077"/>
                  </a:lnTo>
                  <a:lnTo>
                    <a:pt x="1899599" y="2529077"/>
                  </a:lnTo>
                  <a:lnTo>
                    <a:pt x="1896173" y="2529077"/>
                  </a:lnTo>
                  <a:lnTo>
                    <a:pt x="1896173" y="2521210"/>
                  </a:lnTo>
                  <a:lnTo>
                    <a:pt x="1897696" y="2522352"/>
                  </a:lnTo>
                  <a:lnTo>
                    <a:pt x="1882596" y="2522352"/>
                  </a:lnTo>
                  <a:lnTo>
                    <a:pt x="1882596" y="2514612"/>
                  </a:lnTo>
                  <a:lnTo>
                    <a:pt x="1884119" y="2515754"/>
                  </a:lnTo>
                  <a:lnTo>
                    <a:pt x="1876379" y="2515754"/>
                  </a:lnTo>
                  <a:lnTo>
                    <a:pt x="1863183" y="2515754"/>
                  </a:lnTo>
                  <a:lnTo>
                    <a:pt x="1863183" y="2508141"/>
                  </a:lnTo>
                  <a:lnTo>
                    <a:pt x="1864706" y="2509283"/>
                  </a:lnTo>
                  <a:lnTo>
                    <a:pt x="1841993" y="2509283"/>
                  </a:lnTo>
                  <a:lnTo>
                    <a:pt x="1841993" y="2501670"/>
                  </a:lnTo>
                  <a:lnTo>
                    <a:pt x="1843516" y="2502812"/>
                  </a:lnTo>
                  <a:lnTo>
                    <a:pt x="1807100" y="2502812"/>
                  </a:lnTo>
                  <a:lnTo>
                    <a:pt x="1807100" y="2495072"/>
                  </a:lnTo>
                  <a:lnTo>
                    <a:pt x="1808622" y="2496214"/>
                  </a:lnTo>
                  <a:lnTo>
                    <a:pt x="1797456" y="2496214"/>
                  </a:lnTo>
                  <a:lnTo>
                    <a:pt x="1797456" y="2488727"/>
                  </a:lnTo>
                  <a:lnTo>
                    <a:pt x="1798979" y="2489742"/>
                  </a:lnTo>
                  <a:lnTo>
                    <a:pt x="1789716" y="2489742"/>
                  </a:lnTo>
                  <a:lnTo>
                    <a:pt x="1789716" y="2482129"/>
                  </a:lnTo>
                  <a:lnTo>
                    <a:pt x="1791239" y="2483271"/>
                  </a:lnTo>
                  <a:lnTo>
                    <a:pt x="1752920" y="2483271"/>
                  </a:lnTo>
                  <a:lnTo>
                    <a:pt x="1752920" y="2475658"/>
                  </a:lnTo>
                  <a:lnTo>
                    <a:pt x="1754442" y="2476673"/>
                  </a:lnTo>
                  <a:lnTo>
                    <a:pt x="1733252" y="2476673"/>
                  </a:lnTo>
                  <a:lnTo>
                    <a:pt x="1663593" y="2476673"/>
                  </a:lnTo>
                  <a:lnTo>
                    <a:pt x="1655853" y="2476673"/>
                  </a:lnTo>
                  <a:lnTo>
                    <a:pt x="1653949" y="2476673"/>
                  </a:lnTo>
                  <a:lnTo>
                    <a:pt x="1629080" y="2476673"/>
                  </a:lnTo>
                  <a:lnTo>
                    <a:pt x="1629080" y="2469441"/>
                  </a:lnTo>
                  <a:lnTo>
                    <a:pt x="1630729" y="2470583"/>
                  </a:lnTo>
                  <a:lnTo>
                    <a:pt x="1627176" y="2470583"/>
                  </a:lnTo>
                  <a:lnTo>
                    <a:pt x="1627176" y="2463223"/>
                  </a:lnTo>
                  <a:lnTo>
                    <a:pt x="1628699" y="2464365"/>
                  </a:lnTo>
                  <a:lnTo>
                    <a:pt x="1626796" y="2464365"/>
                  </a:lnTo>
                  <a:lnTo>
                    <a:pt x="1609412" y="2464365"/>
                  </a:lnTo>
                  <a:lnTo>
                    <a:pt x="1598247" y="2464365"/>
                  </a:lnTo>
                  <a:lnTo>
                    <a:pt x="1598247" y="2457260"/>
                  </a:lnTo>
                  <a:lnTo>
                    <a:pt x="1599769" y="2458402"/>
                  </a:lnTo>
                  <a:lnTo>
                    <a:pt x="1596343" y="2458402"/>
                  </a:lnTo>
                  <a:lnTo>
                    <a:pt x="1596343" y="2445206"/>
                  </a:lnTo>
                  <a:lnTo>
                    <a:pt x="1597866" y="2446348"/>
                  </a:lnTo>
                  <a:lnTo>
                    <a:pt x="1588223" y="2446348"/>
                  </a:lnTo>
                  <a:lnTo>
                    <a:pt x="1584670" y="2446348"/>
                  </a:lnTo>
                  <a:lnTo>
                    <a:pt x="1584670" y="2439242"/>
                  </a:lnTo>
                  <a:lnTo>
                    <a:pt x="1586192" y="2440384"/>
                  </a:lnTo>
                  <a:lnTo>
                    <a:pt x="1565256" y="2440384"/>
                  </a:lnTo>
                  <a:lnTo>
                    <a:pt x="1565256" y="2433405"/>
                  </a:lnTo>
                  <a:lnTo>
                    <a:pt x="1566779" y="2434547"/>
                  </a:lnTo>
                  <a:lnTo>
                    <a:pt x="1557136" y="2434547"/>
                  </a:lnTo>
                  <a:lnTo>
                    <a:pt x="1530490" y="2434547"/>
                  </a:lnTo>
                  <a:lnTo>
                    <a:pt x="1530490" y="2421859"/>
                  </a:lnTo>
                  <a:lnTo>
                    <a:pt x="1532012" y="2423001"/>
                  </a:lnTo>
                  <a:lnTo>
                    <a:pt x="1518816" y="2423001"/>
                  </a:lnTo>
                  <a:lnTo>
                    <a:pt x="1518816" y="2415895"/>
                  </a:lnTo>
                  <a:lnTo>
                    <a:pt x="1520339" y="2417037"/>
                  </a:lnTo>
                  <a:lnTo>
                    <a:pt x="1503463" y="2417037"/>
                  </a:lnTo>
                  <a:lnTo>
                    <a:pt x="1503463" y="2410185"/>
                  </a:lnTo>
                  <a:lnTo>
                    <a:pt x="1504986" y="2411327"/>
                  </a:lnTo>
                  <a:lnTo>
                    <a:pt x="1491917" y="2411327"/>
                  </a:lnTo>
                  <a:lnTo>
                    <a:pt x="1491917" y="2404349"/>
                  </a:lnTo>
                  <a:lnTo>
                    <a:pt x="1493439" y="2405491"/>
                  </a:lnTo>
                  <a:lnTo>
                    <a:pt x="1458927" y="2405491"/>
                  </a:lnTo>
                  <a:lnTo>
                    <a:pt x="1458927" y="2392675"/>
                  </a:lnTo>
                  <a:lnTo>
                    <a:pt x="1460449" y="2393817"/>
                  </a:lnTo>
                  <a:lnTo>
                    <a:pt x="1450806" y="2393817"/>
                  </a:lnTo>
                  <a:lnTo>
                    <a:pt x="1422130" y="2393817"/>
                  </a:lnTo>
                  <a:lnTo>
                    <a:pt x="1422130" y="2386965"/>
                  </a:lnTo>
                  <a:lnTo>
                    <a:pt x="1423653" y="2388107"/>
                  </a:lnTo>
                  <a:lnTo>
                    <a:pt x="1412487" y="2388107"/>
                  </a:lnTo>
                  <a:lnTo>
                    <a:pt x="1412487" y="2381256"/>
                  </a:lnTo>
                  <a:lnTo>
                    <a:pt x="1414009" y="2382271"/>
                  </a:lnTo>
                  <a:lnTo>
                    <a:pt x="1410203" y="2382271"/>
                  </a:lnTo>
                  <a:lnTo>
                    <a:pt x="1402463" y="2382271"/>
                  </a:lnTo>
                  <a:lnTo>
                    <a:pt x="1396626" y="2382271"/>
                  </a:lnTo>
                  <a:lnTo>
                    <a:pt x="1392819" y="2382271"/>
                  </a:lnTo>
                  <a:lnTo>
                    <a:pt x="1389393" y="2382271"/>
                  </a:lnTo>
                  <a:lnTo>
                    <a:pt x="1389393" y="2375673"/>
                  </a:lnTo>
                  <a:lnTo>
                    <a:pt x="1390916" y="2376815"/>
                  </a:lnTo>
                  <a:lnTo>
                    <a:pt x="1375690" y="2376815"/>
                  </a:lnTo>
                  <a:lnTo>
                    <a:pt x="1375690" y="2370216"/>
                  </a:lnTo>
                  <a:lnTo>
                    <a:pt x="1377212" y="2371359"/>
                  </a:lnTo>
                  <a:lnTo>
                    <a:pt x="1371883" y="2371359"/>
                  </a:lnTo>
                  <a:lnTo>
                    <a:pt x="1371883" y="2364633"/>
                  </a:lnTo>
                  <a:lnTo>
                    <a:pt x="1373406" y="2365776"/>
                  </a:lnTo>
                  <a:lnTo>
                    <a:pt x="1365666" y="2365776"/>
                  </a:lnTo>
                  <a:lnTo>
                    <a:pt x="1356403" y="2365776"/>
                  </a:lnTo>
                  <a:lnTo>
                    <a:pt x="1356403" y="2359304"/>
                  </a:lnTo>
                  <a:lnTo>
                    <a:pt x="1357926" y="2360319"/>
                  </a:lnTo>
                  <a:lnTo>
                    <a:pt x="1344857" y="2360319"/>
                  </a:lnTo>
                  <a:lnTo>
                    <a:pt x="1344857" y="2353848"/>
                  </a:lnTo>
                  <a:lnTo>
                    <a:pt x="1346379" y="2354990"/>
                  </a:lnTo>
                  <a:lnTo>
                    <a:pt x="1329250" y="2354990"/>
                  </a:lnTo>
                  <a:lnTo>
                    <a:pt x="1329250" y="2348392"/>
                  </a:lnTo>
                  <a:lnTo>
                    <a:pt x="1330773" y="2349534"/>
                  </a:lnTo>
                  <a:lnTo>
                    <a:pt x="1315419" y="2349534"/>
                  </a:lnTo>
                  <a:lnTo>
                    <a:pt x="1306157" y="2349534"/>
                  </a:lnTo>
                  <a:lnTo>
                    <a:pt x="1306157" y="2343063"/>
                  </a:lnTo>
                  <a:lnTo>
                    <a:pt x="1307679" y="2344078"/>
                  </a:lnTo>
                  <a:lnTo>
                    <a:pt x="1292453" y="2344078"/>
                  </a:lnTo>
                  <a:lnTo>
                    <a:pt x="1292453" y="2332278"/>
                  </a:lnTo>
                  <a:lnTo>
                    <a:pt x="1294103" y="2333420"/>
                  </a:lnTo>
                  <a:lnTo>
                    <a:pt x="1288647" y="2333420"/>
                  </a:lnTo>
                  <a:lnTo>
                    <a:pt x="1288647" y="2326822"/>
                  </a:lnTo>
                  <a:lnTo>
                    <a:pt x="1290169" y="2327964"/>
                  </a:lnTo>
                  <a:lnTo>
                    <a:pt x="1263523" y="2327964"/>
                  </a:lnTo>
                  <a:lnTo>
                    <a:pt x="1263523" y="2321493"/>
                  </a:lnTo>
                  <a:lnTo>
                    <a:pt x="1265046" y="2322634"/>
                  </a:lnTo>
                  <a:lnTo>
                    <a:pt x="1263143" y="2322634"/>
                  </a:lnTo>
                  <a:lnTo>
                    <a:pt x="1248170" y="2322634"/>
                  </a:lnTo>
                  <a:lnTo>
                    <a:pt x="1248170" y="2316163"/>
                  </a:lnTo>
                  <a:lnTo>
                    <a:pt x="1249693" y="2317179"/>
                  </a:lnTo>
                  <a:lnTo>
                    <a:pt x="1246140" y="2317179"/>
                  </a:lnTo>
                  <a:lnTo>
                    <a:pt x="1246140" y="2310834"/>
                  </a:lnTo>
                  <a:lnTo>
                    <a:pt x="1247663" y="2311976"/>
                  </a:lnTo>
                  <a:lnTo>
                    <a:pt x="1244110" y="2311976"/>
                  </a:lnTo>
                  <a:lnTo>
                    <a:pt x="1244110" y="2305505"/>
                  </a:lnTo>
                  <a:lnTo>
                    <a:pt x="1245759" y="2306647"/>
                  </a:lnTo>
                  <a:lnTo>
                    <a:pt x="1240303" y="2306647"/>
                  </a:lnTo>
                  <a:lnTo>
                    <a:pt x="1240303" y="2300176"/>
                  </a:lnTo>
                  <a:lnTo>
                    <a:pt x="1241826" y="2301318"/>
                  </a:lnTo>
                  <a:lnTo>
                    <a:pt x="1214799" y="2301318"/>
                  </a:lnTo>
                  <a:lnTo>
                    <a:pt x="1189930" y="2301318"/>
                  </a:lnTo>
                  <a:lnTo>
                    <a:pt x="1189930" y="2294847"/>
                  </a:lnTo>
                  <a:lnTo>
                    <a:pt x="1191452" y="2295989"/>
                  </a:lnTo>
                  <a:lnTo>
                    <a:pt x="1179906" y="2295989"/>
                  </a:lnTo>
                  <a:lnTo>
                    <a:pt x="1166837" y="2295989"/>
                  </a:lnTo>
                  <a:lnTo>
                    <a:pt x="1166837" y="2289644"/>
                  </a:lnTo>
                  <a:lnTo>
                    <a:pt x="1168359" y="2290660"/>
                  </a:lnTo>
                  <a:lnTo>
                    <a:pt x="1164934" y="2290660"/>
                  </a:lnTo>
                  <a:lnTo>
                    <a:pt x="1164934" y="2284315"/>
                  </a:lnTo>
                  <a:lnTo>
                    <a:pt x="1166456" y="2285457"/>
                  </a:lnTo>
                  <a:lnTo>
                    <a:pt x="1139683" y="2285457"/>
                  </a:lnTo>
                  <a:lnTo>
                    <a:pt x="1139683" y="2279113"/>
                  </a:lnTo>
                  <a:lnTo>
                    <a:pt x="1141206" y="2280255"/>
                  </a:lnTo>
                  <a:lnTo>
                    <a:pt x="1137780" y="2280255"/>
                  </a:lnTo>
                  <a:lnTo>
                    <a:pt x="1137780" y="2273911"/>
                  </a:lnTo>
                  <a:lnTo>
                    <a:pt x="1139303" y="2275053"/>
                  </a:lnTo>
                  <a:lnTo>
                    <a:pt x="1133847" y="2275053"/>
                  </a:lnTo>
                  <a:lnTo>
                    <a:pt x="1133847" y="2268581"/>
                  </a:lnTo>
                  <a:lnTo>
                    <a:pt x="1135369" y="2269723"/>
                  </a:lnTo>
                  <a:lnTo>
                    <a:pt x="1131943" y="2269723"/>
                  </a:lnTo>
                  <a:lnTo>
                    <a:pt x="1131943" y="2263379"/>
                  </a:lnTo>
                  <a:lnTo>
                    <a:pt x="1133466" y="2264521"/>
                  </a:lnTo>
                  <a:lnTo>
                    <a:pt x="1120016" y="2264521"/>
                  </a:lnTo>
                  <a:lnTo>
                    <a:pt x="1110753" y="2264521"/>
                  </a:lnTo>
                  <a:lnTo>
                    <a:pt x="1110753" y="2258177"/>
                  </a:lnTo>
                  <a:lnTo>
                    <a:pt x="1112276" y="2259319"/>
                  </a:lnTo>
                  <a:lnTo>
                    <a:pt x="1100730" y="2259319"/>
                  </a:lnTo>
                  <a:lnTo>
                    <a:pt x="1087407" y="2259319"/>
                  </a:lnTo>
                  <a:lnTo>
                    <a:pt x="1087407" y="2252975"/>
                  </a:lnTo>
                  <a:lnTo>
                    <a:pt x="1088929" y="2254117"/>
                  </a:lnTo>
                  <a:lnTo>
                    <a:pt x="1070150" y="2254117"/>
                  </a:lnTo>
                  <a:lnTo>
                    <a:pt x="1070150" y="2247899"/>
                  </a:lnTo>
                  <a:lnTo>
                    <a:pt x="1071673" y="2248914"/>
                  </a:lnTo>
                  <a:lnTo>
                    <a:pt x="1063933" y="2248914"/>
                  </a:lnTo>
                  <a:lnTo>
                    <a:pt x="1056573" y="2248914"/>
                  </a:lnTo>
                  <a:lnTo>
                    <a:pt x="1056573" y="2242697"/>
                  </a:lnTo>
                  <a:lnTo>
                    <a:pt x="1058096" y="2243839"/>
                  </a:lnTo>
                  <a:lnTo>
                    <a:pt x="1044519" y="2243839"/>
                  </a:lnTo>
                  <a:lnTo>
                    <a:pt x="1035257" y="2243839"/>
                  </a:lnTo>
                  <a:lnTo>
                    <a:pt x="1035257" y="2237621"/>
                  </a:lnTo>
                  <a:lnTo>
                    <a:pt x="1036779" y="2238763"/>
                  </a:lnTo>
                  <a:lnTo>
                    <a:pt x="1029420" y="2238763"/>
                  </a:lnTo>
                  <a:lnTo>
                    <a:pt x="1029420" y="2232546"/>
                  </a:lnTo>
                  <a:lnTo>
                    <a:pt x="1030943" y="2233688"/>
                  </a:lnTo>
                  <a:lnTo>
                    <a:pt x="1023710" y="2233688"/>
                  </a:lnTo>
                  <a:lnTo>
                    <a:pt x="1023710" y="2227344"/>
                  </a:lnTo>
                  <a:lnTo>
                    <a:pt x="1025233" y="2228486"/>
                  </a:lnTo>
                  <a:lnTo>
                    <a:pt x="1021680" y="2228486"/>
                  </a:lnTo>
                  <a:lnTo>
                    <a:pt x="1021680" y="2222395"/>
                  </a:lnTo>
                  <a:lnTo>
                    <a:pt x="1023203" y="2223537"/>
                  </a:lnTo>
                  <a:lnTo>
                    <a:pt x="1012037" y="2223537"/>
                  </a:lnTo>
                  <a:lnTo>
                    <a:pt x="1012037" y="2217193"/>
                  </a:lnTo>
                  <a:lnTo>
                    <a:pt x="1013559" y="2218335"/>
                  </a:lnTo>
                  <a:lnTo>
                    <a:pt x="994653" y="2218335"/>
                  </a:lnTo>
                  <a:lnTo>
                    <a:pt x="994653" y="2207042"/>
                  </a:lnTo>
                  <a:lnTo>
                    <a:pt x="996176" y="2208184"/>
                  </a:lnTo>
                  <a:lnTo>
                    <a:pt x="985010" y="2208184"/>
                  </a:lnTo>
                  <a:lnTo>
                    <a:pt x="985010" y="2201967"/>
                  </a:lnTo>
                  <a:lnTo>
                    <a:pt x="986533" y="2202982"/>
                  </a:lnTo>
                  <a:lnTo>
                    <a:pt x="984503" y="2202982"/>
                  </a:lnTo>
                  <a:lnTo>
                    <a:pt x="979173" y="2202982"/>
                  </a:lnTo>
                  <a:lnTo>
                    <a:pt x="979173" y="2196891"/>
                  </a:lnTo>
                  <a:lnTo>
                    <a:pt x="980696" y="2198033"/>
                  </a:lnTo>
                  <a:lnTo>
                    <a:pt x="973337" y="2198033"/>
                  </a:lnTo>
                  <a:lnTo>
                    <a:pt x="973337" y="2191816"/>
                  </a:lnTo>
                  <a:lnTo>
                    <a:pt x="974859" y="2192958"/>
                  </a:lnTo>
                  <a:lnTo>
                    <a:pt x="963693" y="2192958"/>
                  </a:lnTo>
                  <a:lnTo>
                    <a:pt x="963693" y="2186740"/>
                  </a:lnTo>
                  <a:lnTo>
                    <a:pt x="965216" y="2187882"/>
                  </a:lnTo>
                  <a:lnTo>
                    <a:pt x="957984" y="2187882"/>
                  </a:lnTo>
                  <a:lnTo>
                    <a:pt x="957984" y="2181792"/>
                  </a:lnTo>
                  <a:lnTo>
                    <a:pt x="959506" y="2182807"/>
                  </a:lnTo>
                  <a:lnTo>
                    <a:pt x="955953" y="2182807"/>
                  </a:lnTo>
                  <a:lnTo>
                    <a:pt x="955953" y="2176716"/>
                  </a:lnTo>
                  <a:lnTo>
                    <a:pt x="957476" y="2177859"/>
                  </a:lnTo>
                  <a:lnTo>
                    <a:pt x="932733" y="2177859"/>
                  </a:lnTo>
                  <a:lnTo>
                    <a:pt x="932733" y="2171514"/>
                  </a:lnTo>
                  <a:lnTo>
                    <a:pt x="934256" y="2172656"/>
                  </a:lnTo>
                  <a:lnTo>
                    <a:pt x="930830" y="2172656"/>
                  </a:lnTo>
                  <a:lnTo>
                    <a:pt x="930830" y="2166566"/>
                  </a:lnTo>
                  <a:lnTo>
                    <a:pt x="932353" y="2167581"/>
                  </a:lnTo>
                  <a:lnTo>
                    <a:pt x="917253" y="2167581"/>
                  </a:lnTo>
                  <a:lnTo>
                    <a:pt x="917253" y="2161490"/>
                  </a:lnTo>
                  <a:lnTo>
                    <a:pt x="918776" y="2162632"/>
                  </a:lnTo>
                  <a:lnTo>
                    <a:pt x="897840" y="2162632"/>
                  </a:lnTo>
                  <a:lnTo>
                    <a:pt x="897840" y="2156415"/>
                  </a:lnTo>
                  <a:lnTo>
                    <a:pt x="899363" y="2157557"/>
                  </a:lnTo>
                  <a:lnTo>
                    <a:pt x="894033" y="2157557"/>
                  </a:lnTo>
                  <a:lnTo>
                    <a:pt x="894033" y="2151339"/>
                  </a:lnTo>
                  <a:lnTo>
                    <a:pt x="895556" y="2152482"/>
                  </a:lnTo>
                  <a:lnTo>
                    <a:pt x="892130" y="2152482"/>
                  </a:lnTo>
                  <a:lnTo>
                    <a:pt x="892130" y="2141189"/>
                  </a:lnTo>
                  <a:lnTo>
                    <a:pt x="893653" y="2142331"/>
                  </a:lnTo>
                  <a:lnTo>
                    <a:pt x="884390" y="2142331"/>
                  </a:lnTo>
                  <a:lnTo>
                    <a:pt x="884390" y="2136113"/>
                  </a:lnTo>
                  <a:lnTo>
                    <a:pt x="885913" y="2137255"/>
                  </a:lnTo>
                  <a:lnTo>
                    <a:pt x="876650" y="2137255"/>
                  </a:lnTo>
                  <a:lnTo>
                    <a:pt x="876650" y="2131165"/>
                  </a:lnTo>
                  <a:lnTo>
                    <a:pt x="878173" y="2132307"/>
                  </a:lnTo>
                  <a:lnTo>
                    <a:pt x="857237" y="2132307"/>
                  </a:lnTo>
                  <a:lnTo>
                    <a:pt x="857237" y="2126089"/>
                  </a:lnTo>
                  <a:lnTo>
                    <a:pt x="858759" y="2127231"/>
                  </a:lnTo>
                  <a:lnTo>
                    <a:pt x="853430" y="2127231"/>
                  </a:lnTo>
                  <a:lnTo>
                    <a:pt x="853430" y="2115939"/>
                  </a:lnTo>
                  <a:lnTo>
                    <a:pt x="854953" y="2117080"/>
                  </a:lnTo>
                  <a:lnTo>
                    <a:pt x="849497" y="2117080"/>
                  </a:lnTo>
                  <a:lnTo>
                    <a:pt x="849497" y="2110863"/>
                  </a:lnTo>
                  <a:lnTo>
                    <a:pt x="851019" y="2112005"/>
                  </a:lnTo>
                  <a:lnTo>
                    <a:pt x="847593" y="2112005"/>
                  </a:lnTo>
                  <a:lnTo>
                    <a:pt x="847593" y="2105788"/>
                  </a:lnTo>
                  <a:lnTo>
                    <a:pt x="849116" y="2106930"/>
                  </a:lnTo>
                  <a:lnTo>
                    <a:pt x="841757" y="2106930"/>
                  </a:lnTo>
                  <a:lnTo>
                    <a:pt x="841757" y="2090561"/>
                  </a:lnTo>
                  <a:lnTo>
                    <a:pt x="843279" y="2091703"/>
                  </a:lnTo>
                  <a:lnTo>
                    <a:pt x="827926" y="2091703"/>
                  </a:lnTo>
                  <a:lnTo>
                    <a:pt x="825896" y="2091703"/>
                  </a:lnTo>
                  <a:lnTo>
                    <a:pt x="818664" y="2091703"/>
                  </a:lnTo>
                  <a:lnTo>
                    <a:pt x="818664" y="2085613"/>
                  </a:lnTo>
                  <a:lnTo>
                    <a:pt x="820186" y="2086755"/>
                  </a:lnTo>
                  <a:lnTo>
                    <a:pt x="814730" y="2086755"/>
                  </a:lnTo>
                  <a:lnTo>
                    <a:pt x="814730" y="2080664"/>
                  </a:lnTo>
                  <a:lnTo>
                    <a:pt x="816253" y="2081806"/>
                  </a:lnTo>
                  <a:lnTo>
                    <a:pt x="810924" y="2081806"/>
                  </a:lnTo>
                  <a:lnTo>
                    <a:pt x="810924" y="2075716"/>
                  </a:lnTo>
                  <a:lnTo>
                    <a:pt x="812446" y="2076858"/>
                  </a:lnTo>
                  <a:lnTo>
                    <a:pt x="804960" y="2076858"/>
                  </a:lnTo>
                  <a:lnTo>
                    <a:pt x="804960" y="2070767"/>
                  </a:lnTo>
                  <a:lnTo>
                    <a:pt x="806483" y="2071782"/>
                  </a:lnTo>
                  <a:lnTo>
                    <a:pt x="803057" y="2071782"/>
                  </a:lnTo>
                  <a:lnTo>
                    <a:pt x="803057" y="2065819"/>
                  </a:lnTo>
                  <a:lnTo>
                    <a:pt x="804579" y="2066834"/>
                  </a:lnTo>
                  <a:lnTo>
                    <a:pt x="799250" y="2066834"/>
                  </a:lnTo>
                  <a:lnTo>
                    <a:pt x="799250" y="2050973"/>
                  </a:lnTo>
                  <a:lnTo>
                    <a:pt x="800773" y="2051988"/>
                  </a:lnTo>
                  <a:lnTo>
                    <a:pt x="797347" y="2051988"/>
                  </a:lnTo>
                  <a:lnTo>
                    <a:pt x="797347" y="2041076"/>
                  </a:lnTo>
                  <a:lnTo>
                    <a:pt x="798869" y="2042218"/>
                  </a:lnTo>
                  <a:lnTo>
                    <a:pt x="795317" y="2042218"/>
                  </a:lnTo>
                  <a:lnTo>
                    <a:pt x="795317" y="2036128"/>
                  </a:lnTo>
                  <a:lnTo>
                    <a:pt x="796839" y="2037270"/>
                  </a:lnTo>
                  <a:lnTo>
                    <a:pt x="774127" y="2037270"/>
                  </a:lnTo>
                  <a:lnTo>
                    <a:pt x="774127" y="2031306"/>
                  </a:lnTo>
                  <a:lnTo>
                    <a:pt x="775650" y="2032448"/>
                  </a:lnTo>
                  <a:lnTo>
                    <a:pt x="772224" y="2032448"/>
                  </a:lnTo>
                  <a:lnTo>
                    <a:pt x="772224" y="2026484"/>
                  </a:lnTo>
                  <a:lnTo>
                    <a:pt x="773746" y="2027626"/>
                  </a:lnTo>
                  <a:lnTo>
                    <a:pt x="770320" y="2027626"/>
                  </a:lnTo>
                  <a:lnTo>
                    <a:pt x="770320" y="2016714"/>
                  </a:lnTo>
                  <a:lnTo>
                    <a:pt x="771843" y="2017856"/>
                  </a:lnTo>
                  <a:lnTo>
                    <a:pt x="766387" y="2017856"/>
                  </a:lnTo>
                  <a:lnTo>
                    <a:pt x="766387" y="2011893"/>
                  </a:lnTo>
                  <a:lnTo>
                    <a:pt x="767910" y="2013035"/>
                  </a:lnTo>
                  <a:lnTo>
                    <a:pt x="752810" y="2013035"/>
                  </a:lnTo>
                  <a:lnTo>
                    <a:pt x="752810" y="2007071"/>
                  </a:lnTo>
                  <a:lnTo>
                    <a:pt x="754333" y="2008086"/>
                  </a:lnTo>
                  <a:lnTo>
                    <a:pt x="745070" y="2008086"/>
                  </a:lnTo>
                  <a:lnTo>
                    <a:pt x="745070" y="2002122"/>
                  </a:lnTo>
                  <a:lnTo>
                    <a:pt x="746593" y="2003264"/>
                  </a:lnTo>
                  <a:lnTo>
                    <a:pt x="743167" y="2003264"/>
                  </a:lnTo>
                  <a:lnTo>
                    <a:pt x="743167" y="1997301"/>
                  </a:lnTo>
                  <a:lnTo>
                    <a:pt x="744690" y="1998443"/>
                  </a:lnTo>
                  <a:lnTo>
                    <a:pt x="735427" y="1998443"/>
                  </a:lnTo>
                  <a:lnTo>
                    <a:pt x="735427" y="1987531"/>
                  </a:lnTo>
                  <a:lnTo>
                    <a:pt x="736950" y="1988673"/>
                  </a:lnTo>
                  <a:lnTo>
                    <a:pt x="729590" y="1988673"/>
                  </a:lnTo>
                  <a:lnTo>
                    <a:pt x="729590" y="1972939"/>
                  </a:lnTo>
                  <a:lnTo>
                    <a:pt x="731113" y="1974081"/>
                  </a:lnTo>
                  <a:lnTo>
                    <a:pt x="721977" y="1974081"/>
                  </a:lnTo>
                  <a:lnTo>
                    <a:pt x="721977" y="1958347"/>
                  </a:lnTo>
                  <a:lnTo>
                    <a:pt x="723500" y="1959489"/>
                  </a:lnTo>
                  <a:lnTo>
                    <a:pt x="719947" y="1959489"/>
                  </a:lnTo>
                  <a:lnTo>
                    <a:pt x="719947" y="1953525"/>
                  </a:lnTo>
                  <a:lnTo>
                    <a:pt x="721469" y="1954667"/>
                  </a:lnTo>
                  <a:lnTo>
                    <a:pt x="718044" y="1954667"/>
                  </a:lnTo>
                  <a:lnTo>
                    <a:pt x="718044" y="1948704"/>
                  </a:lnTo>
                  <a:lnTo>
                    <a:pt x="719566" y="1949846"/>
                  </a:lnTo>
                  <a:lnTo>
                    <a:pt x="716140" y="1949846"/>
                  </a:lnTo>
                  <a:lnTo>
                    <a:pt x="716140" y="1938807"/>
                  </a:lnTo>
                  <a:lnTo>
                    <a:pt x="717663" y="1939949"/>
                  </a:lnTo>
                  <a:lnTo>
                    <a:pt x="712207" y="1939949"/>
                  </a:lnTo>
                  <a:lnTo>
                    <a:pt x="712207" y="1929163"/>
                  </a:lnTo>
                  <a:lnTo>
                    <a:pt x="713729" y="1930305"/>
                  </a:lnTo>
                  <a:lnTo>
                    <a:pt x="704467" y="1930305"/>
                  </a:lnTo>
                  <a:lnTo>
                    <a:pt x="704467" y="1924342"/>
                  </a:lnTo>
                  <a:lnTo>
                    <a:pt x="705989" y="1925357"/>
                  </a:lnTo>
                  <a:lnTo>
                    <a:pt x="698630" y="1925357"/>
                  </a:lnTo>
                  <a:lnTo>
                    <a:pt x="698630" y="1919393"/>
                  </a:lnTo>
                  <a:lnTo>
                    <a:pt x="700153" y="1920535"/>
                  </a:lnTo>
                  <a:lnTo>
                    <a:pt x="696727" y="1920535"/>
                  </a:lnTo>
                  <a:lnTo>
                    <a:pt x="696727" y="1914572"/>
                  </a:lnTo>
                  <a:lnTo>
                    <a:pt x="698249" y="1915714"/>
                  </a:lnTo>
                  <a:lnTo>
                    <a:pt x="692793" y="1915714"/>
                  </a:lnTo>
                  <a:lnTo>
                    <a:pt x="692793" y="1904928"/>
                  </a:lnTo>
                  <a:lnTo>
                    <a:pt x="694316" y="1905943"/>
                  </a:lnTo>
                  <a:lnTo>
                    <a:pt x="690890" y="1905943"/>
                  </a:lnTo>
                  <a:lnTo>
                    <a:pt x="690890" y="1899980"/>
                  </a:lnTo>
                  <a:lnTo>
                    <a:pt x="692413" y="1901122"/>
                  </a:lnTo>
                  <a:lnTo>
                    <a:pt x="685180" y="1901122"/>
                  </a:lnTo>
                  <a:lnTo>
                    <a:pt x="685180" y="1895031"/>
                  </a:lnTo>
                  <a:lnTo>
                    <a:pt x="686703" y="1896173"/>
                  </a:lnTo>
                  <a:lnTo>
                    <a:pt x="679344" y="1896173"/>
                  </a:lnTo>
                  <a:lnTo>
                    <a:pt x="679344" y="1890209"/>
                  </a:lnTo>
                  <a:lnTo>
                    <a:pt x="680866" y="1891352"/>
                  </a:lnTo>
                  <a:lnTo>
                    <a:pt x="673507" y="1891352"/>
                  </a:lnTo>
                  <a:lnTo>
                    <a:pt x="673507" y="1885388"/>
                  </a:lnTo>
                  <a:lnTo>
                    <a:pt x="675030" y="1886530"/>
                  </a:lnTo>
                  <a:lnTo>
                    <a:pt x="669700" y="1886530"/>
                  </a:lnTo>
                  <a:lnTo>
                    <a:pt x="669700" y="1880439"/>
                  </a:lnTo>
                  <a:lnTo>
                    <a:pt x="671223" y="1881581"/>
                  </a:lnTo>
                  <a:lnTo>
                    <a:pt x="663737" y="1881581"/>
                  </a:lnTo>
                  <a:lnTo>
                    <a:pt x="663737" y="1875618"/>
                  </a:lnTo>
                  <a:lnTo>
                    <a:pt x="665259" y="1876760"/>
                  </a:lnTo>
                  <a:lnTo>
                    <a:pt x="659930" y="1876760"/>
                  </a:lnTo>
                  <a:lnTo>
                    <a:pt x="659930" y="1865975"/>
                  </a:lnTo>
                  <a:lnTo>
                    <a:pt x="661453" y="1866990"/>
                  </a:lnTo>
                  <a:lnTo>
                    <a:pt x="658027" y="1866990"/>
                  </a:lnTo>
                  <a:lnTo>
                    <a:pt x="658027" y="1861026"/>
                  </a:lnTo>
                  <a:lnTo>
                    <a:pt x="659550" y="1862168"/>
                  </a:lnTo>
                  <a:lnTo>
                    <a:pt x="656124" y="1862168"/>
                  </a:lnTo>
                  <a:lnTo>
                    <a:pt x="656124" y="1851383"/>
                  </a:lnTo>
                  <a:lnTo>
                    <a:pt x="657646" y="1852525"/>
                  </a:lnTo>
                  <a:lnTo>
                    <a:pt x="654093" y="1852525"/>
                  </a:lnTo>
                  <a:lnTo>
                    <a:pt x="654093" y="1846561"/>
                  </a:lnTo>
                  <a:lnTo>
                    <a:pt x="655616" y="1847576"/>
                  </a:lnTo>
                  <a:lnTo>
                    <a:pt x="646480" y="1847576"/>
                  </a:lnTo>
                  <a:lnTo>
                    <a:pt x="646480" y="1841613"/>
                  </a:lnTo>
                  <a:lnTo>
                    <a:pt x="648003" y="1842628"/>
                  </a:lnTo>
                  <a:lnTo>
                    <a:pt x="640644" y="1842628"/>
                  </a:lnTo>
                  <a:lnTo>
                    <a:pt x="640644" y="1836664"/>
                  </a:lnTo>
                  <a:lnTo>
                    <a:pt x="642166" y="1837806"/>
                  </a:lnTo>
                  <a:lnTo>
                    <a:pt x="636710" y="1837806"/>
                  </a:lnTo>
                  <a:lnTo>
                    <a:pt x="636710" y="1831842"/>
                  </a:lnTo>
                  <a:lnTo>
                    <a:pt x="638233" y="1832984"/>
                  </a:lnTo>
                  <a:lnTo>
                    <a:pt x="634426" y="1832984"/>
                  </a:lnTo>
                  <a:lnTo>
                    <a:pt x="629097" y="1832984"/>
                  </a:lnTo>
                  <a:lnTo>
                    <a:pt x="629097" y="1827021"/>
                  </a:lnTo>
                  <a:lnTo>
                    <a:pt x="630620" y="1828163"/>
                  </a:lnTo>
                  <a:lnTo>
                    <a:pt x="627067" y="1828163"/>
                  </a:lnTo>
                  <a:lnTo>
                    <a:pt x="627067" y="1822072"/>
                  </a:lnTo>
                  <a:lnTo>
                    <a:pt x="628590" y="1823214"/>
                  </a:lnTo>
                  <a:lnTo>
                    <a:pt x="625164" y="1823214"/>
                  </a:lnTo>
                  <a:lnTo>
                    <a:pt x="625164" y="1817377"/>
                  </a:lnTo>
                  <a:lnTo>
                    <a:pt x="626686" y="1818519"/>
                  </a:lnTo>
                  <a:lnTo>
                    <a:pt x="619454" y="1818519"/>
                  </a:lnTo>
                  <a:lnTo>
                    <a:pt x="619454" y="1812556"/>
                  </a:lnTo>
                  <a:lnTo>
                    <a:pt x="620976" y="1813698"/>
                  </a:lnTo>
                  <a:lnTo>
                    <a:pt x="617297" y="1813698"/>
                  </a:lnTo>
                  <a:lnTo>
                    <a:pt x="617297" y="1807607"/>
                  </a:lnTo>
                  <a:lnTo>
                    <a:pt x="618946" y="1808749"/>
                  </a:lnTo>
                  <a:lnTo>
                    <a:pt x="609684" y="1808749"/>
                  </a:lnTo>
                  <a:lnTo>
                    <a:pt x="609684" y="1797964"/>
                  </a:lnTo>
                  <a:lnTo>
                    <a:pt x="611206" y="1799106"/>
                  </a:lnTo>
                  <a:lnTo>
                    <a:pt x="607653" y="1799106"/>
                  </a:lnTo>
                  <a:lnTo>
                    <a:pt x="607653" y="1793142"/>
                  </a:lnTo>
                  <a:lnTo>
                    <a:pt x="609176" y="1794157"/>
                  </a:lnTo>
                  <a:lnTo>
                    <a:pt x="605750" y="1794157"/>
                  </a:lnTo>
                  <a:lnTo>
                    <a:pt x="605750" y="1788194"/>
                  </a:lnTo>
                  <a:lnTo>
                    <a:pt x="607273" y="1789336"/>
                  </a:lnTo>
                  <a:lnTo>
                    <a:pt x="598010" y="1789336"/>
                  </a:lnTo>
                  <a:lnTo>
                    <a:pt x="598010" y="1778677"/>
                  </a:lnTo>
                  <a:lnTo>
                    <a:pt x="599533" y="1779693"/>
                  </a:lnTo>
                  <a:lnTo>
                    <a:pt x="594204" y="1779693"/>
                  </a:lnTo>
                  <a:lnTo>
                    <a:pt x="594204" y="1768907"/>
                  </a:lnTo>
                  <a:lnTo>
                    <a:pt x="595726" y="1770049"/>
                  </a:lnTo>
                  <a:lnTo>
                    <a:pt x="590397" y="1770049"/>
                  </a:lnTo>
                  <a:lnTo>
                    <a:pt x="590397" y="1764086"/>
                  </a:lnTo>
                  <a:lnTo>
                    <a:pt x="591920" y="1765228"/>
                  </a:lnTo>
                  <a:lnTo>
                    <a:pt x="588367" y="1765228"/>
                  </a:lnTo>
                  <a:lnTo>
                    <a:pt x="588367" y="1759137"/>
                  </a:lnTo>
                  <a:lnTo>
                    <a:pt x="589890" y="1760279"/>
                  </a:lnTo>
                  <a:lnTo>
                    <a:pt x="582657" y="1760279"/>
                  </a:lnTo>
                  <a:lnTo>
                    <a:pt x="582657" y="1749621"/>
                  </a:lnTo>
                  <a:lnTo>
                    <a:pt x="584180" y="1750636"/>
                  </a:lnTo>
                  <a:lnTo>
                    <a:pt x="573014" y="1750636"/>
                  </a:lnTo>
                  <a:lnTo>
                    <a:pt x="573014" y="1744672"/>
                  </a:lnTo>
                  <a:lnTo>
                    <a:pt x="574536" y="1745814"/>
                  </a:lnTo>
                  <a:lnTo>
                    <a:pt x="568953" y="1745814"/>
                  </a:lnTo>
                  <a:lnTo>
                    <a:pt x="568953" y="1739977"/>
                  </a:lnTo>
                  <a:lnTo>
                    <a:pt x="570603" y="1741119"/>
                  </a:lnTo>
                  <a:lnTo>
                    <a:pt x="564766" y="1741119"/>
                  </a:lnTo>
                  <a:lnTo>
                    <a:pt x="561213" y="1741119"/>
                  </a:lnTo>
                  <a:lnTo>
                    <a:pt x="561213" y="1725639"/>
                  </a:lnTo>
                  <a:lnTo>
                    <a:pt x="562736" y="1726654"/>
                  </a:lnTo>
                  <a:lnTo>
                    <a:pt x="559310" y="1726654"/>
                  </a:lnTo>
                  <a:lnTo>
                    <a:pt x="559310" y="1720818"/>
                  </a:lnTo>
                  <a:lnTo>
                    <a:pt x="560833" y="1721960"/>
                  </a:lnTo>
                  <a:lnTo>
                    <a:pt x="557407" y="1721960"/>
                  </a:lnTo>
                  <a:lnTo>
                    <a:pt x="557407" y="1711174"/>
                  </a:lnTo>
                  <a:lnTo>
                    <a:pt x="558930" y="1712317"/>
                  </a:lnTo>
                  <a:lnTo>
                    <a:pt x="543957" y="1712317"/>
                  </a:lnTo>
                  <a:lnTo>
                    <a:pt x="543957" y="1706480"/>
                  </a:lnTo>
                  <a:lnTo>
                    <a:pt x="545480" y="1707495"/>
                  </a:lnTo>
                  <a:lnTo>
                    <a:pt x="541927" y="1707495"/>
                  </a:lnTo>
                  <a:lnTo>
                    <a:pt x="541927" y="1701658"/>
                  </a:lnTo>
                  <a:lnTo>
                    <a:pt x="543450" y="1702800"/>
                  </a:lnTo>
                  <a:lnTo>
                    <a:pt x="540024" y="1702800"/>
                  </a:lnTo>
                  <a:lnTo>
                    <a:pt x="540024" y="1696963"/>
                  </a:lnTo>
                  <a:lnTo>
                    <a:pt x="541546" y="1697978"/>
                  </a:lnTo>
                  <a:lnTo>
                    <a:pt x="536217" y="1697978"/>
                  </a:lnTo>
                  <a:lnTo>
                    <a:pt x="536217" y="1692015"/>
                  </a:lnTo>
                  <a:lnTo>
                    <a:pt x="537740" y="1693157"/>
                  </a:lnTo>
                  <a:lnTo>
                    <a:pt x="534314" y="1693157"/>
                  </a:lnTo>
                  <a:lnTo>
                    <a:pt x="534314" y="1682498"/>
                  </a:lnTo>
                  <a:lnTo>
                    <a:pt x="535836" y="1683640"/>
                  </a:lnTo>
                  <a:lnTo>
                    <a:pt x="532284" y="1683640"/>
                  </a:lnTo>
                  <a:lnTo>
                    <a:pt x="532284" y="1668160"/>
                  </a:lnTo>
                  <a:lnTo>
                    <a:pt x="533806" y="1669302"/>
                  </a:lnTo>
                  <a:lnTo>
                    <a:pt x="528477" y="1669302"/>
                  </a:lnTo>
                  <a:lnTo>
                    <a:pt x="528477" y="1663339"/>
                  </a:lnTo>
                  <a:lnTo>
                    <a:pt x="530000" y="1664481"/>
                  </a:lnTo>
                  <a:lnTo>
                    <a:pt x="526574" y="1664481"/>
                  </a:lnTo>
                  <a:lnTo>
                    <a:pt x="526574" y="1658644"/>
                  </a:lnTo>
                  <a:lnTo>
                    <a:pt x="528096" y="1659786"/>
                  </a:lnTo>
                  <a:lnTo>
                    <a:pt x="516804" y="1659786"/>
                  </a:lnTo>
                  <a:lnTo>
                    <a:pt x="516804" y="1653822"/>
                  </a:lnTo>
                  <a:lnTo>
                    <a:pt x="518326" y="1654838"/>
                  </a:lnTo>
                  <a:lnTo>
                    <a:pt x="510967" y="1654838"/>
                  </a:lnTo>
                  <a:lnTo>
                    <a:pt x="510967" y="1649001"/>
                  </a:lnTo>
                  <a:lnTo>
                    <a:pt x="512490" y="1650143"/>
                  </a:lnTo>
                  <a:lnTo>
                    <a:pt x="509064" y="1650143"/>
                  </a:lnTo>
                  <a:lnTo>
                    <a:pt x="509064" y="1644306"/>
                  </a:lnTo>
                  <a:lnTo>
                    <a:pt x="510586" y="1645321"/>
                  </a:lnTo>
                  <a:lnTo>
                    <a:pt x="507160" y="1645321"/>
                  </a:lnTo>
                  <a:lnTo>
                    <a:pt x="507160" y="1634663"/>
                  </a:lnTo>
                  <a:lnTo>
                    <a:pt x="508683" y="1635805"/>
                  </a:lnTo>
                  <a:lnTo>
                    <a:pt x="501324" y="1635805"/>
                  </a:lnTo>
                  <a:lnTo>
                    <a:pt x="501324" y="1625146"/>
                  </a:lnTo>
                  <a:lnTo>
                    <a:pt x="502846" y="1626161"/>
                  </a:lnTo>
                  <a:lnTo>
                    <a:pt x="495487" y="1626161"/>
                  </a:lnTo>
                  <a:lnTo>
                    <a:pt x="495487" y="1620325"/>
                  </a:lnTo>
                  <a:lnTo>
                    <a:pt x="497010" y="1621467"/>
                  </a:lnTo>
                  <a:lnTo>
                    <a:pt x="489777" y="1621467"/>
                  </a:lnTo>
                  <a:lnTo>
                    <a:pt x="489777" y="1601165"/>
                  </a:lnTo>
                  <a:lnTo>
                    <a:pt x="491300" y="1602307"/>
                  </a:lnTo>
                  <a:lnTo>
                    <a:pt x="487874" y="1602307"/>
                  </a:lnTo>
                  <a:lnTo>
                    <a:pt x="487874" y="1596343"/>
                  </a:lnTo>
                  <a:lnTo>
                    <a:pt x="489396" y="1597485"/>
                  </a:lnTo>
                  <a:lnTo>
                    <a:pt x="485844" y="1597485"/>
                  </a:lnTo>
                  <a:lnTo>
                    <a:pt x="485844" y="1586827"/>
                  </a:lnTo>
                  <a:lnTo>
                    <a:pt x="487366" y="1587969"/>
                  </a:lnTo>
                  <a:lnTo>
                    <a:pt x="483940" y="1587969"/>
                  </a:lnTo>
                  <a:lnTo>
                    <a:pt x="483940" y="1582005"/>
                  </a:lnTo>
                  <a:lnTo>
                    <a:pt x="485463" y="1583147"/>
                  </a:lnTo>
                  <a:lnTo>
                    <a:pt x="482037" y="1583147"/>
                  </a:lnTo>
                  <a:lnTo>
                    <a:pt x="482037" y="1572489"/>
                  </a:lnTo>
                  <a:lnTo>
                    <a:pt x="483560" y="1573504"/>
                  </a:lnTo>
                  <a:lnTo>
                    <a:pt x="480134" y="1573504"/>
                  </a:lnTo>
                  <a:lnTo>
                    <a:pt x="480134" y="1567667"/>
                  </a:lnTo>
                  <a:lnTo>
                    <a:pt x="481656" y="1568809"/>
                  </a:lnTo>
                  <a:lnTo>
                    <a:pt x="478230" y="1568809"/>
                  </a:lnTo>
                  <a:lnTo>
                    <a:pt x="478230" y="1562846"/>
                  </a:lnTo>
                  <a:lnTo>
                    <a:pt x="479753" y="1563988"/>
                  </a:lnTo>
                  <a:lnTo>
                    <a:pt x="476200" y="1563988"/>
                  </a:lnTo>
                  <a:lnTo>
                    <a:pt x="476200" y="1543813"/>
                  </a:lnTo>
                  <a:lnTo>
                    <a:pt x="477723" y="1544955"/>
                  </a:lnTo>
                  <a:lnTo>
                    <a:pt x="474297" y="1544955"/>
                  </a:lnTo>
                  <a:lnTo>
                    <a:pt x="474297" y="1534296"/>
                  </a:lnTo>
                  <a:lnTo>
                    <a:pt x="475820" y="1535312"/>
                  </a:lnTo>
                  <a:lnTo>
                    <a:pt x="472267" y="1535312"/>
                  </a:lnTo>
                  <a:lnTo>
                    <a:pt x="472267" y="1529475"/>
                  </a:lnTo>
                  <a:lnTo>
                    <a:pt x="473916" y="1530617"/>
                  </a:lnTo>
                  <a:lnTo>
                    <a:pt x="470364" y="1530617"/>
                  </a:lnTo>
                  <a:lnTo>
                    <a:pt x="470364" y="1519958"/>
                  </a:lnTo>
                  <a:lnTo>
                    <a:pt x="471886" y="1521100"/>
                  </a:lnTo>
                  <a:lnTo>
                    <a:pt x="468460" y="1521100"/>
                  </a:lnTo>
                  <a:lnTo>
                    <a:pt x="468460" y="1515137"/>
                  </a:lnTo>
                  <a:lnTo>
                    <a:pt x="469983" y="1516279"/>
                  </a:lnTo>
                  <a:lnTo>
                    <a:pt x="466430" y="1516279"/>
                  </a:lnTo>
                  <a:lnTo>
                    <a:pt x="466430" y="1500926"/>
                  </a:lnTo>
                  <a:lnTo>
                    <a:pt x="467953" y="1502068"/>
                  </a:lnTo>
                  <a:lnTo>
                    <a:pt x="464527" y="1502068"/>
                  </a:lnTo>
                  <a:lnTo>
                    <a:pt x="464527" y="1496104"/>
                  </a:lnTo>
                  <a:lnTo>
                    <a:pt x="466050" y="1497246"/>
                  </a:lnTo>
                  <a:lnTo>
                    <a:pt x="462624" y="1497246"/>
                  </a:lnTo>
                  <a:lnTo>
                    <a:pt x="462624" y="1486588"/>
                  </a:lnTo>
                  <a:lnTo>
                    <a:pt x="464146" y="1487730"/>
                  </a:lnTo>
                  <a:lnTo>
                    <a:pt x="454884" y="1487730"/>
                  </a:lnTo>
                  <a:lnTo>
                    <a:pt x="454884" y="1477071"/>
                  </a:lnTo>
                  <a:lnTo>
                    <a:pt x="456406" y="1478213"/>
                  </a:lnTo>
                  <a:lnTo>
                    <a:pt x="452980" y="1478213"/>
                  </a:lnTo>
                  <a:lnTo>
                    <a:pt x="452980" y="1472250"/>
                  </a:lnTo>
                  <a:lnTo>
                    <a:pt x="454503" y="1473392"/>
                  </a:lnTo>
                  <a:lnTo>
                    <a:pt x="449047" y="1473392"/>
                  </a:lnTo>
                  <a:lnTo>
                    <a:pt x="449047" y="1462733"/>
                  </a:lnTo>
                  <a:lnTo>
                    <a:pt x="450570" y="1463875"/>
                  </a:lnTo>
                  <a:lnTo>
                    <a:pt x="447144" y="1463875"/>
                  </a:lnTo>
                  <a:lnTo>
                    <a:pt x="447144" y="1457912"/>
                  </a:lnTo>
                  <a:lnTo>
                    <a:pt x="448666" y="1459053"/>
                  </a:lnTo>
                  <a:lnTo>
                    <a:pt x="439404" y="1459053"/>
                  </a:lnTo>
                  <a:lnTo>
                    <a:pt x="439404" y="1453217"/>
                  </a:lnTo>
                  <a:lnTo>
                    <a:pt x="440926" y="1454359"/>
                  </a:lnTo>
                  <a:lnTo>
                    <a:pt x="437500" y="1454359"/>
                  </a:lnTo>
                  <a:lnTo>
                    <a:pt x="437500" y="1443700"/>
                  </a:lnTo>
                  <a:lnTo>
                    <a:pt x="439023" y="1444842"/>
                  </a:lnTo>
                  <a:lnTo>
                    <a:pt x="435597" y="1444842"/>
                  </a:lnTo>
                  <a:lnTo>
                    <a:pt x="435597" y="1424668"/>
                  </a:lnTo>
                  <a:lnTo>
                    <a:pt x="437120" y="1425683"/>
                  </a:lnTo>
                  <a:lnTo>
                    <a:pt x="433694" y="1425683"/>
                  </a:lnTo>
                  <a:lnTo>
                    <a:pt x="433694" y="1419846"/>
                  </a:lnTo>
                  <a:lnTo>
                    <a:pt x="435216" y="1420988"/>
                  </a:lnTo>
                  <a:lnTo>
                    <a:pt x="431790" y="1420988"/>
                  </a:lnTo>
                  <a:lnTo>
                    <a:pt x="431790" y="1415024"/>
                  </a:lnTo>
                  <a:lnTo>
                    <a:pt x="433313" y="1416166"/>
                  </a:lnTo>
                  <a:lnTo>
                    <a:pt x="427857" y="1416166"/>
                  </a:lnTo>
                  <a:lnTo>
                    <a:pt x="427857" y="1410203"/>
                  </a:lnTo>
                  <a:lnTo>
                    <a:pt x="429380" y="1411345"/>
                  </a:lnTo>
                  <a:lnTo>
                    <a:pt x="425954" y="1411345"/>
                  </a:lnTo>
                  <a:lnTo>
                    <a:pt x="425954" y="1405508"/>
                  </a:lnTo>
                  <a:lnTo>
                    <a:pt x="427476" y="1406650"/>
                  </a:lnTo>
                  <a:lnTo>
                    <a:pt x="419990" y="1406650"/>
                  </a:lnTo>
                  <a:lnTo>
                    <a:pt x="419990" y="1400686"/>
                  </a:lnTo>
                  <a:lnTo>
                    <a:pt x="421513" y="1401828"/>
                  </a:lnTo>
                  <a:lnTo>
                    <a:pt x="416184" y="1401828"/>
                  </a:lnTo>
                  <a:lnTo>
                    <a:pt x="416184" y="1391170"/>
                  </a:lnTo>
                  <a:lnTo>
                    <a:pt x="417706" y="1392312"/>
                  </a:lnTo>
                  <a:lnTo>
                    <a:pt x="414280" y="1392312"/>
                  </a:lnTo>
                  <a:lnTo>
                    <a:pt x="414280" y="1386475"/>
                  </a:lnTo>
                  <a:lnTo>
                    <a:pt x="415803" y="1387490"/>
                  </a:lnTo>
                  <a:lnTo>
                    <a:pt x="408444" y="1387490"/>
                  </a:lnTo>
                  <a:lnTo>
                    <a:pt x="408444" y="1376832"/>
                  </a:lnTo>
                  <a:lnTo>
                    <a:pt x="409966" y="1377974"/>
                  </a:lnTo>
                  <a:lnTo>
                    <a:pt x="406540" y="1377974"/>
                  </a:lnTo>
                  <a:lnTo>
                    <a:pt x="406540" y="1372137"/>
                  </a:lnTo>
                  <a:lnTo>
                    <a:pt x="408063" y="1373279"/>
                  </a:lnTo>
                  <a:lnTo>
                    <a:pt x="404637" y="1373279"/>
                  </a:lnTo>
                  <a:lnTo>
                    <a:pt x="404637" y="1353104"/>
                  </a:lnTo>
                  <a:lnTo>
                    <a:pt x="406160" y="1354246"/>
                  </a:lnTo>
                  <a:lnTo>
                    <a:pt x="400704" y="1354246"/>
                  </a:lnTo>
                  <a:lnTo>
                    <a:pt x="400704" y="1348283"/>
                  </a:lnTo>
                  <a:lnTo>
                    <a:pt x="402226" y="1349425"/>
                  </a:lnTo>
                  <a:lnTo>
                    <a:pt x="398800" y="1349425"/>
                  </a:lnTo>
                  <a:lnTo>
                    <a:pt x="398800" y="1334072"/>
                  </a:lnTo>
                  <a:lnTo>
                    <a:pt x="400323" y="1335214"/>
                  </a:lnTo>
                  <a:lnTo>
                    <a:pt x="396897" y="1335214"/>
                  </a:lnTo>
                  <a:lnTo>
                    <a:pt x="396897" y="1324555"/>
                  </a:lnTo>
                  <a:lnTo>
                    <a:pt x="398420" y="1325697"/>
                  </a:lnTo>
                  <a:lnTo>
                    <a:pt x="396516" y="1325697"/>
                  </a:lnTo>
                  <a:lnTo>
                    <a:pt x="393091" y="1325697"/>
                  </a:lnTo>
                  <a:lnTo>
                    <a:pt x="393091" y="1319860"/>
                  </a:lnTo>
                  <a:lnTo>
                    <a:pt x="394613" y="1321002"/>
                  </a:lnTo>
                  <a:lnTo>
                    <a:pt x="389157" y="1321002"/>
                  </a:lnTo>
                  <a:lnTo>
                    <a:pt x="389157" y="1315039"/>
                  </a:lnTo>
                  <a:lnTo>
                    <a:pt x="390680" y="1316181"/>
                  </a:lnTo>
                  <a:lnTo>
                    <a:pt x="387254" y="1316181"/>
                  </a:lnTo>
                  <a:lnTo>
                    <a:pt x="387254" y="1305649"/>
                  </a:lnTo>
                  <a:lnTo>
                    <a:pt x="388776" y="1306791"/>
                  </a:lnTo>
                  <a:lnTo>
                    <a:pt x="385351" y="1306791"/>
                  </a:lnTo>
                  <a:lnTo>
                    <a:pt x="385351" y="1286616"/>
                  </a:lnTo>
                  <a:lnTo>
                    <a:pt x="386873" y="1287758"/>
                  </a:lnTo>
                  <a:lnTo>
                    <a:pt x="383320" y="1287758"/>
                  </a:lnTo>
                  <a:lnTo>
                    <a:pt x="383320" y="1281922"/>
                  </a:lnTo>
                  <a:lnTo>
                    <a:pt x="384843" y="1283064"/>
                  </a:lnTo>
                  <a:lnTo>
                    <a:pt x="381417" y="1283064"/>
                  </a:lnTo>
                  <a:lnTo>
                    <a:pt x="381417" y="1272405"/>
                  </a:lnTo>
                  <a:lnTo>
                    <a:pt x="382940" y="1273547"/>
                  </a:lnTo>
                  <a:lnTo>
                    <a:pt x="379514" y="1273547"/>
                  </a:lnTo>
                  <a:lnTo>
                    <a:pt x="379514" y="1263016"/>
                  </a:lnTo>
                  <a:lnTo>
                    <a:pt x="381036" y="1264031"/>
                  </a:lnTo>
                  <a:lnTo>
                    <a:pt x="377610" y="1264031"/>
                  </a:lnTo>
                  <a:lnTo>
                    <a:pt x="377610" y="1253499"/>
                  </a:lnTo>
                  <a:lnTo>
                    <a:pt x="379133" y="1254515"/>
                  </a:lnTo>
                  <a:lnTo>
                    <a:pt x="375580" y="1254515"/>
                  </a:lnTo>
                  <a:lnTo>
                    <a:pt x="375580" y="1243983"/>
                  </a:lnTo>
                  <a:lnTo>
                    <a:pt x="377103" y="1245125"/>
                  </a:lnTo>
                  <a:lnTo>
                    <a:pt x="373550" y="1245125"/>
                  </a:lnTo>
                  <a:lnTo>
                    <a:pt x="373550" y="1234467"/>
                  </a:lnTo>
                  <a:lnTo>
                    <a:pt x="375073" y="1235609"/>
                  </a:lnTo>
                  <a:lnTo>
                    <a:pt x="371647" y="1235609"/>
                  </a:lnTo>
                  <a:lnTo>
                    <a:pt x="371647" y="1220255"/>
                  </a:lnTo>
                  <a:lnTo>
                    <a:pt x="373170" y="1221397"/>
                  </a:lnTo>
                  <a:lnTo>
                    <a:pt x="369744" y="1221397"/>
                  </a:lnTo>
                  <a:lnTo>
                    <a:pt x="369744" y="1210739"/>
                  </a:lnTo>
                  <a:lnTo>
                    <a:pt x="371266" y="1211881"/>
                  </a:lnTo>
                  <a:lnTo>
                    <a:pt x="367840" y="1211881"/>
                  </a:lnTo>
                  <a:lnTo>
                    <a:pt x="367840" y="1201350"/>
                  </a:lnTo>
                  <a:lnTo>
                    <a:pt x="369363" y="1202491"/>
                  </a:lnTo>
                  <a:lnTo>
                    <a:pt x="365937" y="1202491"/>
                  </a:lnTo>
                  <a:lnTo>
                    <a:pt x="365937" y="1187012"/>
                  </a:lnTo>
                  <a:lnTo>
                    <a:pt x="367460" y="1188153"/>
                  </a:lnTo>
                  <a:lnTo>
                    <a:pt x="363907" y="1188153"/>
                  </a:lnTo>
                  <a:lnTo>
                    <a:pt x="363907" y="1177622"/>
                  </a:lnTo>
                  <a:lnTo>
                    <a:pt x="365430" y="1178764"/>
                  </a:lnTo>
                  <a:lnTo>
                    <a:pt x="362004" y="1178764"/>
                  </a:lnTo>
                  <a:lnTo>
                    <a:pt x="362004" y="1172800"/>
                  </a:lnTo>
                  <a:lnTo>
                    <a:pt x="363526" y="1173942"/>
                  </a:lnTo>
                  <a:lnTo>
                    <a:pt x="358197" y="1173942"/>
                  </a:lnTo>
                  <a:lnTo>
                    <a:pt x="358197" y="1168106"/>
                  </a:lnTo>
                  <a:lnTo>
                    <a:pt x="359720" y="1169248"/>
                  </a:lnTo>
                  <a:lnTo>
                    <a:pt x="356294" y="1169248"/>
                  </a:lnTo>
                  <a:lnTo>
                    <a:pt x="356294" y="1139683"/>
                  </a:lnTo>
                  <a:lnTo>
                    <a:pt x="357816" y="1140825"/>
                  </a:lnTo>
                  <a:lnTo>
                    <a:pt x="354264" y="1140825"/>
                  </a:lnTo>
                  <a:lnTo>
                    <a:pt x="354264" y="1130167"/>
                  </a:lnTo>
                  <a:lnTo>
                    <a:pt x="355786" y="1131309"/>
                  </a:lnTo>
                  <a:lnTo>
                    <a:pt x="350457" y="1131309"/>
                  </a:lnTo>
                  <a:lnTo>
                    <a:pt x="350457" y="1125472"/>
                  </a:lnTo>
                  <a:lnTo>
                    <a:pt x="351980" y="1126487"/>
                  </a:lnTo>
                  <a:lnTo>
                    <a:pt x="348554" y="1126487"/>
                  </a:lnTo>
                  <a:lnTo>
                    <a:pt x="348554" y="1120651"/>
                  </a:lnTo>
                  <a:lnTo>
                    <a:pt x="350076" y="1121793"/>
                  </a:lnTo>
                  <a:lnTo>
                    <a:pt x="346651" y="1121793"/>
                  </a:lnTo>
                  <a:lnTo>
                    <a:pt x="346651" y="1115956"/>
                  </a:lnTo>
                  <a:lnTo>
                    <a:pt x="348173" y="1117098"/>
                  </a:lnTo>
                  <a:lnTo>
                    <a:pt x="344620" y="1117098"/>
                  </a:lnTo>
                  <a:lnTo>
                    <a:pt x="344620" y="1106439"/>
                  </a:lnTo>
                  <a:lnTo>
                    <a:pt x="346143" y="1107581"/>
                  </a:lnTo>
                  <a:lnTo>
                    <a:pt x="342717" y="1107581"/>
                  </a:lnTo>
                  <a:lnTo>
                    <a:pt x="342717" y="1101745"/>
                  </a:lnTo>
                  <a:lnTo>
                    <a:pt x="344240" y="1102760"/>
                  </a:lnTo>
                  <a:lnTo>
                    <a:pt x="340814" y="1102760"/>
                  </a:lnTo>
                  <a:lnTo>
                    <a:pt x="340814" y="1097050"/>
                  </a:lnTo>
                  <a:lnTo>
                    <a:pt x="342336" y="1098192"/>
                  </a:lnTo>
                  <a:lnTo>
                    <a:pt x="338911" y="1098192"/>
                  </a:lnTo>
                  <a:lnTo>
                    <a:pt x="338911" y="1092228"/>
                  </a:lnTo>
                  <a:lnTo>
                    <a:pt x="340433" y="1093370"/>
                  </a:lnTo>
                  <a:lnTo>
                    <a:pt x="337007" y="1093370"/>
                  </a:lnTo>
                  <a:lnTo>
                    <a:pt x="337007" y="1087660"/>
                  </a:lnTo>
                  <a:lnTo>
                    <a:pt x="338530" y="1088676"/>
                  </a:lnTo>
                  <a:lnTo>
                    <a:pt x="334977" y="1088676"/>
                  </a:lnTo>
                  <a:lnTo>
                    <a:pt x="334977" y="1082839"/>
                  </a:lnTo>
                  <a:lnTo>
                    <a:pt x="336500" y="1083981"/>
                  </a:lnTo>
                  <a:lnTo>
                    <a:pt x="331170" y="1083981"/>
                  </a:lnTo>
                  <a:lnTo>
                    <a:pt x="331170" y="1078017"/>
                  </a:lnTo>
                  <a:lnTo>
                    <a:pt x="332693" y="1079159"/>
                  </a:lnTo>
                  <a:lnTo>
                    <a:pt x="329267" y="1079159"/>
                  </a:lnTo>
                  <a:lnTo>
                    <a:pt x="329267" y="1073449"/>
                  </a:lnTo>
                  <a:lnTo>
                    <a:pt x="330790" y="1074591"/>
                  </a:lnTo>
                  <a:lnTo>
                    <a:pt x="327237" y="1074591"/>
                  </a:lnTo>
                  <a:lnTo>
                    <a:pt x="327237" y="1063933"/>
                  </a:lnTo>
                  <a:lnTo>
                    <a:pt x="328760" y="1064948"/>
                  </a:lnTo>
                  <a:lnTo>
                    <a:pt x="325207" y="1064948"/>
                  </a:lnTo>
                  <a:lnTo>
                    <a:pt x="325207" y="1030816"/>
                  </a:lnTo>
                  <a:lnTo>
                    <a:pt x="326730" y="1031958"/>
                  </a:lnTo>
                  <a:lnTo>
                    <a:pt x="323304" y="1031958"/>
                  </a:lnTo>
                  <a:lnTo>
                    <a:pt x="323304" y="1021426"/>
                  </a:lnTo>
                  <a:lnTo>
                    <a:pt x="324826" y="1022568"/>
                  </a:lnTo>
                  <a:lnTo>
                    <a:pt x="321400" y="1022568"/>
                  </a:lnTo>
                  <a:lnTo>
                    <a:pt x="321400" y="1011910"/>
                  </a:lnTo>
                  <a:lnTo>
                    <a:pt x="322923" y="1013052"/>
                  </a:lnTo>
                  <a:lnTo>
                    <a:pt x="319497" y="1013052"/>
                  </a:lnTo>
                  <a:lnTo>
                    <a:pt x="319497" y="1007215"/>
                  </a:lnTo>
                  <a:lnTo>
                    <a:pt x="321020" y="1008357"/>
                  </a:lnTo>
                  <a:lnTo>
                    <a:pt x="317467" y="1008357"/>
                  </a:lnTo>
                  <a:lnTo>
                    <a:pt x="317467" y="993004"/>
                  </a:lnTo>
                  <a:lnTo>
                    <a:pt x="318990" y="994146"/>
                  </a:lnTo>
                  <a:lnTo>
                    <a:pt x="315564" y="994146"/>
                  </a:lnTo>
                  <a:lnTo>
                    <a:pt x="315564" y="974098"/>
                  </a:lnTo>
                  <a:lnTo>
                    <a:pt x="317086" y="975240"/>
                  </a:lnTo>
                  <a:lnTo>
                    <a:pt x="313660" y="975240"/>
                  </a:lnTo>
                  <a:lnTo>
                    <a:pt x="313660" y="969403"/>
                  </a:lnTo>
                  <a:lnTo>
                    <a:pt x="315183" y="970545"/>
                  </a:lnTo>
                  <a:lnTo>
                    <a:pt x="311757" y="970545"/>
                  </a:lnTo>
                  <a:lnTo>
                    <a:pt x="311757" y="955319"/>
                  </a:lnTo>
                  <a:lnTo>
                    <a:pt x="313280" y="956461"/>
                  </a:lnTo>
                  <a:lnTo>
                    <a:pt x="309854" y="956461"/>
                  </a:lnTo>
                  <a:lnTo>
                    <a:pt x="309854" y="945803"/>
                  </a:lnTo>
                  <a:lnTo>
                    <a:pt x="311376" y="946945"/>
                  </a:lnTo>
                  <a:lnTo>
                    <a:pt x="307824" y="946945"/>
                  </a:lnTo>
                  <a:lnTo>
                    <a:pt x="307824" y="936413"/>
                  </a:lnTo>
                  <a:lnTo>
                    <a:pt x="309346" y="937555"/>
                  </a:lnTo>
                  <a:lnTo>
                    <a:pt x="305920" y="937555"/>
                  </a:lnTo>
                  <a:lnTo>
                    <a:pt x="305920" y="917634"/>
                  </a:lnTo>
                  <a:lnTo>
                    <a:pt x="307443" y="918776"/>
                  </a:lnTo>
                  <a:lnTo>
                    <a:pt x="300211" y="918776"/>
                  </a:lnTo>
                  <a:lnTo>
                    <a:pt x="300211" y="912939"/>
                  </a:lnTo>
                  <a:lnTo>
                    <a:pt x="301733" y="914081"/>
                  </a:lnTo>
                  <a:lnTo>
                    <a:pt x="298180" y="914081"/>
                  </a:lnTo>
                  <a:lnTo>
                    <a:pt x="298180" y="908245"/>
                  </a:lnTo>
                  <a:lnTo>
                    <a:pt x="299703" y="909387"/>
                  </a:lnTo>
                  <a:lnTo>
                    <a:pt x="296277" y="909387"/>
                  </a:lnTo>
                  <a:lnTo>
                    <a:pt x="296277" y="903550"/>
                  </a:lnTo>
                  <a:lnTo>
                    <a:pt x="297800" y="904692"/>
                  </a:lnTo>
                  <a:lnTo>
                    <a:pt x="294374" y="904692"/>
                  </a:lnTo>
                  <a:lnTo>
                    <a:pt x="294374" y="898855"/>
                  </a:lnTo>
                  <a:lnTo>
                    <a:pt x="295896" y="899997"/>
                  </a:lnTo>
                  <a:lnTo>
                    <a:pt x="292471" y="899997"/>
                  </a:lnTo>
                  <a:lnTo>
                    <a:pt x="292471" y="889466"/>
                  </a:lnTo>
                  <a:lnTo>
                    <a:pt x="293993" y="890608"/>
                  </a:lnTo>
                  <a:lnTo>
                    <a:pt x="292090" y="890608"/>
                  </a:lnTo>
                  <a:lnTo>
                    <a:pt x="286634" y="890608"/>
                  </a:lnTo>
                  <a:lnTo>
                    <a:pt x="286634" y="884771"/>
                  </a:lnTo>
                  <a:lnTo>
                    <a:pt x="288156" y="885913"/>
                  </a:lnTo>
                  <a:lnTo>
                    <a:pt x="284731" y="885913"/>
                  </a:lnTo>
                  <a:lnTo>
                    <a:pt x="284731" y="870687"/>
                  </a:lnTo>
                  <a:lnTo>
                    <a:pt x="286253" y="871829"/>
                  </a:lnTo>
                  <a:lnTo>
                    <a:pt x="282827" y="871829"/>
                  </a:lnTo>
                  <a:lnTo>
                    <a:pt x="282827" y="861297"/>
                  </a:lnTo>
                  <a:lnTo>
                    <a:pt x="284350" y="862439"/>
                  </a:lnTo>
                  <a:lnTo>
                    <a:pt x="278767" y="862439"/>
                  </a:lnTo>
                  <a:lnTo>
                    <a:pt x="278767" y="856729"/>
                  </a:lnTo>
                  <a:lnTo>
                    <a:pt x="280290" y="857744"/>
                  </a:lnTo>
                  <a:lnTo>
                    <a:pt x="274960" y="857744"/>
                  </a:lnTo>
                  <a:lnTo>
                    <a:pt x="274960" y="847340"/>
                  </a:lnTo>
                  <a:lnTo>
                    <a:pt x="276483" y="848482"/>
                  </a:lnTo>
                  <a:lnTo>
                    <a:pt x="273057" y="848482"/>
                  </a:lnTo>
                  <a:lnTo>
                    <a:pt x="273057" y="842518"/>
                  </a:lnTo>
                  <a:lnTo>
                    <a:pt x="274580" y="843660"/>
                  </a:lnTo>
                  <a:lnTo>
                    <a:pt x="271154" y="843660"/>
                  </a:lnTo>
                  <a:lnTo>
                    <a:pt x="271154" y="837950"/>
                  </a:lnTo>
                  <a:lnTo>
                    <a:pt x="272676" y="838965"/>
                  </a:lnTo>
                  <a:lnTo>
                    <a:pt x="269124" y="838965"/>
                  </a:lnTo>
                  <a:lnTo>
                    <a:pt x="269124" y="833255"/>
                  </a:lnTo>
                  <a:lnTo>
                    <a:pt x="270646" y="834397"/>
                  </a:lnTo>
                  <a:lnTo>
                    <a:pt x="267220" y="834397"/>
                  </a:lnTo>
                  <a:lnTo>
                    <a:pt x="267220" y="823866"/>
                  </a:lnTo>
                  <a:lnTo>
                    <a:pt x="268743" y="825008"/>
                  </a:lnTo>
                  <a:lnTo>
                    <a:pt x="265317" y="825008"/>
                  </a:lnTo>
                  <a:lnTo>
                    <a:pt x="265317" y="809782"/>
                  </a:lnTo>
                  <a:lnTo>
                    <a:pt x="266840" y="810924"/>
                  </a:lnTo>
                  <a:lnTo>
                    <a:pt x="263414" y="810924"/>
                  </a:lnTo>
                  <a:lnTo>
                    <a:pt x="263414" y="805087"/>
                  </a:lnTo>
                  <a:lnTo>
                    <a:pt x="264936" y="806229"/>
                  </a:lnTo>
                  <a:lnTo>
                    <a:pt x="261510" y="806229"/>
                  </a:lnTo>
                  <a:lnTo>
                    <a:pt x="261510" y="791130"/>
                  </a:lnTo>
                  <a:lnTo>
                    <a:pt x="263033" y="792272"/>
                  </a:lnTo>
                  <a:lnTo>
                    <a:pt x="259480" y="792272"/>
                  </a:lnTo>
                  <a:lnTo>
                    <a:pt x="259480" y="781740"/>
                  </a:lnTo>
                  <a:lnTo>
                    <a:pt x="261003" y="782755"/>
                  </a:lnTo>
                  <a:lnTo>
                    <a:pt x="257577" y="782755"/>
                  </a:lnTo>
                  <a:lnTo>
                    <a:pt x="257577" y="772351"/>
                  </a:lnTo>
                  <a:lnTo>
                    <a:pt x="259100" y="773492"/>
                  </a:lnTo>
                  <a:lnTo>
                    <a:pt x="255674" y="773492"/>
                  </a:lnTo>
                  <a:lnTo>
                    <a:pt x="255674" y="753698"/>
                  </a:lnTo>
                  <a:lnTo>
                    <a:pt x="257196" y="754840"/>
                  </a:lnTo>
                  <a:lnTo>
                    <a:pt x="251740" y="754840"/>
                  </a:lnTo>
                  <a:lnTo>
                    <a:pt x="251740" y="735046"/>
                  </a:lnTo>
                  <a:lnTo>
                    <a:pt x="253263" y="736061"/>
                  </a:lnTo>
                  <a:lnTo>
                    <a:pt x="249837" y="736061"/>
                  </a:lnTo>
                  <a:lnTo>
                    <a:pt x="249837" y="730352"/>
                  </a:lnTo>
                  <a:lnTo>
                    <a:pt x="251360" y="731493"/>
                  </a:lnTo>
                  <a:lnTo>
                    <a:pt x="247934" y="731493"/>
                  </a:lnTo>
                  <a:lnTo>
                    <a:pt x="247934" y="711573"/>
                  </a:lnTo>
                  <a:lnTo>
                    <a:pt x="249456" y="712714"/>
                  </a:lnTo>
                  <a:lnTo>
                    <a:pt x="246031" y="712714"/>
                  </a:lnTo>
                  <a:lnTo>
                    <a:pt x="246031" y="697615"/>
                  </a:lnTo>
                  <a:lnTo>
                    <a:pt x="247553" y="698630"/>
                  </a:lnTo>
                  <a:lnTo>
                    <a:pt x="244127" y="698630"/>
                  </a:lnTo>
                  <a:lnTo>
                    <a:pt x="244127" y="678836"/>
                  </a:lnTo>
                  <a:lnTo>
                    <a:pt x="245650" y="679978"/>
                  </a:lnTo>
                  <a:lnTo>
                    <a:pt x="242097" y="679978"/>
                  </a:lnTo>
                  <a:lnTo>
                    <a:pt x="242097" y="674268"/>
                  </a:lnTo>
                  <a:lnTo>
                    <a:pt x="243620" y="675283"/>
                  </a:lnTo>
                  <a:lnTo>
                    <a:pt x="240194" y="675283"/>
                  </a:lnTo>
                  <a:lnTo>
                    <a:pt x="240194" y="660184"/>
                  </a:lnTo>
                  <a:lnTo>
                    <a:pt x="241716" y="661326"/>
                  </a:lnTo>
                  <a:lnTo>
                    <a:pt x="238290" y="661326"/>
                  </a:lnTo>
                  <a:lnTo>
                    <a:pt x="238290" y="655489"/>
                  </a:lnTo>
                  <a:lnTo>
                    <a:pt x="239813" y="656631"/>
                  </a:lnTo>
                  <a:lnTo>
                    <a:pt x="236387" y="656631"/>
                  </a:lnTo>
                  <a:lnTo>
                    <a:pt x="236387" y="646227"/>
                  </a:lnTo>
                  <a:lnTo>
                    <a:pt x="237910" y="647369"/>
                  </a:lnTo>
                  <a:lnTo>
                    <a:pt x="234484" y="647369"/>
                  </a:lnTo>
                  <a:lnTo>
                    <a:pt x="234484" y="636837"/>
                  </a:lnTo>
                  <a:lnTo>
                    <a:pt x="236007" y="637979"/>
                  </a:lnTo>
                  <a:lnTo>
                    <a:pt x="232327" y="637979"/>
                  </a:lnTo>
                  <a:lnTo>
                    <a:pt x="232327" y="627574"/>
                  </a:lnTo>
                  <a:lnTo>
                    <a:pt x="233976" y="628716"/>
                  </a:lnTo>
                  <a:lnTo>
                    <a:pt x="230424" y="628716"/>
                  </a:lnTo>
                  <a:lnTo>
                    <a:pt x="230424" y="622880"/>
                  </a:lnTo>
                  <a:lnTo>
                    <a:pt x="231946" y="624022"/>
                  </a:lnTo>
                  <a:lnTo>
                    <a:pt x="228520" y="624022"/>
                  </a:lnTo>
                  <a:lnTo>
                    <a:pt x="228520" y="618312"/>
                  </a:lnTo>
                  <a:lnTo>
                    <a:pt x="230043" y="619454"/>
                  </a:lnTo>
                  <a:lnTo>
                    <a:pt x="226236" y="619454"/>
                  </a:lnTo>
                  <a:lnTo>
                    <a:pt x="222684" y="619454"/>
                  </a:lnTo>
                  <a:lnTo>
                    <a:pt x="222684" y="609049"/>
                  </a:lnTo>
                  <a:lnTo>
                    <a:pt x="224206" y="610191"/>
                  </a:lnTo>
                  <a:lnTo>
                    <a:pt x="220780" y="610191"/>
                  </a:lnTo>
                  <a:lnTo>
                    <a:pt x="220780" y="599787"/>
                  </a:lnTo>
                  <a:lnTo>
                    <a:pt x="222303" y="600929"/>
                  </a:lnTo>
                  <a:lnTo>
                    <a:pt x="216974" y="600929"/>
                  </a:lnTo>
                  <a:lnTo>
                    <a:pt x="216974" y="590524"/>
                  </a:lnTo>
                  <a:lnTo>
                    <a:pt x="218496" y="591666"/>
                  </a:lnTo>
                  <a:lnTo>
                    <a:pt x="215070" y="591666"/>
                  </a:lnTo>
                  <a:lnTo>
                    <a:pt x="215070" y="585956"/>
                  </a:lnTo>
                  <a:lnTo>
                    <a:pt x="216593" y="587098"/>
                  </a:lnTo>
                  <a:lnTo>
                    <a:pt x="211137" y="587098"/>
                  </a:lnTo>
                  <a:lnTo>
                    <a:pt x="211137" y="581261"/>
                  </a:lnTo>
                  <a:lnTo>
                    <a:pt x="212660" y="582403"/>
                  </a:lnTo>
                  <a:lnTo>
                    <a:pt x="209234" y="582403"/>
                  </a:lnTo>
                  <a:lnTo>
                    <a:pt x="209234" y="576693"/>
                  </a:lnTo>
                  <a:lnTo>
                    <a:pt x="210756" y="577835"/>
                  </a:lnTo>
                  <a:lnTo>
                    <a:pt x="207331" y="577835"/>
                  </a:lnTo>
                  <a:lnTo>
                    <a:pt x="207331" y="567431"/>
                  </a:lnTo>
                  <a:lnTo>
                    <a:pt x="208853" y="568446"/>
                  </a:lnTo>
                  <a:lnTo>
                    <a:pt x="205427" y="568446"/>
                  </a:lnTo>
                  <a:lnTo>
                    <a:pt x="205427" y="562863"/>
                  </a:lnTo>
                  <a:lnTo>
                    <a:pt x="206950" y="563878"/>
                  </a:lnTo>
                  <a:lnTo>
                    <a:pt x="203397" y="563878"/>
                  </a:lnTo>
                  <a:lnTo>
                    <a:pt x="203397" y="553600"/>
                  </a:lnTo>
                  <a:lnTo>
                    <a:pt x="204920" y="554742"/>
                  </a:lnTo>
                  <a:lnTo>
                    <a:pt x="201494" y="554742"/>
                  </a:lnTo>
                  <a:lnTo>
                    <a:pt x="201494" y="544338"/>
                  </a:lnTo>
                  <a:lnTo>
                    <a:pt x="203016" y="545480"/>
                  </a:lnTo>
                  <a:lnTo>
                    <a:pt x="197687" y="545480"/>
                  </a:lnTo>
                  <a:lnTo>
                    <a:pt x="197687" y="535075"/>
                  </a:lnTo>
                  <a:lnTo>
                    <a:pt x="199210" y="536217"/>
                  </a:lnTo>
                  <a:lnTo>
                    <a:pt x="195784" y="536217"/>
                  </a:lnTo>
                  <a:lnTo>
                    <a:pt x="195784" y="530380"/>
                  </a:lnTo>
                  <a:lnTo>
                    <a:pt x="197307" y="531522"/>
                  </a:lnTo>
                  <a:lnTo>
                    <a:pt x="193754" y="531522"/>
                  </a:lnTo>
                  <a:lnTo>
                    <a:pt x="193754" y="525812"/>
                  </a:lnTo>
                  <a:lnTo>
                    <a:pt x="195276" y="526954"/>
                  </a:lnTo>
                  <a:lnTo>
                    <a:pt x="191851" y="526954"/>
                  </a:lnTo>
                  <a:lnTo>
                    <a:pt x="191851" y="516550"/>
                  </a:lnTo>
                  <a:lnTo>
                    <a:pt x="193373" y="517692"/>
                  </a:lnTo>
                  <a:lnTo>
                    <a:pt x="189947" y="517692"/>
                  </a:lnTo>
                  <a:lnTo>
                    <a:pt x="189947" y="498152"/>
                  </a:lnTo>
                  <a:lnTo>
                    <a:pt x="191470" y="499167"/>
                  </a:lnTo>
                  <a:lnTo>
                    <a:pt x="188044" y="499167"/>
                  </a:lnTo>
                  <a:lnTo>
                    <a:pt x="188044" y="493457"/>
                  </a:lnTo>
                  <a:lnTo>
                    <a:pt x="189567" y="494599"/>
                  </a:lnTo>
                  <a:lnTo>
                    <a:pt x="186014" y="494599"/>
                  </a:lnTo>
                  <a:lnTo>
                    <a:pt x="186014" y="484321"/>
                  </a:lnTo>
                  <a:lnTo>
                    <a:pt x="187536" y="485336"/>
                  </a:lnTo>
                  <a:lnTo>
                    <a:pt x="182080" y="485336"/>
                  </a:lnTo>
                  <a:lnTo>
                    <a:pt x="182080" y="470491"/>
                  </a:lnTo>
                  <a:lnTo>
                    <a:pt x="183603" y="471632"/>
                  </a:lnTo>
                  <a:lnTo>
                    <a:pt x="180177" y="471632"/>
                  </a:lnTo>
                  <a:lnTo>
                    <a:pt x="180177" y="465923"/>
                  </a:lnTo>
                  <a:lnTo>
                    <a:pt x="181700" y="466938"/>
                  </a:lnTo>
                  <a:lnTo>
                    <a:pt x="176244" y="466938"/>
                  </a:lnTo>
                  <a:lnTo>
                    <a:pt x="176244" y="461355"/>
                  </a:lnTo>
                  <a:lnTo>
                    <a:pt x="177766" y="462370"/>
                  </a:lnTo>
                  <a:lnTo>
                    <a:pt x="174340" y="462370"/>
                  </a:lnTo>
                  <a:lnTo>
                    <a:pt x="174340" y="442956"/>
                  </a:lnTo>
                  <a:lnTo>
                    <a:pt x="175863" y="443972"/>
                  </a:lnTo>
                  <a:lnTo>
                    <a:pt x="172437" y="443972"/>
                  </a:lnTo>
                  <a:lnTo>
                    <a:pt x="172437" y="433694"/>
                  </a:lnTo>
                  <a:lnTo>
                    <a:pt x="173960" y="434836"/>
                  </a:lnTo>
                  <a:lnTo>
                    <a:pt x="170534" y="434836"/>
                  </a:lnTo>
                  <a:lnTo>
                    <a:pt x="170534" y="424558"/>
                  </a:lnTo>
                  <a:lnTo>
                    <a:pt x="172056" y="425573"/>
                  </a:lnTo>
                  <a:lnTo>
                    <a:pt x="168631" y="425573"/>
                  </a:lnTo>
                  <a:lnTo>
                    <a:pt x="168631" y="415295"/>
                  </a:lnTo>
                  <a:lnTo>
                    <a:pt x="170153" y="416437"/>
                  </a:lnTo>
                  <a:lnTo>
                    <a:pt x="166600" y="416437"/>
                  </a:lnTo>
                  <a:lnTo>
                    <a:pt x="166600" y="406160"/>
                  </a:lnTo>
                  <a:lnTo>
                    <a:pt x="168123" y="407175"/>
                  </a:lnTo>
                  <a:lnTo>
                    <a:pt x="164697" y="407175"/>
                  </a:lnTo>
                  <a:lnTo>
                    <a:pt x="164697" y="387761"/>
                  </a:lnTo>
                  <a:lnTo>
                    <a:pt x="166220" y="388776"/>
                  </a:lnTo>
                  <a:lnTo>
                    <a:pt x="162794" y="388776"/>
                  </a:lnTo>
                  <a:lnTo>
                    <a:pt x="162794" y="364795"/>
                  </a:lnTo>
                  <a:lnTo>
                    <a:pt x="164316" y="365810"/>
                  </a:lnTo>
                  <a:lnTo>
                    <a:pt x="160890" y="365810"/>
                  </a:lnTo>
                  <a:lnTo>
                    <a:pt x="160890" y="355532"/>
                  </a:lnTo>
                  <a:lnTo>
                    <a:pt x="162413" y="356674"/>
                  </a:lnTo>
                  <a:lnTo>
                    <a:pt x="158987" y="356674"/>
                  </a:lnTo>
                  <a:lnTo>
                    <a:pt x="158987" y="350965"/>
                  </a:lnTo>
                  <a:lnTo>
                    <a:pt x="160510" y="352107"/>
                  </a:lnTo>
                  <a:lnTo>
                    <a:pt x="156957" y="352107"/>
                  </a:lnTo>
                  <a:lnTo>
                    <a:pt x="156957" y="341829"/>
                  </a:lnTo>
                  <a:lnTo>
                    <a:pt x="158480" y="342971"/>
                  </a:lnTo>
                  <a:lnTo>
                    <a:pt x="155054" y="342971"/>
                  </a:lnTo>
                  <a:lnTo>
                    <a:pt x="155054" y="337261"/>
                  </a:lnTo>
                  <a:lnTo>
                    <a:pt x="156576" y="338403"/>
                  </a:lnTo>
                  <a:lnTo>
                    <a:pt x="153150" y="338403"/>
                  </a:lnTo>
                  <a:lnTo>
                    <a:pt x="153150" y="332693"/>
                  </a:lnTo>
                  <a:lnTo>
                    <a:pt x="154673" y="333835"/>
                  </a:lnTo>
                  <a:lnTo>
                    <a:pt x="151247" y="333835"/>
                  </a:lnTo>
                  <a:lnTo>
                    <a:pt x="151247" y="323557"/>
                  </a:lnTo>
                  <a:lnTo>
                    <a:pt x="152770" y="324699"/>
                  </a:lnTo>
                  <a:lnTo>
                    <a:pt x="149344" y="324699"/>
                  </a:lnTo>
                  <a:lnTo>
                    <a:pt x="149344" y="305159"/>
                  </a:lnTo>
                  <a:lnTo>
                    <a:pt x="150867" y="306301"/>
                  </a:lnTo>
                  <a:lnTo>
                    <a:pt x="147314" y="306301"/>
                  </a:lnTo>
                  <a:lnTo>
                    <a:pt x="147314" y="296023"/>
                  </a:lnTo>
                  <a:lnTo>
                    <a:pt x="148836" y="297165"/>
                  </a:lnTo>
                  <a:lnTo>
                    <a:pt x="145411" y="297165"/>
                  </a:lnTo>
                  <a:lnTo>
                    <a:pt x="145411" y="282320"/>
                  </a:lnTo>
                  <a:lnTo>
                    <a:pt x="146933" y="283462"/>
                  </a:lnTo>
                  <a:lnTo>
                    <a:pt x="143507" y="283462"/>
                  </a:lnTo>
                  <a:lnTo>
                    <a:pt x="143507" y="277752"/>
                  </a:lnTo>
                  <a:lnTo>
                    <a:pt x="145030" y="278894"/>
                  </a:lnTo>
                  <a:lnTo>
                    <a:pt x="141604" y="278894"/>
                  </a:lnTo>
                  <a:lnTo>
                    <a:pt x="141604" y="273184"/>
                  </a:lnTo>
                  <a:lnTo>
                    <a:pt x="143127" y="274199"/>
                  </a:lnTo>
                  <a:lnTo>
                    <a:pt x="139701" y="274199"/>
                  </a:lnTo>
                  <a:lnTo>
                    <a:pt x="139701" y="268616"/>
                  </a:lnTo>
                  <a:lnTo>
                    <a:pt x="141223" y="269631"/>
                  </a:lnTo>
                  <a:lnTo>
                    <a:pt x="137670" y="269631"/>
                  </a:lnTo>
                  <a:lnTo>
                    <a:pt x="137670" y="259353"/>
                  </a:lnTo>
                  <a:lnTo>
                    <a:pt x="139193" y="260495"/>
                  </a:lnTo>
                  <a:lnTo>
                    <a:pt x="135640" y="260495"/>
                  </a:lnTo>
                  <a:lnTo>
                    <a:pt x="135640" y="245650"/>
                  </a:lnTo>
                  <a:lnTo>
                    <a:pt x="137290" y="246792"/>
                  </a:lnTo>
                  <a:lnTo>
                    <a:pt x="133737" y="246792"/>
                  </a:lnTo>
                  <a:lnTo>
                    <a:pt x="133737" y="236641"/>
                  </a:lnTo>
                  <a:lnTo>
                    <a:pt x="135260" y="237783"/>
                  </a:lnTo>
                  <a:lnTo>
                    <a:pt x="131834" y="237783"/>
                  </a:lnTo>
                  <a:lnTo>
                    <a:pt x="131834" y="232073"/>
                  </a:lnTo>
                  <a:lnTo>
                    <a:pt x="133356" y="233215"/>
                  </a:lnTo>
                  <a:lnTo>
                    <a:pt x="129930" y="233215"/>
                  </a:lnTo>
                  <a:lnTo>
                    <a:pt x="129930" y="222937"/>
                  </a:lnTo>
                  <a:lnTo>
                    <a:pt x="131453" y="224079"/>
                  </a:lnTo>
                  <a:lnTo>
                    <a:pt x="129423" y="224079"/>
                  </a:lnTo>
                  <a:lnTo>
                    <a:pt x="125997" y="224079"/>
                  </a:lnTo>
                  <a:lnTo>
                    <a:pt x="125997" y="218370"/>
                  </a:lnTo>
                  <a:lnTo>
                    <a:pt x="127520" y="219385"/>
                  </a:lnTo>
                  <a:lnTo>
                    <a:pt x="124094" y="219385"/>
                  </a:lnTo>
                  <a:lnTo>
                    <a:pt x="124094" y="209234"/>
                  </a:lnTo>
                  <a:lnTo>
                    <a:pt x="125616" y="210376"/>
                  </a:lnTo>
                  <a:lnTo>
                    <a:pt x="120160" y="210376"/>
                  </a:lnTo>
                  <a:lnTo>
                    <a:pt x="120160" y="204666"/>
                  </a:lnTo>
                  <a:lnTo>
                    <a:pt x="121683" y="205808"/>
                  </a:lnTo>
                  <a:lnTo>
                    <a:pt x="117876" y="205808"/>
                  </a:lnTo>
                  <a:lnTo>
                    <a:pt x="114450" y="205808"/>
                  </a:lnTo>
                  <a:lnTo>
                    <a:pt x="114450" y="195657"/>
                  </a:lnTo>
                  <a:lnTo>
                    <a:pt x="115973" y="196799"/>
                  </a:lnTo>
                  <a:lnTo>
                    <a:pt x="112547" y="196799"/>
                  </a:lnTo>
                  <a:lnTo>
                    <a:pt x="112547" y="186521"/>
                  </a:lnTo>
                  <a:lnTo>
                    <a:pt x="114070" y="187663"/>
                  </a:lnTo>
                  <a:lnTo>
                    <a:pt x="110517" y="187663"/>
                  </a:lnTo>
                  <a:lnTo>
                    <a:pt x="110517" y="181953"/>
                  </a:lnTo>
                  <a:lnTo>
                    <a:pt x="112040" y="183095"/>
                  </a:lnTo>
                  <a:lnTo>
                    <a:pt x="108614" y="183095"/>
                  </a:lnTo>
                  <a:lnTo>
                    <a:pt x="108614" y="172945"/>
                  </a:lnTo>
                  <a:lnTo>
                    <a:pt x="110136" y="174087"/>
                  </a:lnTo>
                  <a:lnTo>
                    <a:pt x="100874" y="174087"/>
                  </a:lnTo>
                  <a:lnTo>
                    <a:pt x="100874" y="163936"/>
                  </a:lnTo>
                  <a:lnTo>
                    <a:pt x="102396" y="164951"/>
                  </a:lnTo>
                  <a:lnTo>
                    <a:pt x="98971" y="164951"/>
                  </a:lnTo>
                  <a:lnTo>
                    <a:pt x="98971" y="154800"/>
                  </a:lnTo>
                  <a:lnTo>
                    <a:pt x="100493" y="155942"/>
                  </a:lnTo>
                  <a:lnTo>
                    <a:pt x="97067" y="155942"/>
                  </a:lnTo>
                  <a:lnTo>
                    <a:pt x="97067" y="150232"/>
                  </a:lnTo>
                  <a:lnTo>
                    <a:pt x="98590" y="151374"/>
                  </a:lnTo>
                  <a:lnTo>
                    <a:pt x="95164" y="151374"/>
                  </a:lnTo>
                  <a:lnTo>
                    <a:pt x="95164" y="141223"/>
                  </a:lnTo>
                  <a:lnTo>
                    <a:pt x="96687" y="142365"/>
                  </a:lnTo>
                  <a:lnTo>
                    <a:pt x="93261" y="142365"/>
                  </a:lnTo>
                  <a:lnTo>
                    <a:pt x="93261" y="136655"/>
                  </a:lnTo>
                  <a:lnTo>
                    <a:pt x="94783" y="137797"/>
                  </a:lnTo>
                  <a:lnTo>
                    <a:pt x="81460" y="137797"/>
                  </a:lnTo>
                  <a:lnTo>
                    <a:pt x="81460" y="127520"/>
                  </a:lnTo>
                  <a:lnTo>
                    <a:pt x="82983" y="128662"/>
                  </a:lnTo>
                  <a:lnTo>
                    <a:pt x="69533" y="128662"/>
                  </a:lnTo>
                  <a:lnTo>
                    <a:pt x="66107" y="128662"/>
                  </a:lnTo>
                  <a:lnTo>
                    <a:pt x="66107" y="123079"/>
                  </a:lnTo>
                  <a:lnTo>
                    <a:pt x="67630" y="124221"/>
                  </a:lnTo>
                  <a:lnTo>
                    <a:pt x="64204" y="124221"/>
                  </a:lnTo>
                  <a:lnTo>
                    <a:pt x="64204" y="118638"/>
                  </a:lnTo>
                  <a:lnTo>
                    <a:pt x="65727" y="119653"/>
                  </a:lnTo>
                  <a:lnTo>
                    <a:pt x="62174" y="119653"/>
                  </a:lnTo>
                  <a:lnTo>
                    <a:pt x="62174" y="114070"/>
                  </a:lnTo>
                  <a:lnTo>
                    <a:pt x="63696" y="115085"/>
                  </a:lnTo>
                  <a:lnTo>
                    <a:pt x="58367" y="115085"/>
                  </a:lnTo>
                  <a:lnTo>
                    <a:pt x="58367" y="109502"/>
                  </a:lnTo>
                  <a:lnTo>
                    <a:pt x="59890" y="110644"/>
                  </a:lnTo>
                  <a:lnTo>
                    <a:pt x="54434" y="110644"/>
                  </a:lnTo>
                  <a:lnTo>
                    <a:pt x="54434" y="95925"/>
                  </a:lnTo>
                  <a:lnTo>
                    <a:pt x="55956" y="97067"/>
                  </a:lnTo>
                  <a:lnTo>
                    <a:pt x="48724" y="97067"/>
                  </a:lnTo>
                  <a:lnTo>
                    <a:pt x="48724" y="91357"/>
                  </a:lnTo>
                  <a:lnTo>
                    <a:pt x="50247" y="92499"/>
                  </a:lnTo>
                  <a:lnTo>
                    <a:pt x="46821" y="92499"/>
                  </a:lnTo>
                  <a:lnTo>
                    <a:pt x="46821" y="86790"/>
                  </a:lnTo>
                  <a:lnTo>
                    <a:pt x="48343" y="87931"/>
                  </a:lnTo>
                  <a:lnTo>
                    <a:pt x="44791" y="87931"/>
                  </a:lnTo>
                  <a:lnTo>
                    <a:pt x="44791" y="82349"/>
                  </a:lnTo>
                  <a:lnTo>
                    <a:pt x="46313" y="83490"/>
                  </a:lnTo>
                  <a:lnTo>
                    <a:pt x="42887" y="83490"/>
                  </a:lnTo>
                  <a:lnTo>
                    <a:pt x="42887" y="77781"/>
                  </a:lnTo>
                  <a:lnTo>
                    <a:pt x="44410" y="78923"/>
                  </a:lnTo>
                  <a:lnTo>
                    <a:pt x="42507" y="78923"/>
                  </a:lnTo>
                  <a:lnTo>
                    <a:pt x="37050" y="78923"/>
                  </a:lnTo>
                  <a:lnTo>
                    <a:pt x="37050" y="73340"/>
                  </a:lnTo>
                  <a:lnTo>
                    <a:pt x="38573" y="74482"/>
                  </a:lnTo>
                  <a:lnTo>
                    <a:pt x="35020" y="74482"/>
                  </a:lnTo>
                  <a:lnTo>
                    <a:pt x="35020" y="68772"/>
                  </a:lnTo>
                  <a:lnTo>
                    <a:pt x="36543" y="69914"/>
                  </a:lnTo>
                  <a:lnTo>
                    <a:pt x="33117" y="69914"/>
                  </a:lnTo>
                  <a:lnTo>
                    <a:pt x="33117" y="50754"/>
                  </a:lnTo>
                  <a:lnTo>
                    <a:pt x="34640" y="51769"/>
                  </a:lnTo>
                  <a:lnTo>
                    <a:pt x="27407" y="51769"/>
                  </a:lnTo>
                  <a:lnTo>
                    <a:pt x="27407" y="41618"/>
                  </a:lnTo>
                  <a:lnTo>
                    <a:pt x="28930" y="42887"/>
                  </a:lnTo>
                  <a:lnTo>
                    <a:pt x="25377" y="42887"/>
                  </a:lnTo>
                  <a:lnTo>
                    <a:pt x="25377" y="37177"/>
                  </a:lnTo>
                  <a:lnTo>
                    <a:pt x="26900" y="38319"/>
                  </a:lnTo>
                  <a:lnTo>
                    <a:pt x="23474" y="38319"/>
                  </a:lnTo>
                  <a:lnTo>
                    <a:pt x="23474" y="32736"/>
                  </a:lnTo>
                  <a:lnTo>
                    <a:pt x="24996" y="33751"/>
                  </a:lnTo>
                  <a:lnTo>
                    <a:pt x="21571" y="33751"/>
                  </a:lnTo>
                  <a:lnTo>
                    <a:pt x="21571" y="28169"/>
                  </a:lnTo>
                  <a:lnTo>
                    <a:pt x="23093" y="29310"/>
                  </a:lnTo>
                  <a:lnTo>
                    <a:pt x="17764" y="29310"/>
                  </a:lnTo>
                  <a:lnTo>
                    <a:pt x="17764" y="23601"/>
                  </a:lnTo>
                  <a:lnTo>
                    <a:pt x="19287" y="24743"/>
                  </a:lnTo>
                  <a:lnTo>
                    <a:pt x="13830" y="24743"/>
                  </a:lnTo>
                  <a:lnTo>
                    <a:pt x="13830" y="19160"/>
                  </a:lnTo>
                  <a:lnTo>
                    <a:pt x="15353" y="20302"/>
                  </a:lnTo>
                  <a:lnTo>
                    <a:pt x="11927" y="20302"/>
                  </a:lnTo>
                  <a:lnTo>
                    <a:pt x="11927" y="10024"/>
                  </a:lnTo>
                  <a:lnTo>
                    <a:pt x="13450" y="11166"/>
                  </a:lnTo>
                  <a:lnTo>
                    <a:pt x="4187" y="11166"/>
                  </a:lnTo>
                  <a:lnTo>
                    <a:pt x="4187" y="5583"/>
                  </a:lnTo>
                  <a:lnTo>
                    <a:pt x="5710" y="6725"/>
                  </a:lnTo>
                  <a:lnTo>
                    <a:pt x="381" y="6725"/>
                  </a:lnTo>
                  <a:lnTo>
                    <a:pt x="381" y="1142"/>
                  </a:lnTo>
                  <a:lnTo>
                    <a:pt x="1903" y="2284"/>
                  </a:lnTo>
                  <a:lnTo>
                    <a:pt x="0" y="22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85D"/>
            </a:solidFill>
            <a:ln w="6340" cap="flat">
              <a:solidFill>
                <a:srgbClr val="FF585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CD26E95F-50BB-72D6-8BC1-392B3C382585}"/>
                </a:ext>
              </a:extLst>
            </p:cNvPr>
            <p:cNvSpPr/>
            <p:nvPr/>
          </p:nvSpPr>
          <p:spPr>
            <a:xfrm>
              <a:off x="1340944" y="1742992"/>
              <a:ext cx="57225" cy="41999"/>
            </a:xfrm>
            <a:custGeom>
              <a:avLst/>
              <a:gdLst>
                <a:gd name="connsiteX0" fmla="*/ 0 w 57225"/>
                <a:gd name="connsiteY0" fmla="*/ 28042 h 41999"/>
                <a:gd name="connsiteX1" fmla="*/ 0 w 57225"/>
                <a:gd name="connsiteY1" fmla="*/ 14084 h 41999"/>
                <a:gd name="connsiteX2" fmla="*/ 19033 w 57225"/>
                <a:gd name="connsiteY2" fmla="*/ 14084 h 41999"/>
                <a:gd name="connsiteX3" fmla="*/ 19033 w 57225"/>
                <a:gd name="connsiteY3" fmla="*/ 0 h 41999"/>
                <a:gd name="connsiteX4" fmla="*/ 38066 w 57225"/>
                <a:gd name="connsiteY4" fmla="*/ 0 h 41999"/>
                <a:gd name="connsiteX5" fmla="*/ 38066 w 57225"/>
                <a:gd name="connsiteY5" fmla="*/ 14084 h 41999"/>
                <a:gd name="connsiteX6" fmla="*/ 57225 w 57225"/>
                <a:gd name="connsiteY6" fmla="*/ 14084 h 41999"/>
                <a:gd name="connsiteX7" fmla="*/ 57225 w 57225"/>
                <a:gd name="connsiteY7" fmla="*/ 28042 h 41999"/>
                <a:gd name="connsiteX8" fmla="*/ 38066 w 57225"/>
                <a:gd name="connsiteY8" fmla="*/ 28042 h 41999"/>
                <a:gd name="connsiteX9" fmla="*/ 38066 w 57225"/>
                <a:gd name="connsiteY9" fmla="*/ 41999 h 41999"/>
                <a:gd name="connsiteX10" fmla="*/ 19033 w 57225"/>
                <a:gd name="connsiteY10" fmla="*/ 41999 h 41999"/>
                <a:gd name="connsiteX11" fmla="*/ 19033 w 57225"/>
                <a:gd name="connsiteY11" fmla="*/ 28042 h 41999"/>
                <a:gd name="connsiteX12" fmla="*/ 0 w 57225"/>
                <a:gd name="connsiteY12" fmla="*/ 28042 h 4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9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066" y="28042"/>
                  </a:lnTo>
                  <a:lnTo>
                    <a:pt x="38066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AF269E22-873C-A71B-BF24-F7779FFCEB33}"/>
                </a:ext>
              </a:extLst>
            </p:cNvPr>
            <p:cNvSpPr/>
            <p:nvPr/>
          </p:nvSpPr>
          <p:spPr>
            <a:xfrm>
              <a:off x="1358327" y="1783596"/>
              <a:ext cx="57225" cy="42125"/>
            </a:xfrm>
            <a:custGeom>
              <a:avLst/>
              <a:gdLst>
                <a:gd name="connsiteX0" fmla="*/ 0 w 57225"/>
                <a:gd name="connsiteY0" fmla="*/ 28042 h 42125"/>
                <a:gd name="connsiteX1" fmla="*/ 0 w 57225"/>
                <a:gd name="connsiteY1" fmla="*/ 14084 h 42125"/>
                <a:gd name="connsiteX2" fmla="*/ 19033 w 57225"/>
                <a:gd name="connsiteY2" fmla="*/ 14084 h 42125"/>
                <a:gd name="connsiteX3" fmla="*/ 19033 w 57225"/>
                <a:gd name="connsiteY3" fmla="*/ 0 h 42125"/>
                <a:gd name="connsiteX4" fmla="*/ 38192 w 57225"/>
                <a:gd name="connsiteY4" fmla="*/ 0 h 42125"/>
                <a:gd name="connsiteX5" fmla="*/ 38192 w 57225"/>
                <a:gd name="connsiteY5" fmla="*/ 14084 h 42125"/>
                <a:gd name="connsiteX6" fmla="*/ 57225 w 57225"/>
                <a:gd name="connsiteY6" fmla="*/ 14084 h 42125"/>
                <a:gd name="connsiteX7" fmla="*/ 57225 w 57225"/>
                <a:gd name="connsiteY7" fmla="*/ 28042 h 42125"/>
                <a:gd name="connsiteX8" fmla="*/ 38192 w 57225"/>
                <a:gd name="connsiteY8" fmla="*/ 28042 h 42125"/>
                <a:gd name="connsiteX9" fmla="*/ 38192 w 57225"/>
                <a:gd name="connsiteY9" fmla="*/ 42126 h 42125"/>
                <a:gd name="connsiteX10" fmla="*/ 19033 w 57225"/>
                <a:gd name="connsiteY10" fmla="*/ 42126 h 42125"/>
                <a:gd name="connsiteX11" fmla="*/ 19033 w 57225"/>
                <a:gd name="connsiteY11" fmla="*/ 28042 h 42125"/>
                <a:gd name="connsiteX12" fmla="*/ 0 w 57225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2125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2126"/>
                  </a:lnTo>
                  <a:lnTo>
                    <a:pt x="19033" y="42126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97F0EFFF-2253-DA01-B610-A01D2380F886}"/>
                </a:ext>
              </a:extLst>
            </p:cNvPr>
            <p:cNvSpPr/>
            <p:nvPr/>
          </p:nvSpPr>
          <p:spPr>
            <a:xfrm>
              <a:off x="1385480" y="1833462"/>
              <a:ext cx="57225" cy="41999"/>
            </a:xfrm>
            <a:custGeom>
              <a:avLst/>
              <a:gdLst>
                <a:gd name="connsiteX0" fmla="*/ 0 w 57225"/>
                <a:gd name="connsiteY0" fmla="*/ 27915 h 41999"/>
                <a:gd name="connsiteX1" fmla="*/ 0 w 57225"/>
                <a:gd name="connsiteY1" fmla="*/ 13957 h 41999"/>
                <a:gd name="connsiteX2" fmla="*/ 19033 w 57225"/>
                <a:gd name="connsiteY2" fmla="*/ 13957 h 41999"/>
                <a:gd name="connsiteX3" fmla="*/ 19033 w 57225"/>
                <a:gd name="connsiteY3" fmla="*/ 0 h 41999"/>
                <a:gd name="connsiteX4" fmla="*/ 38066 w 57225"/>
                <a:gd name="connsiteY4" fmla="*/ 0 h 41999"/>
                <a:gd name="connsiteX5" fmla="*/ 38066 w 57225"/>
                <a:gd name="connsiteY5" fmla="*/ 13957 h 41999"/>
                <a:gd name="connsiteX6" fmla="*/ 57225 w 57225"/>
                <a:gd name="connsiteY6" fmla="*/ 13957 h 41999"/>
                <a:gd name="connsiteX7" fmla="*/ 57225 w 57225"/>
                <a:gd name="connsiteY7" fmla="*/ 27915 h 41999"/>
                <a:gd name="connsiteX8" fmla="*/ 38066 w 57225"/>
                <a:gd name="connsiteY8" fmla="*/ 27915 h 41999"/>
                <a:gd name="connsiteX9" fmla="*/ 38066 w 57225"/>
                <a:gd name="connsiteY9" fmla="*/ 41999 h 41999"/>
                <a:gd name="connsiteX10" fmla="*/ 19033 w 57225"/>
                <a:gd name="connsiteY10" fmla="*/ 41999 h 41999"/>
                <a:gd name="connsiteX11" fmla="*/ 19033 w 57225"/>
                <a:gd name="connsiteY11" fmla="*/ 27915 h 41999"/>
                <a:gd name="connsiteX12" fmla="*/ 0 w 57225"/>
                <a:gd name="connsiteY12" fmla="*/ 27915 h 4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9">
                  <a:moveTo>
                    <a:pt x="0" y="27915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066" y="27915"/>
                  </a:lnTo>
                  <a:lnTo>
                    <a:pt x="38066" y="41999"/>
                  </a:lnTo>
                  <a:lnTo>
                    <a:pt x="19033" y="41999"/>
                  </a:lnTo>
                  <a:lnTo>
                    <a:pt x="19033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102F3521-CC02-DE6F-31DE-B02B660C72A6}"/>
                </a:ext>
              </a:extLst>
            </p:cNvPr>
            <p:cNvSpPr/>
            <p:nvPr/>
          </p:nvSpPr>
          <p:spPr>
            <a:xfrm>
              <a:off x="1416313" y="1869751"/>
              <a:ext cx="57225" cy="41999"/>
            </a:xfrm>
            <a:custGeom>
              <a:avLst/>
              <a:gdLst>
                <a:gd name="connsiteX0" fmla="*/ 0 w 57225"/>
                <a:gd name="connsiteY0" fmla="*/ 28042 h 41999"/>
                <a:gd name="connsiteX1" fmla="*/ 0 w 57225"/>
                <a:gd name="connsiteY1" fmla="*/ 13957 h 41999"/>
                <a:gd name="connsiteX2" fmla="*/ 19160 w 57225"/>
                <a:gd name="connsiteY2" fmla="*/ 13957 h 41999"/>
                <a:gd name="connsiteX3" fmla="*/ 19160 w 57225"/>
                <a:gd name="connsiteY3" fmla="*/ 0 h 41999"/>
                <a:gd name="connsiteX4" fmla="*/ 38192 w 57225"/>
                <a:gd name="connsiteY4" fmla="*/ 0 h 41999"/>
                <a:gd name="connsiteX5" fmla="*/ 38192 w 57225"/>
                <a:gd name="connsiteY5" fmla="*/ 13957 h 41999"/>
                <a:gd name="connsiteX6" fmla="*/ 57225 w 57225"/>
                <a:gd name="connsiteY6" fmla="*/ 13957 h 41999"/>
                <a:gd name="connsiteX7" fmla="*/ 57225 w 57225"/>
                <a:gd name="connsiteY7" fmla="*/ 28042 h 41999"/>
                <a:gd name="connsiteX8" fmla="*/ 38192 w 57225"/>
                <a:gd name="connsiteY8" fmla="*/ 28042 h 41999"/>
                <a:gd name="connsiteX9" fmla="*/ 38192 w 57225"/>
                <a:gd name="connsiteY9" fmla="*/ 41999 h 41999"/>
                <a:gd name="connsiteX10" fmla="*/ 19160 w 57225"/>
                <a:gd name="connsiteY10" fmla="*/ 41999 h 41999"/>
                <a:gd name="connsiteX11" fmla="*/ 19160 w 57225"/>
                <a:gd name="connsiteY11" fmla="*/ 28042 h 41999"/>
                <a:gd name="connsiteX12" fmla="*/ 0 w 57225"/>
                <a:gd name="connsiteY12" fmla="*/ 28042 h 4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9">
                  <a:moveTo>
                    <a:pt x="0" y="28042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D2E7FB64-4A75-7A55-CB87-66E7CCF0C40A}"/>
                </a:ext>
              </a:extLst>
            </p:cNvPr>
            <p:cNvSpPr/>
            <p:nvPr/>
          </p:nvSpPr>
          <p:spPr>
            <a:xfrm>
              <a:off x="1433824" y="1910608"/>
              <a:ext cx="57225" cy="41999"/>
            </a:xfrm>
            <a:custGeom>
              <a:avLst/>
              <a:gdLst>
                <a:gd name="connsiteX0" fmla="*/ 0 w 57225"/>
                <a:gd name="connsiteY0" fmla="*/ 27915 h 41999"/>
                <a:gd name="connsiteX1" fmla="*/ 0 w 57225"/>
                <a:gd name="connsiteY1" fmla="*/ 13957 h 41999"/>
                <a:gd name="connsiteX2" fmla="*/ 19033 w 57225"/>
                <a:gd name="connsiteY2" fmla="*/ 13957 h 41999"/>
                <a:gd name="connsiteX3" fmla="*/ 19033 w 57225"/>
                <a:gd name="connsiteY3" fmla="*/ 0 h 41999"/>
                <a:gd name="connsiteX4" fmla="*/ 38066 w 57225"/>
                <a:gd name="connsiteY4" fmla="*/ 0 h 41999"/>
                <a:gd name="connsiteX5" fmla="*/ 38066 w 57225"/>
                <a:gd name="connsiteY5" fmla="*/ 13957 h 41999"/>
                <a:gd name="connsiteX6" fmla="*/ 57225 w 57225"/>
                <a:gd name="connsiteY6" fmla="*/ 13957 h 41999"/>
                <a:gd name="connsiteX7" fmla="*/ 57225 w 57225"/>
                <a:gd name="connsiteY7" fmla="*/ 27915 h 41999"/>
                <a:gd name="connsiteX8" fmla="*/ 38066 w 57225"/>
                <a:gd name="connsiteY8" fmla="*/ 27915 h 41999"/>
                <a:gd name="connsiteX9" fmla="*/ 38066 w 57225"/>
                <a:gd name="connsiteY9" fmla="*/ 41999 h 41999"/>
                <a:gd name="connsiteX10" fmla="*/ 19033 w 57225"/>
                <a:gd name="connsiteY10" fmla="*/ 41999 h 41999"/>
                <a:gd name="connsiteX11" fmla="*/ 19033 w 57225"/>
                <a:gd name="connsiteY11" fmla="*/ 27915 h 41999"/>
                <a:gd name="connsiteX12" fmla="*/ 0 w 57225"/>
                <a:gd name="connsiteY12" fmla="*/ 27915 h 4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9">
                  <a:moveTo>
                    <a:pt x="0" y="27915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066" y="27915"/>
                  </a:lnTo>
                  <a:lnTo>
                    <a:pt x="38066" y="41999"/>
                  </a:lnTo>
                  <a:lnTo>
                    <a:pt x="19033" y="41999"/>
                  </a:lnTo>
                  <a:lnTo>
                    <a:pt x="19033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287F45C9-2136-6E73-5399-9D19BBAD3663}"/>
                </a:ext>
              </a:extLst>
            </p:cNvPr>
            <p:cNvSpPr/>
            <p:nvPr/>
          </p:nvSpPr>
          <p:spPr>
            <a:xfrm>
              <a:off x="1433824" y="1910608"/>
              <a:ext cx="57225" cy="41999"/>
            </a:xfrm>
            <a:custGeom>
              <a:avLst/>
              <a:gdLst>
                <a:gd name="connsiteX0" fmla="*/ 0 w 57225"/>
                <a:gd name="connsiteY0" fmla="*/ 27915 h 41999"/>
                <a:gd name="connsiteX1" fmla="*/ 0 w 57225"/>
                <a:gd name="connsiteY1" fmla="*/ 13957 h 41999"/>
                <a:gd name="connsiteX2" fmla="*/ 19033 w 57225"/>
                <a:gd name="connsiteY2" fmla="*/ 13957 h 41999"/>
                <a:gd name="connsiteX3" fmla="*/ 19033 w 57225"/>
                <a:gd name="connsiteY3" fmla="*/ 0 h 41999"/>
                <a:gd name="connsiteX4" fmla="*/ 38066 w 57225"/>
                <a:gd name="connsiteY4" fmla="*/ 0 h 41999"/>
                <a:gd name="connsiteX5" fmla="*/ 38066 w 57225"/>
                <a:gd name="connsiteY5" fmla="*/ 13957 h 41999"/>
                <a:gd name="connsiteX6" fmla="*/ 57225 w 57225"/>
                <a:gd name="connsiteY6" fmla="*/ 13957 h 41999"/>
                <a:gd name="connsiteX7" fmla="*/ 57225 w 57225"/>
                <a:gd name="connsiteY7" fmla="*/ 27915 h 41999"/>
                <a:gd name="connsiteX8" fmla="*/ 38066 w 57225"/>
                <a:gd name="connsiteY8" fmla="*/ 27915 h 41999"/>
                <a:gd name="connsiteX9" fmla="*/ 38066 w 57225"/>
                <a:gd name="connsiteY9" fmla="*/ 41999 h 41999"/>
                <a:gd name="connsiteX10" fmla="*/ 19033 w 57225"/>
                <a:gd name="connsiteY10" fmla="*/ 41999 h 41999"/>
                <a:gd name="connsiteX11" fmla="*/ 19033 w 57225"/>
                <a:gd name="connsiteY11" fmla="*/ 27915 h 41999"/>
                <a:gd name="connsiteX12" fmla="*/ 0 w 57225"/>
                <a:gd name="connsiteY12" fmla="*/ 27915 h 4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9">
                  <a:moveTo>
                    <a:pt x="0" y="27915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066" y="27915"/>
                  </a:lnTo>
                  <a:lnTo>
                    <a:pt x="38066" y="41999"/>
                  </a:lnTo>
                  <a:lnTo>
                    <a:pt x="19033" y="41999"/>
                  </a:lnTo>
                  <a:lnTo>
                    <a:pt x="19033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EB4D7AA5-C4E1-D3C4-9EF7-1A6F1CAF0A83}"/>
                </a:ext>
              </a:extLst>
            </p:cNvPr>
            <p:cNvSpPr/>
            <p:nvPr/>
          </p:nvSpPr>
          <p:spPr>
            <a:xfrm>
              <a:off x="1445370" y="1928752"/>
              <a:ext cx="57225" cy="41999"/>
            </a:xfrm>
            <a:custGeom>
              <a:avLst/>
              <a:gdLst>
                <a:gd name="connsiteX0" fmla="*/ 0 w 57225"/>
                <a:gd name="connsiteY0" fmla="*/ 28042 h 41999"/>
                <a:gd name="connsiteX1" fmla="*/ 0 w 57225"/>
                <a:gd name="connsiteY1" fmla="*/ 13957 h 41999"/>
                <a:gd name="connsiteX2" fmla="*/ 19033 w 57225"/>
                <a:gd name="connsiteY2" fmla="*/ 13957 h 41999"/>
                <a:gd name="connsiteX3" fmla="*/ 19033 w 57225"/>
                <a:gd name="connsiteY3" fmla="*/ 0 h 41999"/>
                <a:gd name="connsiteX4" fmla="*/ 38192 w 57225"/>
                <a:gd name="connsiteY4" fmla="*/ 0 h 41999"/>
                <a:gd name="connsiteX5" fmla="*/ 38192 w 57225"/>
                <a:gd name="connsiteY5" fmla="*/ 13957 h 41999"/>
                <a:gd name="connsiteX6" fmla="*/ 57225 w 57225"/>
                <a:gd name="connsiteY6" fmla="*/ 13957 h 41999"/>
                <a:gd name="connsiteX7" fmla="*/ 57225 w 57225"/>
                <a:gd name="connsiteY7" fmla="*/ 28042 h 41999"/>
                <a:gd name="connsiteX8" fmla="*/ 38192 w 57225"/>
                <a:gd name="connsiteY8" fmla="*/ 28042 h 41999"/>
                <a:gd name="connsiteX9" fmla="*/ 38192 w 57225"/>
                <a:gd name="connsiteY9" fmla="*/ 41999 h 41999"/>
                <a:gd name="connsiteX10" fmla="*/ 19033 w 57225"/>
                <a:gd name="connsiteY10" fmla="*/ 41999 h 41999"/>
                <a:gd name="connsiteX11" fmla="*/ 19033 w 57225"/>
                <a:gd name="connsiteY11" fmla="*/ 28042 h 41999"/>
                <a:gd name="connsiteX12" fmla="*/ 0 w 57225"/>
                <a:gd name="connsiteY12" fmla="*/ 28042 h 4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9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7D8F00EB-6B35-46B7-93BE-BA72E76038F9}"/>
                </a:ext>
              </a:extLst>
            </p:cNvPr>
            <p:cNvSpPr/>
            <p:nvPr/>
          </p:nvSpPr>
          <p:spPr>
            <a:xfrm>
              <a:off x="1451207" y="1951592"/>
              <a:ext cx="57225" cy="41999"/>
            </a:xfrm>
            <a:custGeom>
              <a:avLst/>
              <a:gdLst>
                <a:gd name="connsiteX0" fmla="*/ 0 w 57225"/>
                <a:gd name="connsiteY0" fmla="*/ 27915 h 41999"/>
                <a:gd name="connsiteX1" fmla="*/ 0 w 57225"/>
                <a:gd name="connsiteY1" fmla="*/ 13957 h 41999"/>
                <a:gd name="connsiteX2" fmla="*/ 19033 w 57225"/>
                <a:gd name="connsiteY2" fmla="*/ 13957 h 41999"/>
                <a:gd name="connsiteX3" fmla="*/ 19033 w 57225"/>
                <a:gd name="connsiteY3" fmla="*/ 0 h 41999"/>
                <a:gd name="connsiteX4" fmla="*/ 38192 w 57225"/>
                <a:gd name="connsiteY4" fmla="*/ 0 h 41999"/>
                <a:gd name="connsiteX5" fmla="*/ 38192 w 57225"/>
                <a:gd name="connsiteY5" fmla="*/ 13957 h 41999"/>
                <a:gd name="connsiteX6" fmla="*/ 57225 w 57225"/>
                <a:gd name="connsiteY6" fmla="*/ 13957 h 41999"/>
                <a:gd name="connsiteX7" fmla="*/ 57225 w 57225"/>
                <a:gd name="connsiteY7" fmla="*/ 27915 h 41999"/>
                <a:gd name="connsiteX8" fmla="*/ 38192 w 57225"/>
                <a:gd name="connsiteY8" fmla="*/ 27915 h 41999"/>
                <a:gd name="connsiteX9" fmla="*/ 38192 w 57225"/>
                <a:gd name="connsiteY9" fmla="*/ 41999 h 41999"/>
                <a:gd name="connsiteX10" fmla="*/ 19033 w 57225"/>
                <a:gd name="connsiteY10" fmla="*/ 41999 h 41999"/>
                <a:gd name="connsiteX11" fmla="*/ 19033 w 57225"/>
                <a:gd name="connsiteY11" fmla="*/ 27915 h 41999"/>
                <a:gd name="connsiteX12" fmla="*/ 0 w 57225"/>
                <a:gd name="connsiteY12" fmla="*/ 27915 h 4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9">
                  <a:moveTo>
                    <a:pt x="0" y="27915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A5C98F02-71B1-9415-E288-2677D333604F}"/>
                </a:ext>
              </a:extLst>
            </p:cNvPr>
            <p:cNvSpPr/>
            <p:nvPr/>
          </p:nvSpPr>
          <p:spPr>
            <a:xfrm>
              <a:off x="1453110" y="1965295"/>
              <a:ext cx="57225" cy="41999"/>
            </a:xfrm>
            <a:custGeom>
              <a:avLst/>
              <a:gdLst>
                <a:gd name="connsiteX0" fmla="*/ 0 w 57225"/>
                <a:gd name="connsiteY0" fmla="*/ 28042 h 41999"/>
                <a:gd name="connsiteX1" fmla="*/ 0 w 57225"/>
                <a:gd name="connsiteY1" fmla="*/ 13957 h 41999"/>
                <a:gd name="connsiteX2" fmla="*/ 19033 w 57225"/>
                <a:gd name="connsiteY2" fmla="*/ 13957 h 41999"/>
                <a:gd name="connsiteX3" fmla="*/ 19033 w 57225"/>
                <a:gd name="connsiteY3" fmla="*/ 0 h 41999"/>
                <a:gd name="connsiteX4" fmla="*/ 38192 w 57225"/>
                <a:gd name="connsiteY4" fmla="*/ 0 h 41999"/>
                <a:gd name="connsiteX5" fmla="*/ 38192 w 57225"/>
                <a:gd name="connsiteY5" fmla="*/ 13957 h 41999"/>
                <a:gd name="connsiteX6" fmla="*/ 57225 w 57225"/>
                <a:gd name="connsiteY6" fmla="*/ 13957 h 41999"/>
                <a:gd name="connsiteX7" fmla="*/ 57225 w 57225"/>
                <a:gd name="connsiteY7" fmla="*/ 28042 h 41999"/>
                <a:gd name="connsiteX8" fmla="*/ 38192 w 57225"/>
                <a:gd name="connsiteY8" fmla="*/ 28042 h 41999"/>
                <a:gd name="connsiteX9" fmla="*/ 38192 w 57225"/>
                <a:gd name="connsiteY9" fmla="*/ 41999 h 41999"/>
                <a:gd name="connsiteX10" fmla="*/ 19033 w 57225"/>
                <a:gd name="connsiteY10" fmla="*/ 41999 h 41999"/>
                <a:gd name="connsiteX11" fmla="*/ 19033 w 57225"/>
                <a:gd name="connsiteY11" fmla="*/ 28042 h 41999"/>
                <a:gd name="connsiteX12" fmla="*/ 0 w 57225"/>
                <a:gd name="connsiteY12" fmla="*/ 28042 h 4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9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0CCBF505-0BBC-E17B-E2CC-671FEBFB2902}"/>
                </a:ext>
              </a:extLst>
            </p:cNvPr>
            <p:cNvSpPr/>
            <p:nvPr/>
          </p:nvSpPr>
          <p:spPr>
            <a:xfrm>
              <a:off x="1470493" y="2043203"/>
              <a:ext cx="57225" cy="41999"/>
            </a:xfrm>
            <a:custGeom>
              <a:avLst/>
              <a:gdLst>
                <a:gd name="connsiteX0" fmla="*/ 0 w 57225"/>
                <a:gd name="connsiteY0" fmla="*/ 27915 h 41999"/>
                <a:gd name="connsiteX1" fmla="*/ 0 w 57225"/>
                <a:gd name="connsiteY1" fmla="*/ 13957 h 41999"/>
                <a:gd name="connsiteX2" fmla="*/ 19160 w 57225"/>
                <a:gd name="connsiteY2" fmla="*/ 13957 h 41999"/>
                <a:gd name="connsiteX3" fmla="*/ 19160 w 57225"/>
                <a:gd name="connsiteY3" fmla="*/ 0 h 41999"/>
                <a:gd name="connsiteX4" fmla="*/ 38192 w 57225"/>
                <a:gd name="connsiteY4" fmla="*/ 0 h 41999"/>
                <a:gd name="connsiteX5" fmla="*/ 38192 w 57225"/>
                <a:gd name="connsiteY5" fmla="*/ 13957 h 41999"/>
                <a:gd name="connsiteX6" fmla="*/ 57225 w 57225"/>
                <a:gd name="connsiteY6" fmla="*/ 13957 h 41999"/>
                <a:gd name="connsiteX7" fmla="*/ 57225 w 57225"/>
                <a:gd name="connsiteY7" fmla="*/ 27915 h 41999"/>
                <a:gd name="connsiteX8" fmla="*/ 38192 w 57225"/>
                <a:gd name="connsiteY8" fmla="*/ 27915 h 41999"/>
                <a:gd name="connsiteX9" fmla="*/ 38192 w 57225"/>
                <a:gd name="connsiteY9" fmla="*/ 41999 h 41999"/>
                <a:gd name="connsiteX10" fmla="*/ 19160 w 57225"/>
                <a:gd name="connsiteY10" fmla="*/ 41999 h 41999"/>
                <a:gd name="connsiteX11" fmla="*/ 19160 w 57225"/>
                <a:gd name="connsiteY11" fmla="*/ 27915 h 41999"/>
                <a:gd name="connsiteX12" fmla="*/ 0 w 57225"/>
                <a:gd name="connsiteY12" fmla="*/ 27915 h 4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9">
                  <a:moveTo>
                    <a:pt x="0" y="27915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4046C489-D6DF-9826-6D9E-4085C874D8FA}"/>
                </a:ext>
              </a:extLst>
            </p:cNvPr>
            <p:cNvSpPr/>
            <p:nvPr/>
          </p:nvSpPr>
          <p:spPr>
            <a:xfrm>
              <a:off x="1476330" y="2061474"/>
              <a:ext cx="57352" cy="41999"/>
            </a:xfrm>
            <a:custGeom>
              <a:avLst/>
              <a:gdLst>
                <a:gd name="connsiteX0" fmla="*/ 0 w 57352"/>
                <a:gd name="connsiteY0" fmla="*/ 28042 h 41999"/>
                <a:gd name="connsiteX1" fmla="*/ 0 w 57352"/>
                <a:gd name="connsiteY1" fmla="*/ 13957 h 41999"/>
                <a:gd name="connsiteX2" fmla="*/ 19160 w 57352"/>
                <a:gd name="connsiteY2" fmla="*/ 13957 h 41999"/>
                <a:gd name="connsiteX3" fmla="*/ 19160 w 57352"/>
                <a:gd name="connsiteY3" fmla="*/ 0 h 41999"/>
                <a:gd name="connsiteX4" fmla="*/ 38192 w 57352"/>
                <a:gd name="connsiteY4" fmla="*/ 0 h 41999"/>
                <a:gd name="connsiteX5" fmla="*/ 38192 w 57352"/>
                <a:gd name="connsiteY5" fmla="*/ 13957 h 41999"/>
                <a:gd name="connsiteX6" fmla="*/ 57352 w 57352"/>
                <a:gd name="connsiteY6" fmla="*/ 13957 h 41999"/>
                <a:gd name="connsiteX7" fmla="*/ 57352 w 57352"/>
                <a:gd name="connsiteY7" fmla="*/ 28042 h 41999"/>
                <a:gd name="connsiteX8" fmla="*/ 38192 w 57352"/>
                <a:gd name="connsiteY8" fmla="*/ 28042 h 41999"/>
                <a:gd name="connsiteX9" fmla="*/ 38192 w 57352"/>
                <a:gd name="connsiteY9" fmla="*/ 41999 h 41999"/>
                <a:gd name="connsiteX10" fmla="*/ 19160 w 57352"/>
                <a:gd name="connsiteY10" fmla="*/ 41999 h 41999"/>
                <a:gd name="connsiteX11" fmla="*/ 19160 w 57352"/>
                <a:gd name="connsiteY11" fmla="*/ 28042 h 41999"/>
                <a:gd name="connsiteX12" fmla="*/ 0 w 57352"/>
                <a:gd name="connsiteY12" fmla="*/ 28042 h 4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2" h="41999">
                  <a:moveTo>
                    <a:pt x="0" y="28042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352" y="13957"/>
                  </a:lnTo>
                  <a:lnTo>
                    <a:pt x="57352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3B9ACDF4-17AA-44F0-2DEE-0C4E4DAE6E1F}"/>
                </a:ext>
              </a:extLst>
            </p:cNvPr>
            <p:cNvSpPr/>
            <p:nvPr/>
          </p:nvSpPr>
          <p:spPr>
            <a:xfrm>
              <a:off x="1486100" y="2130373"/>
              <a:ext cx="57225" cy="41999"/>
            </a:xfrm>
            <a:custGeom>
              <a:avLst/>
              <a:gdLst>
                <a:gd name="connsiteX0" fmla="*/ 0 w 57225"/>
                <a:gd name="connsiteY0" fmla="*/ 28042 h 41999"/>
                <a:gd name="connsiteX1" fmla="*/ 0 w 57225"/>
                <a:gd name="connsiteY1" fmla="*/ 13957 h 41999"/>
                <a:gd name="connsiteX2" fmla="*/ 19033 w 57225"/>
                <a:gd name="connsiteY2" fmla="*/ 13957 h 41999"/>
                <a:gd name="connsiteX3" fmla="*/ 19033 w 57225"/>
                <a:gd name="connsiteY3" fmla="*/ 0 h 41999"/>
                <a:gd name="connsiteX4" fmla="*/ 38066 w 57225"/>
                <a:gd name="connsiteY4" fmla="*/ 0 h 41999"/>
                <a:gd name="connsiteX5" fmla="*/ 38066 w 57225"/>
                <a:gd name="connsiteY5" fmla="*/ 13957 h 41999"/>
                <a:gd name="connsiteX6" fmla="*/ 57225 w 57225"/>
                <a:gd name="connsiteY6" fmla="*/ 13957 h 41999"/>
                <a:gd name="connsiteX7" fmla="*/ 57225 w 57225"/>
                <a:gd name="connsiteY7" fmla="*/ 28042 h 41999"/>
                <a:gd name="connsiteX8" fmla="*/ 38066 w 57225"/>
                <a:gd name="connsiteY8" fmla="*/ 28042 h 41999"/>
                <a:gd name="connsiteX9" fmla="*/ 38066 w 57225"/>
                <a:gd name="connsiteY9" fmla="*/ 41999 h 41999"/>
                <a:gd name="connsiteX10" fmla="*/ 19033 w 57225"/>
                <a:gd name="connsiteY10" fmla="*/ 41999 h 41999"/>
                <a:gd name="connsiteX11" fmla="*/ 19033 w 57225"/>
                <a:gd name="connsiteY11" fmla="*/ 28042 h 41999"/>
                <a:gd name="connsiteX12" fmla="*/ 0 w 57225"/>
                <a:gd name="connsiteY12" fmla="*/ 28042 h 4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9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066" y="28042"/>
                  </a:lnTo>
                  <a:lnTo>
                    <a:pt x="38066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55C4C2D5-73B9-0757-C088-3A222A6F612A}"/>
                </a:ext>
              </a:extLst>
            </p:cNvPr>
            <p:cNvSpPr/>
            <p:nvPr/>
          </p:nvSpPr>
          <p:spPr>
            <a:xfrm>
              <a:off x="1503357" y="2199399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2 w 57225"/>
                <a:gd name="connsiteY8" fmla="*/ 28042 h 41998"/>
                <a:gd name="connsiteX9" fmla="*/ 38192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EE05DD7C-A8D1-B14B-0306-F69179E5078B}"/>
                </a:ext>
              </a:extLst>
            </p:cNvPr>
            <p:cNvSpPr/>
            <p:nvPr/>
          </p:nvSpPr>
          <p:spPr>
            <a:xfrm>
              <a:off x="1507290" y="2222492"/>
              <a:ext cx="57225" cy="41998"/>
            </a:xfrm>
            <a:custGeom>
              <a:avLst/>
              <a:gdLst>
                <a:gd name="connsiteX0" fmla="*/ 0 w 57225"/>
                <a:gd name="connsiteY0" fmla="*/ 27915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7915 h 41998"/>
                <a:gd name="connsiteX8" fmla="*/ 38192 w 57225"/>
                <a:gd name="connsiteY8" fmla="*/ 27915 h 41998"/>
                <a:gd name="connsiteX9" fmla="*/ 38192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7915 h 41998"/>
                <a:gd name="connsiteX12" fmla="*/ 0 w 57225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7915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A46AAE59-D5E5-5DF9-5BF4-E7CE8FBA0C00}"/>
                </a:ext>
              </a:extLst>
            </p:cNvPr>
            <p:cNvSpPr/>
            <p:nvPr/>
          </p:nvSpPr>
          <p:spPr>
            <a:xfrm>
              <a:off x="1515030" y="2250153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4084 h 41998"/>
                <a:gd name="connsiteX2" fmla="*/ 19160 w 57225"/>
                <a:gd name="connsiteY2" fmla="*/ 14084 h 41998"/>
                <a:gd name="connsiteX3" fmla="*/ 19160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4084 h 41998"/>
                <a:gd name="connsiteX6" fmla="*/ 57225 w 57225"/>
                <a:gd name="connsiteY6" fmla="*/ 14084 h 41998"/>
                <a:gd name="connsiteX7" fmla="*/ 57225 w 57225"/>
                <a:gd name="connsiteY7" fmla="*/ 28042 h 41998"/>
                <a:gd name="connsiteX8" fmla="*/ 38192 w 57225"/>
                <a:gd name="connsiteY8" fmla="*/ 28042 h 41998"/>
                <a:gd name="connsiteX9" fmla="*/ 38192 w 57225"/>
                <a:gd name="connsiteY9" fmla="*/ 41999 h 41998"/>
                <a:gd name="connsiteX10" fmla="*/ 19160 w 57225"/>
                <a:gd name="connsiteY10" fmla="*/ 41999 h 41998"/>
                <a:gd name="connsiteX11" fmla="*/ 19160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4084"/>
                  </a:lnTo>
                  <a:lnTo>
                    <a:pt x="19160" y="14084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4" name="Freihandform: Form 63">
              <a:extLst>
                <a:ext uri="{FF2B5EF4-FFF2-40B4-BE49-F238E27FC236}">
                  <a16:creationId xmlns:a16="http://schemas.microsoft.com/office/drawing/2014/main" id="{35477FE7-A0CA-E953-360C-18447482B09D}"/>
                </a:ext>
              </a:extLst>
            </p:cNvPr>
            <p:cNvSpPr/>
            <p:nvPr/>
          </p:nvSpPr>
          <p:spPr>
            <a:xfrm>
              <a:off x="1542184" y="2324254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2 w 57225"/>
                <a:gd name="connsiteY8" fmla="*/ 28042 h 41998"/>
                <a:gd name="connsiteX9" fmla="*/ 38192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5" name="Freihandform: Form 64">
              <a:extLst>
                <a:ext uri="{FF2B5EF4-FFF2-40B4-BE49-F238E27FC236}">
                  <a16:creationId xmlns:a16="http://schemas.microsoft.com/office/drawing/2014/main" id="{3F901F46-BE11-D8DE-1F37-D4B7F1A28C4D}"/>
                </a:ext>
              </a:extLst>
            </p:cNvPr>
            <p:cNvSpPr/>
            <p:nvPr/>
          </p:nvSpPr>
          <p:spPr>
            <a:xfrm>
              <a:off x="1549797" y="2342779"/>
              <a:ext cx="57225" cy="41998"/>
            </a:xfrm>
            <a:custGeom>
              <a:avLst/>
              <a:gdLst>
                <a:gd name="connsiteX0" fmla="*/ 0 w 57225"/>
                <a:gd name="connsiteY0" fmla="*/ 27915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7915 h 41998"/>
                <a:gd name="connsiteX8" fmla="*/ 38192 w 57225"/>
                <a:gd name="connsiteY8" fmla="*/ 27915 h 41998"/>
                <a:gd name="connsiteX9" fmla="*/ 38192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7915 h 41998"/>
                <a:gd name="connsiteX12" fmla="*/ 0 w 57225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7915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6" name="Freihandform: Form 65">
              <a:extLst>
                <a:ext uri="{FF2B5EF4-FFF2-40B4-BE49-F238E27FC236}">
                  <a16:creationId xmlns:a16="http://schemas.microsoft.com/office/drawing/2014/main" id="{017E5A1E-03EE-14A7-8347-00A4CA5231E5}"/>
                </a:ext>
              </a:extLst>
            </p:cNvPr>
            <p:cNvSpPr/>
            <p:nvPr/>
          </p:nvSpPr>
          <p:spPr>
            <a:xfrm>
              <a:off x="1549797" y="2342779"/>
              <a:ext cx="57225" cy="41998"/>
            </a:xfrm>
            <a:custGeom>
              <a:avLst/>
              <a:gdLst>
                <a:gd name="connsiteX0" fmla="*/ 0 w 57225"/>
                <a:gd name="connsiteY0" fmla="*/ 27915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7915 h 41998"/>
                <a:gd name="connsiteX8" fmla="*/ 38192 w 57225"/>
                <a:gd name="connsiteY8" fmla="*/ 27915 h 41998"/>
                <a:gd name="connsiteX9" fmla="*/ 38192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7915 h 41998"/>
                <a:gd name="connsiteX12" fmla="*/ 0 w 57225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7915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7" name="Freihandform: Form 66">
              <a:extLst>
                <a:ext uri="{FF2B5EF4-FFF2-40B4-BE49-F238E27FC236}">
                  <a16:creationId xmlns:a16="http://schemas.microsoft.com/office/drawing/2014/main" id="{E67564FF-73ED-EFCE-B0D5-98C2DE31995B}"/>
                </a:ext>
              </a:extLst>
            </p:cNvPr>
            <p:cNvSpPr/>
            <p:nvPr/>
          </p:nvSpPr>
          <p:spPr>
            <a:xfrm>
              <a:off x="1553730" y="2361431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2 w 57225"/>
                <a:gd name="connsiteY8" fmla="*/ 28042 h 41998"/>
                <a:gd name="connsiteX9" fmla="*/ 38192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8" name="Freihandform: Form 67">
              <a:extLst>
                <a:ext uri="{FF2B5EF4-FFF2-40B4-BE49-F238E27FC236}">
                  <a16:creationId xmlns:a16="http://schemas.microsoft.com/office/drawing/2014/main" id="{0BE7020D-38EE-ADF1-42C8-3F352BF01BD7}"/>
                </a:ext>
              </a:extLst>
            </p:cNvPr>
            <p:cNvSpPr/>
            <p:nvPr/>
          </p:nvSpPr>
          <p:spPr>
            <a:xfrm>
              <a:off x="1555633" y="2366126"/>
              <a:ext cx="57225" cy="41998"/>
            </a:xfrm>
            <a:custGeom>
              <a:avLst/>
              <a:gdLst>
                <a:gd name="connsiteX0" fmla="*/ 0 w 57225"/>
                <a:gd name="connsiteY0" fmla="*/ 27915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7915 h 41998"/>
                <a:gd name="connsiteX8" fmla="*/ 38192 w 57225"/>
                <a:gd name="connsiteY8" fmla="*/ 27915 h 41998"/>
                <a:gd name="connsiteX9" fmla="*/ 38192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7915 h 41998"/>
                <a:gd name="connsiteX12" fmla="*/ 0 w 57225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7915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9" name="Freihandform: Form 68">
              <a:extLst>
                <a:ext uri="{FF2B5EF4-FFF2-40B4-BE49-F238E27FC236}">
                  <a16:creationId xmlns:a16="http://schemas.microsoft.com/office/drawing/2014/main" id="{6F228E32-C4E8-EBEE-DC55-02812E9D8C14}"/>
                </a:ext>
              </a:extLst>
            </p:cNvPr>
            <p:cNvSpPr/>
            <p:nvPr/>
          </p:nvSpPr>
          <p:spPr>
            <a:xfrm>
              <a:off x="1574920" y="2487555"/>
              <a:ext cx="57352" cy="41999"/>
            </a:xfrm>
            <a:custGeom>
              <a:avLst/>
              <a:gdLst>
                <a:gd name="connsiteX0" fmla="*/ 0 w 57352"/>
                <a:gd name="connsiteY0" fmla="*/ 28042 h 41999"/>
                <a:gd name="connsiteX1" fmla="*/ 0 w 57352"/>
                <a:gd name="connsiteY1" fmla="*/ 13957 h 41999"/>
                <a:gd name="connsiteX2" fmla="*/ 19160 w 57352"/>
                <a:gd name="connsiteY2" fmla="*/ 13957 h 41999"/>
                <a:gd name="connsiteX3" fmla="*/ 19160 w 57352"/>
                <a:gd name="connsiteY3" fmla="*/ 0 h 41999"/>
                <a:gd name="connsiteX4" fmla="*/ 38192 w 57352"/>
                <a:gd name="connsiteY4" fmla="*/ 0 h 41999"/>
                <a:gd name="connsiteX5" fmla="*/ 38192 w 57352"/>
                <a:gd name="connsiteY5" fmla="*/ 13957 h 41999"/>
                <a:gd name="connsiteX6" fmla="*/ 57352 w 57352"/>
                <a:gd name="connsiteY6" fmla="*/ 13957 h 41999"/>
                <a:gd name="connsiteX7" fmla="*/ 57352 w 57352"/>
                <a:gd name="connsiteY7" fmla="*/ 28042 h 41999"/>
                <a:gd name="connsiteX8" fmla="*/ 38192 w 57352"/>
                <a:gd name="connsiteY8" fmla="*/ 28042 h 41999"/>
                <a:gd name="connsiteX9" fmla="*/ 38192 w 57352"/>
                <a:gd name="connsiteY9" fmla="*/ 41999 h 41999"/>
                <a:gd name="connsiteX10" fmla="*/ 19160 w 57352"/>
                <a:gd name="connsiteY10" fmla="*/ 41999 h 41999"/>
                <a:gd name="connsiteX11" fmla="*/ 19160 w 57352"/>
                <a:gd name="connsiteY11" fmla="*/ 28042 h 41999"/>
                <a:gd name="connsiteX12" fmla="*/ 0 w 57352"/>
                <a:gd name="connsiteY12" fmla="*/ 28042 h 4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2" h="41999">
                  <a:moveTo>
                    <a:pt x="0" y="28042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352" y="13957"/>
                  </a:lnTo>
                  <a:lnTo>
                    <a:pt x="57352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0" name="Freihandform: Form 69">
              <a:extLst>
                <a:ext uri="{FF2B5EF4-FFF2-40B4-BE49-F238E27FC236}">
                  <a16:creationId xmlns:a16="http://schemas.microsoft.com/office/drawing/2014/main" id="{0FE8068B-0ADC-8C95-0895-F84F8E292D42}"/>
                </a:ext>
              </a:extLst>
            </p:cNvPr>
            <p:cNvSpPr/>
            <p:nvPr/>
          </p:nvSpPr>
          <p:spPr>
            <a:xfrm>
              <a:off x="1607910" y="2595281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4084 h 41998"/>
                <a:gd name="connsiteX2" fmla="*/ 19160 w 57225"/>
                <a:gd name="connsiteY2" fmla="*/ 14084 h 41998"/>
                <a:gd name="connsiteX3" fmla="*/ 19160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4084 h 41998"/>
                <a:gd name="connsiteX6" fmla="*/ 57225 w 57225"/>
                <a:gd name="connsiteY6" fmla="*/ 14084 h 41998"/>
                <a:gd name="connsiteX7" fmla="*/ 57225 w 57225"/>
                <a:gd name="connsiteY7" fmla="*/ 28042 h 41998"/>
                <a:gd name="connsiteX8" fmla="*/ 38192 w 57225"/>
                <a:gd name="connsiteY8" fmla="*/ 28042 h 41998"/>
                <a:gd name="connsiteX9" fmla="*/ 38192 w 57225"/>
                <a:gd name="connsiteY9" fmla="*/ 41999 h 41998"/>
                <a:gd name="connsiteX10" fmla="*/ 19160 w 57225"/>
                <a:gd name="connsiteY10" fmla="*/ 41999 h 41998"/>
                <a:gd name="connsiteX11" fmla="*/ 19160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4084"/>
                  </a:lnTo>
                  <a:lnTo>
                    <a:pt x="19160" y="14084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1" name="Freihandform: Form 70">
              <a:extLst>
                <a:ext uri="{FF2B5EF4-FFF2-40B4-BE49-F238E27FC236}">
                  <a16:creationId xmlns:a16="http://schemas.microsoft.com/office/drawing/2014/main" id="{A3CCC719-1AC6-BA5B-07DD-8492B29E9C58}"/>
                </a:ext>
              </a:extLst>
            </p:cNvPr>
            <p:cNvSpPr/>
            <p:nvPr/>
          </p:nvSpPr>
          <p:spPr>
            <a:xfrm>
              <a:off x="1617553" y="2623576"/>
              <a:ext cx="57352" cy="41999"/>
            </a:xfrm>
            <a:custGeom>
              <a:avLst/>
              <a:gdLst>
                <a:gd name="connsiteX0" fmla="*/ 0 w 57352"/>
                <a:gd name="connsiteY0" fmla="*/ 27915 h 41999"/>
                <a:gd name="connsiteX1" fmla="*/ 0 w 57352"/>
                <a:gd name="connsiteY1" fmla="*/ 13957 h 41999"/>
                <a:gd name="connsiteX2" fmla="*/ 19160 w 57352"/>
                <a:gd name="connsiteY2" fmla="*/ 13957 h 41999"/>
                <a:gd name="connsiteX3" fmla="*/ 19160 w 57352"/>
                <a:gd name="connsiteY3" fmla="*/ 0 h 41999"/>
                <a:gd name="connsiteX4" fmla="*/ 38192 w 57352"/>
                <a:gd name="connsiteY4" fmla="*/ 0 h 41999"/>
                <a:gd name="connsiteX5" fmla="*/ 38192 w 57352"/>
                <a:gd name="connsiteY5" fmla="*/ 13957 h 41999"/>
                <a:gd name="connsiteX6" fmla="*/ 57352 w 57352"/>
                <a:gd name="connsiteY6" fmla="*/ 13957 h 41999"/>
                <a:gd name="connsiteX7" fmla="*/ 57352 w 57352"/>
                <a:gd name="connsiteY7" fmla="*/ 27915 h 41999"/>
                <a:gd name="connsiteX8" fmla="*/ 38192 w 57352"/>
                <a:gd name="connsiteY8" fmla="*/ 27915 h 41999"/>
                <a:gd name="connsiteX9" fmla="*/ 38192 w 57352"/>
                <a:gd name="connsiteY9" fmla="*/ 41999 h 41999"/>
                <a:gd name="connsiteX10" fmla="*/ 19160 w 57352"/>
                <a:gd name="connsiteY10" fmla="*/ 41999 h 41999"/>
                <a:gd name="connsiteX11" fmla="*/ 19160 w 57352"/>
                <a:gd name="connsiteY11" fmla="*/ 27915 h 41999"/>
                <a:gd name="connsiteX12" fmla="*/ 0 w 57352"/>
                <a:gd name="connsiteY12" fmla="*/ 27915 h 4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2" h="41999">
                  <a:moveTo>
                    <a:pt x="0" y="27915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352" y="13957"/>
                  </a:lnTo>
                  <a:lnTo>
                    <a:pt x="57352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84027D66-DECD-C4C2-994A-109998106502}"/>
                </a:ext>
              </a:extLst>
            </p:cNvPr>
            <p:cNvSpPr/>
            <p:nvPr/>
          </p:nvSpPr>
          <p:spPr>
            <a:xfrm>
              <a:off x="1631130" y="2680040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066 w 57225"/>
                <a:gd name="connsiteY4" fmla="*/ 0 h 41998"/>
                <a:gd name="connsiteX5" fmla="*/ 38066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066 w 57225"/>
                <a:gd name="connsiteY8" fmla="*/ 28042 h 41998"/>
                <a:gd name="connsiteX9" fmla="*/ 38066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066" y="28042"/>
                  </a:lnTo>
                  <a:lnTo>
                    <a:pt x="38066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3" name="Freihandform: Form 72">
              <a:extLst>
                <a:ext uri="{FF2B5EF4-FFF2-40B4-BE49-F238E27FC236}">
                  <a16:creationId xmlns:a16="http://schemas.microsoft.com/office/drawing/2014/main" id="{6D0E11A7-3998-7ACF-18E5-8FB3D51C2433}"/>
                </a:ext>
              </a:extLst>
            </p:cNvPr>
            <p:cNvSpPr/>
            <p:nvPr/>
          </p:nvSpPr>
          <p:spPr>
            <a:xfrm>
              <a:off x="1633033" y="2698819"/>
              <a:ext cx="57225" cy="42125"/>
            </a:xfrm>
            <a:custGeom>
              <a:avLst/>
              <a:gdLst>
                <a:gd name="connsiteX0" fmla="*/ 0 w 57225"/>
                <a:gd name="connsiteY0" fmla="*/ 28042 h 42125"/>
                <a:gd name="connsiteX1" fmla="*/ 0 w 57225"/>
                <a:gd name="connsiteY1" fmla="*/ 14084 h 42125"/>
                <a:gd name="connsiteX2" fmla="*/ 19033 w 57225"/>
                <a:gd name="connsiteY2" fmla="*/ 14084 h 42125"/>
                <a:gd name="connsiteX3" fmla="*/ 19033 w 57225"/>
                <a:gd name="connsiteY3" fmla="*/ 0 h 42125"/>
                <a:gd name="connsiteX4" fmla="*/ 38066 w 57225"/>
                <a:gd name="connsiteY4" fmla="*/ 0 h 42125"/>
                <a:gd name="connsiteX5" fmla="*/ 38066 w 57225"/>
                <a:gd name="connsiteY5" fmla="*/ 14084 h 42125"/>
                <a:gd name="connsiteX6" fmla="*/ 57225 w 57225"/>
                <a:gd name="connsiteY6" fmla="*/ 14084 h 42125"/>
                <a:gd name="connsiteX7" fmla="*/ 57225 w 57225"/>
                <a:gd name="connsiteY7" fmla="*/ 28042 h 42125"/>
                <a:gd name="connsiteX8" fmla="*/ 38066 w 57225"/>
                <a:gd name="connsiteY8" fmla="*/ 28042 h 42125"/>
                <a:gd name="connsiteX9" fmla="*/ 38066 w 57225"/>
                <a:gd name="connsiteY9" fmla="*/ 42126 h 42125"/>
                <a:gd name="connsiteX10" fmla="*/ 19033 w 57225"/>
                <a:gd name="connsiteY10" fmla="*/ 42126 h 42125"/>
                <a:gd name="connsiteX11" fmla="*/ 19033 w 57225"/>
                <a:gd name="connsiteY11" fmla="*/ 28042 h 42125"/>
                <a:gd name="connsiteX12" fmla="*/ 0 w 57225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2125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066" y="28042"/>
                  </a:lnTo>
                  <a:lnTo>
                    <a:pt x="38066" y="42126"/>
                  </a:lnTo>
                  <a:lnTo>
                    <a:pt x="19033" y="42126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18115EDF-6BD8-ACF3-AF8B-8AEA34163F9C}"/>
                </a:ext>
              </a:extLst>
            </p:cNvPr>
            <p:cNvSpPr/>
            <p:nvPr/>
          </p:nvSpPr>
          <p:spPr>
            <a:xfrm>
              <a:off x="1660060" y="2812381"/>
              <a:ext cx="57225" cy="41998"/>
            </a:xfrm>
            <a:custGeom>
              <a:avLst/>
              <a:gdLst>
                <a:gd name="connsiteX0" fmla="*/ 0 w 57225"/>
                <a:gd name="connsiteY0" fmla="*/ 27915 h 41998"/>
                <a:gd name="connsiteX1" fmla="*/ 0 w 57225"/>
                <a:gd name="connsiteY1" fmla="*/ 13957 h 41998"/>
                <a:gd name="connsiteX2" fmla="*/ 19160 w 57225"/>
                <a:gd name="connsiteY2" fmla="*/ 13957 h 41998"/>
                <a:gd name="connsiteX3" fmla="*/ 19160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7915 h 41998"/>
                <a:gd name="connsiteX8" fmla="*/ 38192 w 57225"/>
                <a:gd name="connsiteY8" fmla="*/ 27915 h 41998"/>
                <a:gd name="connsiteX9" fmla="*/ 38192 w 57225"/>
                <a:gd name="connsiteY9" fmla="*/ 41999 h 41998"/>
                <a:gd name="connsiteX10" fmla="*/ 19160 w 57225"/>
                <a:gd name="connsiteY10" fmla="*/ 41999 h 41998"/>
                <a:gd name="connsiteX11" fmla="*/ 19160 w 57225"/>
                <a:gd name="connsiteY11" fmla="*/ 27915 h 41998"/>
                <a:gd name="connsiteX12" fmla="*/ 0 w 57225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7915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5" name="Freihandform: Form 74">
              <a:extLst>
                <a:ext uri="{FF2B5EF4-FFF2-40B4-BE49-F238E27FC236}">
                  <a16:creationId xmlns:a16="http://schemas.microsoft.com/office/drawing/2014/main" id="{9611E7E5-8BF9-EC0D-3785-654312508578}"/>
                </a:ext>
              </a:extLst>
            </p:cNvPr>
            <p:cNvSpPr/>
            <p:nvPr/>
          </p:nvSpPr>
          <p:spPr>
            <a:xfrm>
              <a:off x="1712337" y="3030497"/>
              <a:ext cx="57225" cy="41999"/>
            </a:xfrm>
            <a:custGeom>
              <a:avLst/>
              <a:gdLst>
                <a:gd name="connsiteX0" fmla="*/ 0 w 57225"/>
                <a:gd name="connsiteY0" fmla="*/ 28042 h 41999"/>
                <a:gd name="connsiteX1" fmla="*/ 0 w 57225"/>
                <a:gd name="connsiteY1" fmla="*/ 13957 h 41999"/>
                <a:gd name="connsiteX2" fmla="*/ 19160 w 57225"/>
                <a:gd name="connsiteY2" fmla="*/ 13957 h 41999"/>
                <a:gd name="connsiteX3" fmla="*/ 19160 w 57225"/>
                <a:gd name="connsiteY3" fmla="*/ 0 h 41999"/>
                <a:gd name="connsiteX4" fmla="*/ 38192 w 57225"/>
                <a:gd name="connsiteY4" fmla="*/ 0 h 41999"/>
                <a:gd name="connsiteX5" fmla="*/ 38192 w 57225"/>
                <a:gd name="connsiteY5" fmla="*/ 13957 h 41999"/>
                <a:gd name="connsiteX6" fmla="*/ 57225 w 57225"/>
                <a:gd name="connsiteY6" fmla="*/ 13957 h 41999"/>
                <a:gd name="connsiteX7" fmla="*/ 57225 w 57225"/>
                <a:gd name="connsiteY7" fmla="*/ 28042 h 41999"/>
                <a:gd name="connsiteX8" fmla="*/ 38192 w 57225"/>
                <a:gd name="connsiteY8" fmla="*/ 28042 h 41999"/>
                <a:gd name="connsiteX9" fmla="*/ 38192 w 57225"/>
                <a:gd name="connsiteY9" fmla="*/ 41999 h 41999"/>
                <a:gd name="connsiteX10" fmla="*/ 19160 w 57225"/>
                <a:gd name="connsiteY10" fmla="*/ 41999 h 41999"/>
                <a:gd name="connsiteX11" fmla="*/ 19160 w 57225"/>
                <a:gd name="connsiteY11" fmla="*/ 28042 h 41999"/>
                <a:gd name="connsiteX12" fmla="*/ 0 w 57225"/>
                <a:gd name="connsiteY12" fmla="*/ 28042 h 4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9">
                  <a:moveTo>
                    <a:pt x="0" y="28042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6" name="Freihandform: Form 75">
              <a:extLst>
                <a:ext uri="{FF2B5EF4-FFF2-40B4-BE49-F238E27FC236}">
                  <a16:creationId xmlns:a16="http://schemas.microsoft.com/office/drawing/2014/main" id="{02CE1DC1-F2FF-152D-75BA-2F165F84DACF}"/>
                </a:ext>
              </a:extLst>
            </p:cNvPr>
            <p:cNvSpPr/>
            <p:nvPr/>
          </p:nvSpPr>
          <p:spPr>
            <a:xfrm>
              <a:off x="1722107" y="3077952"/>
              <a:ext cx="57225" cy="42125"/>
            </a:xfrm>
            <a:custGeom>
              <a:avLst/>
              <a:gdLst>
                <a:gd name="connsiteX0" fmla="*/ 0 w 57225"/>
                <a:gd name="connsiteY0" fmla="*/ 28042 h 42125"/>
                <a:gd name="connsiteX1" fmla="*/ 0 w 57225"/>
                <a:gd name="connsiteY1" fmla="*/ 14084 h 42125"/>
                <a:gd name="connsiteX2" fmla="*/ 19033 w 57225"/>
                <a:gd name="connsiteY2" fmla="*/ 14084 h 42125"/>
                <a:gd name="connsiteX3" fmla="*/ 19033 w 57225"/>
                <a:gd name="connsiteY3" fmla="*/ 0 h 42125"/>
                <a:gd name="connsiteX4" fmla="*/ 38066 w 57225"/>
                <a:gd name="connsiteY4" fmla="*/ 0 h 42125"/>
                <a:gd name="connsiteX5" fmla="*/ 38066 w 57225"/>
                <a:gd name="connsiteY5" fmla="*/ 14084 h 42125"/>
                <a:gd name="connsiteX6" fmla="*/ 57225 w 57225"/>
                <a:gd name="connsiteY6" fmla="*/ 14084 h 42125"/>
                <a:gd name="connsiteX7" fmla="*/ 57225 w 57225"/>
                <a:gd name="connsiteY7" fmla="*/ 28042 h 42125"/>
                <a:gd name="connsiteX8" fmla="*/ 38066 w 57225"/>
                <a:gd name="connsiteY8" fmla="*/ 28042 h 42125"/>
                <a:gd name="connsiteX9" fmla="*/ 38066 w 57225"/>
                <a:gd name="connsiteY9" fmla="*/ 42126 h 42125"/>
                <a:gd name="connsiteX10" fmla="*/ 19033 w 57225"/>
                <a:gd name="connsiteY10" fmla="*/ 42126 h 42125"/>
                <a:gd name="connsiteX11" fmla="*/ 19033 w 57225"/>
                <a:gd name="connsiteY11" fmla="*/ 28042 h 42125"/>
                <a:gd name="connsiteX12" fmla="*/ 0 w 57225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2125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066" y="28042"/>
                  </a:lnTo>
                  <a:lnTo>
                    <a:pt x="38066" y="42126"/>
                  </a:lnTo>
                  <a:lnTo>
                    <a:pt x="19033" y="42126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7" name="Freihandform: Form 76">
              <a:extLst>
                <a:ext uri="{FF2B5EF4-FFF2-40B4-BE49-F238E27FC236}">
                  <a16:creationId xmlns:a16="http://schemas.microsoft.com/office/drawing/2014/main" id="{28E78B12-1AFC-35B0-A3BF-CA498A71A6F6}"/>
                </a:ext>
              </a:extLst>
            </p:cNvPr>
            <p:cNvSpPr/>
            <p:nvPr/>
          </p:nvSpPr>
          <p:spPr>
            <a:xfrm>
              <a:off x="1797477" y="3278304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2 w 57225"/>
                <a:gd name="connsiteY8" fmla="*/ 28042 h 41998"/>
                <a:gd name="connsiteX9" fmla="*/ 38192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8" name="Freihandform: Form 77">
              <a:extLst>
                <a:ext uri="{FF2B5EF4-FFF2-40B4-BE49-F238E27FC236}">
                  <a16:creationId xmlns:a16="http://schemas.microsoft.com/office/drawing/2014/main" id="{59D0C3F8-6941-5204-A07E-3E73523B9DBB}"/>
                </a:ext>
              </a:extLst>
            </p:cNvPr>
            <p:cNvSpPr/>
            <p:nvPr/>
          </p:nvSpPr>
          <p:spPr>
            <a:xfrm>
              <a:off x="1880713" y="3445792"/>
              <a:ext cx="57225" cy="41999"/>
            </a:xfrm>
            <a:custGeom>
              <a:avLst/>
              <a:gdLst>
                <a:gd name="connsiteX0" fmla="*/ 0 w 57225"/>
                <a:gd name="connsiteY0" fmla="*/ 28042 h 41999"/>
                <a:gd name="connsiteX1" fmla="*/ 0 w 57225"/>
                <a:gd name="connsiteY1" fmla="*/ 14084 h 41999"/>
                <a:gd name="connsiteX2" fmla="*/ 19033 w 57225"/>
                <a:gd name="connsiteY2" fmla="*/ 14084 h 41999"/>
                <a:gd name="connsiteX3" fmla="*/ 19033 w 57225"/>
                <a:gd name="connsiteY3" fmla="*/ 0 h 41999"/>
                <a:gd name="connsiteX4" fmla="*/ 38192 w 57225"/>
                <a:gd name="connsiteY4" fmla="*/ 0 h 41999"/>
                <a:gd name="connsiteX5" fmla="*/ 38192 w 57225"/>
                <a:gd name="connsiteY5" fmla="*/ 14084 h 41999"/>
                <a:gd name="connsiteX6" fmla="*/ 57225 w 57225"/>
                <a:gd name="connsiteY6" fmla="*/ 14084 h 41999"/>
                <a:gd name="connsiteX7" fmla="*/ 57225 w 57225"/>
                <a:gd name="connsiteY7" fmla="*/ 28042 h 41999"/>
                <a:gd name="connsiteX8" fmla="*/ 38192 w 57225"/>
                <a:gd name="connsiteY8" fmla="*/ 28042 h 41999"/>
                <a:gd name="connsiteX9" fmla="*/ 38192 w 57225"/>
                <a:gd name="connsiteY9" fmla="*/ 41999 h 41999"/>
                <a:gd name="connsiteX10" fmla="*/ 19033 w 57225"/>
                <a:gd name="connsiteY10" fmla="*/ 41999 h 41999"/>
                <a:gd name="connsiteX11" fmla="*/ 19033 w 57225"/>
                <a:gd name="connsiteY11" fmla="*/ 28042 h 41999"/>
                <a:gd name="connsiteX12" fmla="*/ 0 w 57225"/>
                <a:gd name="connsiteY12" fmla="*/ 28042 h 4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9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9" name="Freihandform: Form 78">
              <a:extLst>
                <a:ext uri="{FF2B5EF4-FFF2-40B4-BE49-F238E27FC236}">
                  <a16:creationId xmlns:a16="http://schemas.microsoft.com/office/drawing/2014/main" id="{FC81BC14-C81A-7F51-F8E3-61474AF11C4C}"/>
                </a:ext>
              </a:extLst>
            </p:cNvPr>
            <p:cNvSpPr/>
            <p:nvPr/>
          </p:nvSpPr>
          <p:spPr>
            <a:xfrm>
              <a:off x="1886423" y="3450614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2 w 57225"/>
                <a:gd name="connsiteY8" fmla="*/ 28042 h 41998"/>
                <a:gd name="connsiteX9" fmla="*/ 38192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0" name="Freihandform: Form 79">
              <a:extLst>
                <a:ext uri="{FF2B5EF4-FFF2-40B4-BE49-F238E27FC236}">
                  <a16:creationId xmlns:a16="http://schemas.microsoft.com/office/drawing/2014/main" id="{6F73EA4F-B120-9B61-34B9-51C06DED075D}"/>
                </a:ext>
              </a:extLst>
            </p:cNvPr>
            <p:cNvSpPr/>
            <p:nvPr/>
          </p:nvSpPr>
          <p:spPr>
            <a:xfrm>
              <a:off x="1905710" y="3469901"/>
              <a:ext cx="57352" cy="41998"/>
            </a:xfrm>
            <a:custGeom>
              <a:avLst/>
              <a:gdLst>
                <a:gd name="connsiteX0" fmla="*/ 0 w 57352"/>
                <a:gd name="connsiteY0" fmla="*/ 28042 h 41998"/>
                <a:gd name="connsiteX1" fmla="*/ 0 w 57352"/>
                <a:gd name="connsiteY1" fmla="*/ 14084 h 41998"/>
                <a:gd name="connsiteX2" fmla="*/ 19160 w 57352"/>
                <a:gd name="connsiteY2" fmla="*/ 14084 h 41998"/>
                <a:gd name="connsiteX3" fmla="*/ 19160 w 57352"/>
                <a:gd name="connsiteY3" fmla="*/ 0 h 41998"/>
                <a:gd name="connsiteX4" fmla="*/ 38192 w 57352"/>
                <a:gd name="connsiteY4" fmla="*/ 0 h 41998"/>
                <a:gd name="connsiteX5" fmla="*/ 38192 w 57352"/>
                <a:gd name="connsiteY5" fmla="*/ 14084 h 41998"/>
                <a:gd name="connsiteX6" fmla="*/ 57352 w 57352"/>
                <a:gd name="connsiteY6" fmla="*/ 14084 h 41998"/>
                <a:gd name="connsiteX7" fmla="*/ 57352 w 57352"/>
                <a:gd name="connsiteY7" fmla="*/ 28042 h 41998"/>
                <a:gd name="connsiteX8" fmla="*/ 38192 w 57352"/>
                <a:gd name="connsiteY8" fmla="*/ 28042 h 41998"/>
                <a:gd name="connsiteX9" fmla="*/ 38192 w 57352"/>
                <a:gd name="connsiteY9" fmla="*/ 41999 h 41998"/>
                <a:gd name="connsiteX10" fmla="*/ 19160 w 57352"/>
                <a:gd name="connsiteY10" fmla="*/ 41999 h 41998"/>
                <a:gd name="connsiteX11" fmla="*/ 19160 w 57352"/>
                <a:gd name="connsiteY11" fmla="*/ 28042 h 41998"/>
                <a:gd name="connsiteX12" fmla="*/ 0 w 57352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2" h="41998">
                  <a:moveTo>
                    <a:pt x="0" y="28042"/>
                  </a:moveTo>
                  <a:lnTo>
                    <a:pt x="0" y="14084"/>
                  </a:lnTo>
                  <a:lnTo>
                    <a:pt x="19160" y="14084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352" y="14084"/>
                  </a:lnTo>
                  <a:lnTo>
                    <a:pt x="57352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1" name="Freihandform: Form 80">
              <a:extLst>
                <a:ext uri="{FF2B5EF4-FFF2-40B4-BE49-F238E27FC236}">
                  <a16:creationId xmlns:a16="http://schemas.microsoft.com/office/drawing/2014/main" id="{C6962107-DA4E-08B7-9C4E-71A2EA871165}"/>
                </a:ext>
              </a:extLst>
            </p:cNvPr>
            <p:cNvSpPr/>
            <p:nvPr/>
          </p:nvSpPr>
          <p:spPr>
            <a:xfrm>
              <a:off x="1950246" y="3537657"/>
              <a:ext cx="57225" cy="42125"/>
            </a:xfrm>
            <a:custGeom>
              <a:avLst/>
              <a:gdLst>
                <a:gd name="connsiteX0" fmla="*/ 0 w 57225"/>
                <a:gd name="connsiteY0" fmla="*/ 28042 h 42125"/>
                <a:gd name="connsiteX1" fmla="*/ 0 w 57225"/>
                <a:gd name="connsiteY1" fmla="*/ 14084 h 42125"/>
                <a:gd name="connsiteX2" fmla="*/ 19160 w 57225"/>
                <a:gd name="connsiteY2" fmla="*/ 14084 h 42125"/>
                <a:gd name="connsiteX3" fmla="*/ 19160 w 57225"/>
                <a:gd name="connsiteY3" fmla="*/ 0 h 42125"/>
                <a:gd name="connsiteX4" fmla="*/ 38192 w 57225"/>
                <a:gd name="connsiteY4" fmla="*/ 0 h 42125"/>
                <a:gd name="connsiteX5" fmla="*/ 38192 w 57225"/>
                <a:gd name="connsiteY5" fmla="*/ 14084 h 42125"/>
                <a:gd name="connsiteX6" fmla="*/ 57225 w 57225"/>
                <a:gd name="connsiteY6" fmla="*/ 14084 h 42125"/>
                <a:gd name="connsiteX7" fmla="*/ 57225 w 57225"/>
                <a:gd name="connsiteY7" fmla="*/ 28042 h 42125"/>
                <a:gd name="connsiteX8" fmla="*/ 38192 w 57225"/>
                <a:gd name="connsiteY8" fmla="*/ 28042 h 42125"/>
                <a:gd name="connsiteX9" fmla="*/ 38192 w 57225"/>
                <a:gd name="connsiteY9" fmla="*/ 42126 h 42125"/>
                <a:gd name="connsiteX10" fmla="*/ 19160 w 57225"/>
                <a:gd name="connsiteY10" fmla="*/ 42126 h 42125"/>
                <a:gd name="connsiteX11" fmla="*/ 19160 w 57225"/>
                <a:gd name="connsiteY11" fmla="*/ 28042 h 42125"/>
                <a:gd name="connsiteX12" fmla="*/ 0 w 57225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2125">
                  <a:moveTo>
                    <a:pt x="0" y="28042"/>
                  </a:moveTo>
                  <a:lnTo>
                    <a:pt x="0" y="14084"/>
                  </a:lnTo>
                  <a:lnTo>
                    <a:pt x="19160" y="14084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2126"/>
                  </a:lnTo>
                  <a:lnTo>
                    <a:pt x="19160" y="42126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2" name="Freihandform: Form 81">
              <a:extLst>
                <a:ext uri="{FF2B5EF4-FFF2-40B4-BE49-F238E27FC236}">
                  <a16:creationId xmlns:a16="http://schemas.microsoft.com/office/drawing/2014/main" id="{AF39D33E-9730-F3CE-7C1D-F112096A495A}"/>
                </a:ext>
              </a:extLst>
            </p:cNvPr>
            <p:cNvSpPr/>
            <p:nvPr/>
          </p:nvSpPr>
          <p:spPr>
            <a:xfrm>
              <a:off x="2091470" y="3742069"/>
              <a:ext cx="57225" cy="41998"/>
            </a:xfrm>
            <a:custGeom>
              <a:avLst/>
              <a:gdLst>
                <a:gd name="connsiteX0" fmla="*/ 0 w 57225"/>
                <a:gd name="connsiteY0" fmla="*/ 27915 h 41998"/>
                <a:gd name="connsiteX1" fmla="*/ 0 w 57225"/>
                <a:gd name="connsiteY1" fmla="*/ 13957 h 41998"/>
                <a:gd name="connsiteX2" fmla="*/ 19160 w 57225"/>
                <a:gd name="connsiteY2" fmla="*/ 13957 h 41998"/>
                <a:gd name="connsiteX3" fmla="*/ 19160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7915 h 41998"/>
                <a:gd name="connsiteX8" fmla="*/ 38192 w 57225"/>
                <a:gd name="connsiteY8" fmla="*/ 27915 h 41998"/>
                <a:gd name="connsiteX9" fmla="*/ 38192 w 57225"/>
                <a:gd name="connsiteY9" fmla="*/ 41999 h 41998"/>
                <a:gd name="connsiteX10" fmla="*/ 19160 w 57225"/>
                <a:gd name="connsiteY10" fmla="*/ 41999 h 41998"/>
                <a:gd name="connsiteX11" fmla="*/ 19160 w 57225"/>
                <a:gd name="connsiteY11" fmla="*/ 27915 h 41998"/>
                <a:gd name="connsiteX12" fmla="*/ 0 w 57225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7915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3" name="Freihandform: Form 82">
              <a:extLst>
                <a:ext uri="{FF2B5EF4-FFF2-40B4-BE49-F238E27FC236}">
                  <a16:creationId xmlns:a16="http://schemas.microsoft.com/office/drawing/2014/main" id="{A8BAF148-6B47-070D-73E3-40944CF57EE1}"/>
                </a:ext>
              </a:extLst>
            </p:cNvPr>
            <p:cNvSpPr/>
            <p:nvPr/>
          </p:nvSpPr>
          <p:spPr>
            <a:xfrm>
              <a:off x="2091470" y="3742069"/>
              <a:ext cx="57225" cy="41998"/>
            </a:xfrm>
            <a:custGeom>
              <a:avLst/>
              <a:gdLst>
                <a:gd name="connsiteX0" fmla="*/ 0 w 57225"/>
                <a:gd name="connsiteY0" fmla="*/ 27915 h 41998"/>
                <a:gd name="connsiteX1" fmla="*/ 0 w 57225"/>
                <a:gd name="connsiteY1" fmla="*/ 13957 h 41998"/>
                <a:gd name="connsiteX2" fmla="*/ 19160 w 57225"/>
                <a:gd name="connsiteY2" fmla="*/ 13957 h 41998"/>
                <a:gd name="connsiteX3" fmla="*/ 19160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7915 h 41998"/>
                <a:gd name="connsiteX8" fmla="*/ 38192 w 57225"/>
                <a:gd name="connsiteY8" fmla="*/ 27915 h 41998"/>
                <a:gd name="connsiteX9" fmla="*/ 38192 w 57225"/>
                <a:gd name="connsiteY9" fmla="*/ 41999 h 41998"/>
                <a:gd name="connsiteX10" fmla="*/ 19160 w 57225"/>
                <a:gd name="connsiteY10" fmla="*/ 41999 h 41998"/>
                <a:gd name="connsiteX11" fmla="*/ 19160 w 57225"/>
                <a:gd name="connsiteY11" fmla="*/ 27915 h 41998"/>
                <a:gd name="connsiteX12" fmla="*/ 0 w 57225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7915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4" name="Freihandform: Form 83">
              <a:extLst>
                <a:ext uri="{FF2B5EF4-FFF2-40B4-BE49-F238E27FC236}">
                  <a16:creationId xmlns:a16="http://schemas.microsoft.com/office/drawing/2014/main" id="{485E1655-190F-7159-1590-631D0B19EF19}"/>
                </a:ext>
              </a:extLst>
            </p:cNvPr>
            <p:cNvSpPr/>
            <p:nvPr/>
          </p:nvSpPr>
          <p:spPr>
            <a:xfrm>
              <a:off x="2114817" y="3756788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066 w 57225"/>
                <a:gd name="connsiteY4" fmla="*/ 0 h 41998"/>
                <a:gd name="connsiteX5" fmla="*/ 38066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066 w 57225"/>
                <a:gd name="connsiteY8" fmla="*/ 28042 h 41998"/>
                <a:gd name="connsiteX9" fmla="*/ 38066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066" y="28042"/>
                  </a:lnTo>
                  <a:lnTo>
                    <a:pt x="38066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5" name="Freihandform: Form 84">
              <a:extLst>
                <a:ext uri="{FF2B5EF4-FFF2-40B4-BE49-F238E27FC236}">
                  <a16:creationId xmlns:a16="http://schemas.microsoft.com/office/drawing/2014/main" id="{AF20EEFA-0DF2-2BFD-0C86-730D4F6FE547}"/>
                </a:ext>
              </a:extLst>
            </p:cNvPr>
            <p:cNvSpPr/>
            <p:nvPr/>
          </p:nvSpPr>
          <p:spPr>
            <a:xfrm>
              <a:off x="2116720" y="3771634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066 w 57225"/>
                <a:gd name="connsiteY4" fmla="*/ 0 h 41998"/>
                <a:gd name="connsiteX5" fmla="*/ 38066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066 w 57225"/>
                <a:gd name="connsiteY8" fmla="*/ 28042 h 41998"/>
                <a:gd name="connsiteX9" fmla="*/ 38066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066" y="28042"/>
                  </a:lnTo>
                  <a:lnTo>
                    <a:pt x="38066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6" name="Freihandform: Form 85">
              <a:extLst>
                <a:ext uri="{FF2B5EF4-FFF2-40B4-BE49-F238E27FC236}">
                  <a16:creationId xmlns:a16="http://schemas.microsoft.com/office/drawing/2014/main" id="{49BC6267-DBDF-AE95-95AB-8B77E7991C96}"/>
                </a:ext>
              </a:extLst>
            </p:cNvPr>
            <p:cNvSpPr/>
            <p:nvPr/>
          </p:nvSpPr>
          <p:spPr>
            <a:xfrm>
              <a:off x="2136006" y="3796503"/>
              <a:ext cx="57225" cy="41999"/>
            </a:xfrm>
            <a:custGeom>
              <a:avLst/>
              <a:gdLst>
                <a:gd name="connsiteX0" fmla="*/ 0 w 57225"/>
                <a:gd name="connsiteY0" fmla="*/ 28042 h 41999"/>
                <a:gd name="connsiteX1" fmla="*/ 0 w 57225"/>
                <a:gd name="connsiteY1" fmla="*/ 13957 h 41999"/>
                <a:gd name="connsiteX2" fmla="*/ 19160 w 57225"/>
                <a:gd name="connsiteY2" fmla="*/ 13957 h 41999"/>
                <a:gd name="connsiteX3" fmla="*/ 19160 w 57225"/>
                <a:gd name="connsiteY3" fmla="*/ 0 h 41999"/>
                <a:gd name="connsiteX4" fmla="*/ 38192 w 57225"/>
                <a:gd name="connsiteY4" fmla="*/ 0 h 41999"/>
                <a:gd name="connsiteX5" fmla="*/ 38192 w 57225"/>
                <a:gd name="connsiteY5" fmla="*/ 13957 h 41999"/>
                <a:gd name="connsiteX6" fmla="*/ 57225 w 57225"/>
                <a:gd name="connsiteY6" fmla="*/ 13957 h 41999"/>
                <a:gd name="connsiteX7" fmla="*/ 57225 w 57225"/>
                <a:gd name="connsiteY7" fmla="*/ 28042 h 41999"/>
                <a:gd name="connsiteX8" fmla="*/ 38192 w 57225"/>
                <a:gd name="connsiteY8" fmla="*/ 28042 h 41999"/>
                <a:gd name="connsiteX9" fmla="*/ 38192 w 57225"/>
                <a:gd name="connsiteY9" fmla="*/ 41999 h 41999"/>
                <a:gd name="connsiteX10" fmla="*/ 19160 w 57225"/>
                <a:gd name="connsiteY10" fmla="*/ 41999 h 41999"/>
                <a:gd name="connsiteX11" fmla="*/ 19160 w 57225"/>
                <a:gd name="connsiteY11" fmla="*/ 28042 h 41999"/>
                <a:gd name="connsiteX12" fmla="*/ 0 w 57225"/>
                <a:gd name="connsiteY12" fmla="*/ 28042 h 4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9">
                  <a:moveTo>
                    <a:pt x="0" y="28042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7" name="Freihandform: Form 86">
              <a:extLst>
                <a:ext uri="{FF2B5EF4-FFF2-40B4-BE49-F238E27FC236}">
                  <a16:creationId xmlns:a16="http://schemas.microsoft.com/office/drawing/2014/main" id="{D3B793F4-05DF-CA69-9BA4-9FA37925F535}"/>
                </a:ext>
              </a:extLst>
            </p:cNvPr>
            <p:cNvSpPr/>
            <p:nvPr/>
          </p:nvSpPr>
          <p:spPr>
            <a:xfrm>
              <a:off x="2141716" y="3796503"/>
              <a:ext cx="57225" cy="41999"/>
            </a:xfrm>
            <a:custGeom>
              <a:avLst/>
              <a:gdLst>
                <a:gd name="connsiteX0" fmla="*/ 0 w 57225"/>
                <a:gd name="connsiteY0" fmla="*/ 28042 h 41999"/>
                <a:gd name="connsiteX1" fmla="*/ 0 w 57225"/>
                <a:gd name="connsiteY1" fmla="*/ 13957 h 41999"/>
                <a:gd name="connsiteX2" fmla="*/ 19160 w 57225"/>
                <a:gd name="connsiteY2" fmla="*/ 13957 h 41999"/>
                <a:gd name="connsiteX3" fmla="*/ 19160 w 57225"/>
                <a:gd name="connsiteY3" fmla="*/ 0 h 41999"/>
                <a:gd name="connsiteX4" fmla="*/ 38192 w 57225"/>
                <a:gd name="connsiteY4" fmla="*/ 0 h 41999"/>
                <a:gd name="connsiteX5" fmla="*/ 38192 w 57225"/>
                <a:gd name="connsiteY5" fmla="*/ 13957 h 41999"/>
                <a:gd name="connsiteX6" fmla="*/ 57225 w 57225"/>
                <a:gd name="connsiteY6" fmla="*/ 13957 h 41999"/>
                <a:gd name="connsiteX7" fmla="*/ 57225 w 57225"/>
                <a:gd name="connsiteY7" fmla="*/ 28042 h 41999"/>
                <a:gd name="connsiteX8" fmla="*/ 38192 w 57225"/>
                <a:gd name="connsiteY8" fmla="*/ 28042 h 41999"/>
                <a:gd name="connsiteX9" fmla="*/ 38192 w 57225"/>
                <a:gd name="connsiteY9" fmla="*/ 41999 h 41999"/>
                <a:gd name="connsiteX10" fmla="*/ 19160 w 57225"/>
                <a:gd name="connsiteY10" fmla="*/ 41999 h 41999"/>
                <a:gd name="connsiteX11" fmla="*/ 19160 w 57225"/>
                <a:gd name="connsiteY11" fmla="*/ 28042 h 41999"/>
                <a:gd name="connsiteX12" fmla="*/ 0 w 57225"/>
                <a:gd name="connsiteY12" fmla="*/ 28042 h 4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9">
                  <a:moveTo>
                    <a:pt x="0" y="28042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8" name="Freihandform: Form 87">
              <a:extLst>
                <a:ext uri="{FF2B5EF4-FFF2-40B4-BE49-F238E27FC236}">
                  <a16:creationId xmlns:a16="http://schemas.microsoft.com/office/drawing/2014/main" id="{9ED1B271-8274-C5C3-A8BA-81A15B52996B}"/>
                </a:ext>
              </a:extLst>
            </p:cNvPr>
            <p:cNvSpPr/>
            <p:nvPr/>
          </p:nvSpPr>
          <p:spPr>
            <a:xfrm>
              <a:off x="2143746" y="3796503"/>
              <a:ext cx="57225" cy="41999"/>
            </a:xfrm>
            <a:custGeom>
              <a:avLst/>
              <a:gdLst>
                <a:gd name="connsiteX0" fmla="*/ 0 w 57225"/>
                <a:gd name="connsiteY0" fmla="*/ 28042 h 41999"/>
                <a:gd name="connsiteX1" fmla="*/ 0 w 57225"/>
                <a:gd name="connsiteY1" fmla="*/ 13957 h 41999"/>
                <a:gd name="connsiteX2" fmla="*/ 19160 w 57225"/>
                <a:gd name="connsiteY2" fmla="*/ 13957 h 41999"/>
                <a:gd name="connsiteX3" fmla="*/ 19160 w 57225"/>
                <a:gd name="connsiteY3" fmla="*/ 0 h 41999"/>
                <a:gd name="connsiteX4" fmla="*/ 38192 w 57225"/>
                <a:gd name="connsiteY4" fmla="*/ 0 h 41999"/>
                <a:gd name="connsiteX5" fmla="*/ 38192 w 57225"/>
                <a:gd name="connsiteY5" fmla="*/ 13957 h 41999"/>
                <a:gd name="connsiteX6" fmla="*/ 57225 w 57225"/>
                <a:gd name="connsiteY6" fmla="*/ 13957 h 41999"/>
                <a:gd name="connsiteX7" fmla="*/ 57225 w 57225"/>
                <a:gd name="connsiteY7" fmla="*/ 28042 h 41999"/>
                <a:gd name="connsiteX8" fmla="*/ 38192 w 57225"/>
                <a:gd name="connsiteY8" fmla="*/ 28042 h 41999"/>
                <a:gd name="connsiteX9" fmla="*/ 38192 w 57225"/>
                <a:gd name="connsiteY9" fmla="*/ 41999 h 41999"/>
                <a:gd name="connsiteX10" fmla="*/ 19160 w 57225"/>
                <a:gd name="connsiteY10" fmla="*/ 41999 h 41999"/>
                <a:gd name="connsiteX11" fmla="*/ 19160 w 57225"/>
                <a:gd name="connsiteY11" fmla="*/ 28042 h 41999"/>
                <a:gd name="connsiteX12" fmla="*/ 0 w 57225"/>
                <a:gd name="connsiteY12" fmla="*/ 28042 h 4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9">
                  <a:moveTo>
                    <a:pt x="0" y="28042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9" name="Freihandform: Form 88">
              <a:extLst>
                <a:ext uri="{FF2B5EF4-FFF2-40B4-BE49-F238E27FC236}">
                  <a16:creationId xmlns:a16="http://schemas.microsoft.com/office/drawing/2014/main" id="{2B6E7CB7-3A5A-5094-CBCE-A1F2DF982AA6}"/>
                </a:ext>
              </a:extLst>
            </p:cNvPr>
            <p:cNvSpPr/>
            <p:nvPr/>
          </p:nvSpPr>
          <p:spPr>
            <a:xfrm>
              <a:off x="2300450" y="3907781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066 w 57225"/>
                <a:gd name="connsiteY4" fmla="*/ 0 h 41998"/>
                <a:gd name="connsiteX5" fmla="*/ 38066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066 w 57225"/>
                <a:gd name="connsiteY8" fmla="*/ 28042 h 41998"/>
                <a:gd name="connsiteX9" fmla="*/ 38066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066" y="28042"/>
                  </a:lnTo>
                  <a:lnTo>
                    <a:pt x="38066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0" name="Freihandform: Form 89">
              <a:extLst>
                <a:ext uri="{FF2B5EF4-FFF2-40B4-BE49-F238E27FC236}">
                  <a16:creationId xmlns:a16="http://schemas.microsoft.com/office/drawing/2014/main" id="{20CAAC7F-F5D5-3FF7-38F4-7E62AD2C48B8}"/>
                </a:ext>
              </a:extLst>
            </p:cNvPr>
            <p:cNvSpPr/>
            <p:nvPr/>
          </p:nvSpPr>
          <p:spPr>
            <a:xfrm>
              <a:off x="2360466" y="3948639"/>
              <a:ext cx="57225" cy="41998"/>
            </a:xfrm>
            <a:custGeom>
              <a:avLst/>
              <a:gdLst>
                <a:gd name="connsiteX0" fmla="*/ 0 w 57225"/>
                <a:gd name="connsiteY0" fmla="*/ 27915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7915 h 41998"/>
                <a:gd name="connsiteX8" fmla="*/ 38192 w 57225"/>
                <a:gd name="connsiteY8" fmla="*/ 27915 h 41998"/>
                <a:gd name="connsiteX9" fmla="*/ 38192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7915 h 41998"/>
                <a:gd name="connsiteX12" fmla="*/ 0 w 57225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7915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1" name="Freihandform: Form 90">
              <a:extLst>
                <a:ext uri="{FF2B5EF4-FFF2-40B4-BE49-F238E27FC236}">
                  <a16:creationId xmlns:a16="http://schemas.microsoft.com/office/drawing/2014/main" id="{A8DBE168-B764-F739-4CAC-CA3E92A7D650}"/>
                </a:ext>
              </a:extLst>
            </p:cNvPr>
            <p:cNvSpPr/>
            <p:nvPr/>
          </p:nvSpPr>
          <p:spPr>
            <a:xfrm>
              <a:off x="2379753" y="3953714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160 w 57225"/>
                <a:gd name="connsiteY2" fmla="*/ 13957 h 41998"/>
                <a:gd name="connsiteX3" fmla="*/ 19160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2 w 57225"/>
                <a:gd name="connsiteY8" fmla="*/ 28042 h 41998"/>
                <a:gd name="connsiteX9" fmla="*/ 38192 w 57225"/>
                <a:gd name="connsiteY9" fmla="*/ 41999 h 41998"/>
                <a:gd name="connsiteX10" fmla="*/ 19160 w 57225"/>
                <a:gd name="connsiteY10" fmla="*/ 41999 h 41998"/>
                <a:gd name="connsiteX11" fmla="*/ 19160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2" name="Freihandform: Form 91">
              <a:extLst>
                <a:ext uri="{FF2B5EF4-FFF2-40B4-BE49-F238E27FC236}">
                  <a16:creationId xmlns:a16="http://schemas.microsoft.com/office/drawing/2014/main" id="{761A0D8D-DFA9-08BF-B7E7-D20909A51004}"/>
                </a:ext>
              </a:extLst>
            </p:cNvPr>
            <p:cNvSpPr/>
            <p:nvPr/>
          </p:nvSpPr>
          <p:spPr>
            <a:xfrm>
              <a:off x="2416550" y="3964119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2 w 57225"/>
                <a:gd name="connsiteY8" fmla="*/ 28042 h 41998"/>
                <a:gd name="connsiteX9" fmla="*/ 38192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3" name="Freihandform: Form 92">
              <a:extLst>
                <a:ext uri="{FF2B5EF4-FFF2-40B4-BE49-F238E27FC236}">
                  <a16:creationId xmlns:a16="http://schemas.microsoft.com/office/drawing/2014/main" id="{A536D343-2034-FCFC-4180-4598518EEFD7}"/>
                </a:ext>
              </a:extLst>
            </p:cNvPr>
            <p:cNvSpPr/>
            <p:nvPr/>
          </p:nvSpPr>
          <p:spPr>
            <a:xfrm>
              <a:off x="2435836" y="3969194"/>
              <a:ext cx="57352" cy="41999"/>
            </a:xfrm>
            <a:custGeom>
              <a:avLst/>
              <a:gdLst>
                <a:gd name="connsiteX0" fmla="*/ 0 w 57352"/>
                <a:gd name="connsiteY0" fmla="*/ 28042 h 41999"/>
                <a:gd name="connsiteX1" fmla="*/ 0 w 57352"/>
                <a:gd name="connsiteY1" fmla="*/ 14084 h 41999"/>
                <a:gd name="connsiteX2" fmla="*/ 19160 w 57352"/>
                <a:gd name="connsiteY2" fmla="*/ 14084 h 41999"/>
                <a:gd name="connsiteX3" fmla="*/ 19160 w 57352"/>
                <a:gd name="connsiteY3" fmla="*/ 0 h 41999"/>
                <a:gd name="connsiteX4" fmla="*/ 38192 w 57352"/>
                <a:gd name="connsiteY4" fmla="*/ 0 h 41999"/>
                <a:gd name="connsiteX5" fmla="*/ 38192 w 57352"/>
                <a:gd name="connsiteY5" fmla="*/ 14084 h 41999"/>
                <a:gd name="connsiteX6" fmla="*/ 57352 w 57352"/>
                <a:gd name="connsiteY6" fmla="*/ 14084 h 41999"/>
                <a:gd name="connsiteX7" fmla="*/ 57352 w 57352"/>
                <a:gd name="connsiteY7" fmla="*/ 28042 h 41999"/>
                <a:gd name="connsiteX8" fmla="*/ 38192 w 57352"/>
                <a:gd name="connsiteY8" fmla="*/ 28042 h 41999"/>
                <a:gd name="connsiteX9" fmla="*/ 38192 w 57352"/>
                <a:gd name="connsiteY9" fmla="*/ 41999 h 41999"/>
                <a:gd name="connsiteX10" fmla="*/ 19160 w 57352"/>
                <a:gd name="connsiteY10" fmla="*/ 41999 h 41999"/>
                <a:gd name="connsiteX11" fmla="*/ 19160 w 57352"/>
                <a:gd name="connsiteY11" fmla="*/ 28042 h 41999"/>
                <a:gd name="connsiteX12" fmla="*/ 0 w 57352"/>
                <a:gd name="connsiteY12" fmla="*/ 28042 h 4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2" h="41999">
                  <a:moveTo>
                    <a:pt x="0" y="28042"/>
                  </a:moveTo>
                  <a:lnTo>
                    <a:pt x="0" y="14084"/>
                  </a:lnTo>
                  <a:lnTo>
                    <a:pt x="19160" y="14084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352" y="14084"/>
                  </a:lnTo>
                  <a:lnTo>
                    <a:pt x="57352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4" name="Freihandform: Form 93">
              <a:extLst>
                <a:ext uri="{FF2B5EF4-FFF2-40B4-BE49-F238E27FC236}">
                  <a16:creationId xmlns:a16="http://schemas.microsoft.com/office/drawing/2014/main" id="{ADBDF225-A00D-DA47-8852-416B818A02D1}"/>
                </a:ext>
              </a:extLst>
            </p:cNvPr>
            <p:cNvSpPr/>
            <p:nvPr/>
          </p:nvSpPr>
          <p:spPr>
            <a:xfrm>
              <a:off x="2495853" y="4000662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4084 h 41998"/>
                <a:gd name="connsiteX2" fmla="*/ 19033 w 57225"/>
                <a:gd name="connsiteY2" fmla="*/ 14084 h 41998"/>
                <a:gd name="connsiteX3" fmla="*/ 19033 w 57225"/>
                <a:gd name="connsiteY3" fmla="*/ 0 h 41998"/>
                <a:gd name="connsiteX4" fmla="*/ 38066 w 57225"/>
                <a:gd name="connsiteY4" fmla="*/ 0 h 41998"/>
                <a:gd name="connsiteX5" fmla="*/ 38066 w 57225"/>
                <a:gd name="connsiteY5" fmla="*/ 14084 h 41998"/>
                <a:gd name="connsiteX6" fmla="*/ 57225 w 57225"/>
                <a:gd name="connsiteY6" fmla="*/ 14084 h 41998"/>
                <a:gd name="connsiteX7" fmla="*/ 57225 w 57225"/>
                <a:gd name="connsiteY7" fmla="*/ 28042 h 41998"/>
                <a:gd name="connsiteX8" fmla="*/ 38066 w 57225"/>
                <a:gd name="connsiteY8" fmla="*/ 28042 h 41998"/>
                <a:gd name="connsiteX9" fmla="*/ 38066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066" y="28042"/>
                  </a:lnTo>
                  <a:lnTo>
                    <a:pt x="38066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5" name="Freihandform: Form 94">
              <a:extLst>
                <a:ext uri="{FF2B5EF4-FFF2-40B4-BE49-F238E27FC236}">
                  <a16:creationId xmlns:a16="http://schemas.microsoft.com/office/drawing/2014/main" id="{DC497172-3024-D1CC-06AF-33BF77143132}"/>
                </a:ext>
              </a:extLst>
            </p:cNvPr>
            <p:cNvSpPr/>
            <p:nvPr/>
          </p:nvSpPr>
          <p:spPr>
            <a:xfrm>
              <a:off x="2530620" y="4005991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4084 h 41998"/>
                <a:gd name="connsiteX2" fmla="*/ 19160 w 57225"/>
                <a:gd name="connsiteY2" fmla="*/ 14084 h 41998"/>
                <a:gd name="connsiteX3" fmla="*/ 19160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4084 h 41998"/>
                <a:gd name="connsiteX6" fmla="*/ 57225 w 57225"/>
                <a:gd name="connsiteY6" fmla="*/ 14084 h 41998"/>
                <a:gd name="connsiteX7" fmla="*/ 57225 w 57225"/>
                <a:gd name="connsiteY7" fmla="*/ 28042 h 41998"/>
                <a:gd name="connsiteX8" fmla="*/ 38192 w 57225"/>
                <a:gd name="connsiteY8" fmla="*/ 28042 h 41998"/>
                <a:gd name="connsiteX9" fmla="*/ 38192 w 57225"/>
                <a:gd name="connsiteY9" fmla="*/ 41999 h 41998"/>
                <a:gd name="connsiteX10" fmla="*/ 19160 w 57225"/>
                <a:gd name="connsiteY10" fmla="*/ 41999 h 41998"/>
                <a:gd name="connsiteX11" fmla="*/ 19160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4084"/>
                  </a:lnTo>
                  <a:lnTo>
                    <a:pt x="19160" y="14084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6" name="Freihandform: Form 95">
              <a:extLst>
                <a:ext uri="{FF2B5EF4-FFF2-40B4-BE49-F238E27FC236}">
                  <a16:creationId xmlns:a16="http://schemas.microsoft.com/office/drawing/2014/main" id="{85AF876C-B849-2843-A3B6-C06B0DEB1E16}"/>
                </a:ext>
              </a:extLst>
            </p:cNvPr>
            <p:cNvSpPr/>
            <p:nvPr/>
          </p:nvSpPr>
          <p:spPr>
            <a:xfrm>
              <a:off x="2578963" y="4027434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160 w 57225"/>
                <a:gd name="connsiteY2" fmla="*/ 13957 h 41998"/>
                <a:gd name="connsiteX3" fmla="*/ 19160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2 w 57225"/>
                <a:gd name="connsiteY8" fmla="*/ 28042 h 41998"/>
                <a:gd name="connsiteX9" fmla="*/ 38192 w 57225"/>
                <a:gd name="connsiteY9" fmla="*/ 41999 h 41998"/>
                <a:gd name="connsiteX10" fmla="*/ 19160 w 57225"/>
                <a:gd name="connsiteY10" fmla="*/ 41999 h 41998"/>
                <a:gd name="connsiteX11" fmla="*/ 19160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7" name="Freihandform: Form 96">
              <a:extLst>
                <a:ext uri="{FF2B5EF4-FFF2-40B4-BE49-F238E27FC236}">
                  <a16:creationId xmlns:a16="http://schemas.microsoft.com/office/drawing/2014/main" id="{9FA17BE7-8FA4-E083-3740-129FA1637E68}"/>
                </a:ext>
              </a:extLst>
            </p:cNvPr>
            <p:cNvSpPr/>
            <p:nvPr/>
          </p:nvSpPr>
          <p:spPr>
            <a:xfrm>
              <a:off x="2631240" y="4054334"/>
              <a:ext cx="57352" cy="41998"/>
            </a:xfrm>
            <a:custGeom>
              <a:avLst/>
              <a:gdLst>
                <a:gd name="connsiteX0" fmla="*/ 0 w 57352"/>
                <a:gd name="connsiteY0" fmla="*/ 27915 h 41998"/>
                <a:gd name="connsiteX1" fmla="*/ 0 w 57352"/>
                <a:gd name="connsiteY1" fmla="*/ 13957 h 41998"/>
                <a:gd name="connsiteX2" fmla="*/ 19160 w 57352"/>
                <a:gd name="connsiteY2" fmla="*/ 13957 h 41998"/>
                <a:gd name="connsiteX3" fmla="*/ 19160 w 57352"/>
                <a:gd name="connsiteY3" fmla="*/ 0 h 41998"/>
                <a:gd name="connsiteX4" fmla="*/ 38192 w 57352"/>
                <a:gd name="connsiteY4" fmla="*/ 0 h 41998"/>
                <a:gd name="connsiteX5" fmla="*/ 38192 w 57352"/>
                <a:gd name="connsiteY5" fmla="*/ 13957 h 41998"/>
                <a:gd name="connsiteX6" fmla="*/ 57352 w 57352"/>
                <a:gd name="connsiteY6" fmla="*/ 13957 h 41998"/>
                <a:gd name="connsiteX7" fmla="*/ 57352 w 57352"/>
                <a:gd name="connsiteY7" fmla="*/ 27915 h 41998"/>
                <a:gd name="connsiteX8" fmla="*/ 38192 w 57352"/>
                <a:gd name="connsiteY8" fmla="*/ 27915 h 41998"/>
                <a:gd name="connsiteX9" fmla="*/ 38192 w 57352"/>
                <a:gd name="connsiteY9" fmla="*/ 41999 h 41998"/>
                <a:gd name="connsiteX10" fmla="*/ 19160 w 57352"/>
                <a:gd name="connsiteY10" fmla="*/ 41999 h 41998"/>
                <a:gd name="connsiteX11" fmla="*/ 19160 w 57352"/>
                <a:gd name="connsiteY11" fmla="*/ 27915 h 41998"/>
                <a:gd name="connsiteX12" fmla="*/ 0 w 57352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2" h="41998">
                  <a:moveTo>
                    <a:pt x="0" y="27915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352" y="13957"/>
                  </a:lnTo>
                  <a:lnTo>
                    <a:pt x="57352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8" name="Freihandform: Form 97">
              <a:extLst>
                <a:ext uri="{FF2B5EF4-FFF2-40B4-BE49-F238E27FC236}">
                  <a16:creationId xmlns:a16="http://schemas.microsoft.com/office/drawing/2014/main" id="{1FA4316D-6420-F7C4-D7D3-5F42D2FC3A09}"/>
                </a:ext>
              </a:extLst>
            </p:cNvPr>
            <p:cNvSpPr/>
            <p:nvPr/>
          </p:nvSpPr>
          <p:spPr>
            <a:xfrm>
              <a:off x="2681486" y="4070575"/>
              <a:ext cx="57352" cy="41998"/>
            </a:xfrm>
            <a:custGeom>
              <a:avLst/>
              <a:gdLst>
                <a:gd name="connsiteX0" fmla="*/ 0 w 57352"/>
                <a:gd name="connsiteY0" fmla="*/ 28042 h 41998"/>
                <a:gd name="connsiteX1" fmla="*/ 0 w 57352"/>
                <a:gd name="connsiteY1" fmla="*/ 13957 h 41998"/>
                <a:gd name="connsiteX2" fmla="*/ 19160 w 57352"/>
                <a:gd name="connsiteY2" fmla="*/ 13957 h 41998"/>
                <a:gd name="connsiteX3" fmla="*/ 19160 w 57352"/>
                <a:gd name="connsiteY3" fmla="*/ 0 h 41998"/>
                <a:gd name="connsiteX4" fmla="*/ 38192 w 57352"/>
                <a:gd name="connsiteY4" fmla="*/ 0 h 41998"/>
                <a:gd name="connsiteX5" fmla="*/ 38192 w 57352"/>
                <a:gd name="connsiteY5" fmla="*/ 13957 h 41998"/>
                <a:gd name="connsiteX6" fmla="*/ 57352 w 57352"/>
                <a:gd name="connsiteY6" fmla="*/ 13957 h 41998"/>
                <a:gd name="connsiteX7" fmla="*/ 57352 w 57352"/>
                <a:gd name="connsiteY7" fmla="*/ 28042 h 41998"/>
                <a:gd name="connsiteX8" fmla="*/ 38192 w 57352"/>
                <a:gd name="connsiteY8" fmla="*/ 28042 h 41998"/>
                <a:gd name="connsiteX9" fmla="*/ 38192 w 57352"/>
                <a:gd name="connsiteY9" fmla="*/ 41999 h 41998"/>
                <a:gd name="connsiteX10" fmla="*/ 19160 w 57352"/>
                <a:gd name="connsiteY10" fmla="*/ 41999 h 41998"/>
                <a:gd name="connsiteX11" fmla="*/ 19160 w 57352"/>
                <a:gd name="connsiteY11" fmla="*/ 28042 h 41998"/>
                <a:gd name="connsiteX12" fmla="*/ 0 w 57352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2" h="41998">
                  <a:moveTo>
                    <a:pt x="0" y="28042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352" y="13957"/>
                  </a:lnTo>
                  <a:lnTo>
                    <a:pt x="57352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9" name="Freihandform: Form 98">
              <a:extLst>
                <a:ext uri="{FF2B5EF4-FFF2-40B4-BE49-F238E27FC236}">
                  <a16:creationId xmlns:a16="http://schemas.microsoft.com/office/drawing/2014/main" id="{52A0A165-14E8-0063-87F9-0A0D193D23B6}"/>
                </a:ext>
              </a:extLst>
            </p:cNvPr>
            <p:cNvSpPr/>
            <p:nvPr/>
          </p:nvSpPr>
          <p:spPr>
            <a:xfrm>
              <a:off x="2689353" y="4076031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4084 h 41998"/>
                <a:gd name="connsiteX2" fmla="*/ 19033 w 57225"/>
                <a:gd name="connsiteY2" fmla="*/ 14084 h 41998"/>
                <a:gd name="connsiteX3" fmla="*/ 19033 w 57225"/>
                <a:gd name="connsiteY3" fmla="*/ 0 h 41998"/>
                <a:gd name="connsiteX4" fmla="*/ 38066 w 57225"/>
                <a:gd name="connsiteY4" fmla="*/ 0 h 41998"/>
                <a:gd name="connsiteX5" fmla="*/ 38066 w 57225"/>
                <a:gd name="connsiteY5" fmla="*/ 14084 h 41998"/>
                <a:gd name="connsiteX6" fmla="*/ 57225 w 57225"/>
                <a:gd name="connsiteY6" fmla="*/ 14084 h 41998"/>
                <a:gd name="connsiteX7" fmla="*/ 57225 w 57225"/>
                <a:gd name="connsiteY7" fmla="*/ 28042 h 41998"/>
                <a:gd name="connsiteX8" fmla="*/ 38066 w 57225"/>
                <a:gd name="connsiteY8" fmla="*/ 28042 h 41998"/>
                <a:gd name="connsiteX9" fmla="*/ 38066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066" y="28042"/>
                  </a:lnTo>
                  <a:lnTo>
                    <a:pt x="38066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0" name="Freihandform: Form 99">
              <a:extLst>
                <a:ext uri="{FF2B5EF4-FFF2-40B4-BE49-F238E27FC236}">
                  <a16:creationId xmlns:a16="http://schemas.microsoft.com/office/drawing/2014/main" id="{B82CBC58-1355-6094-0666-7061CC53074A}"/>
                </a:ext>
              </a:extLst>
            </p:cNvPr>
            <p:cNvSpPr/>
            <p:nvPr/>
          </p:nvSpPr>
          <p:spPr>
            <a:xfrm>
              <a:off x="2708640" y="4087070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2 w 57225"/>
                <a:gd name="connsiteY8" fmla="*/ 28042 h 41998"/>
                <a:gd name="connsiteX9" fmla="*/ 38192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1" name="Freihandform: Form 100">
              <a:extLst>
                <a:ext uri="{FF2B5EF4-FFF2-40B4-BE49-F238E27FC236}">
                  <a16:creationId xmlns:a16="http://schemas.microsoft.com/office/drawing/2014/main" id="{8B1FD41E-A73E-1422-F494-B0C6034667BE}"/>
                </a:ext>
              </a:extLst>
            </p:cNvPr>
            <p:cNvSpPr/>
            <p:nvPr/>
          </p:nvSpPr>
          <p:spPr>
            <a:xfrm>
              <a:off x="2712446" y="4087070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2 w 57225"/>
                <a:gd name="connsiteY8" fmla="*/ 28042 h 41998"/>
                <a:gd name="connsiteX9" fmla="*/ 38192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2" name="Freihandform: Form 101">
              <a:extLst>
                <a:ext uri="{FF2B5EF4-FFF2-40B4-BE49-F238E27FC236}">
                  <a16:creationId xmlns:a16="http://schemas.microsoft.com/office/drawing/2014/main" id="{F0D62701-113E-CC61-FA2E-7B08430E3D45}"/>
                </a:ext>
              </a:extLst>
            </p:cNvPr>
            <p:cNvSpPr/>
            <p:nvPr/>
          </p:nvSpPr>
          <p:spPr>
            <a:xfrm>
              <a:off x="2718283" y="4087070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160 w 57225"/>
                <a:gd name="connsiteY2" fmla="*/ 13957 h 41998"/>
                <a:gd name="connsiteX3" fmla="*/ 19160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2 w 57225"/>
                <a:gd name="connsiteY8" fmla="*/ 28042 h 41998"/>
                <a:gd name="connsiteX9" fmla="*/ 38192 w 57225"/>
                <a:gd name="connsiteY9" fmla="*/ 41999 h 41998"/>
                <a:gd name="connsiteX10" fmla="*/ 19160 w 57225"/>
                <a:gd name="connsiteY10" fmla="*/ 41999 h 41998"/>
                <a:gd name="connsiteX11" fmla="*/ 19160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3" name="Freihandform: Form 102">
              <a:extLst>
                <a:ext uri="{FF2B5EF4-FFF2-40B4-BE49-F238E27FC236}">
                  <a16:creationId xmlns:a16="http://schemas.microsoft.com/office/drawing/2014/main" id="{1D03CFAD-F211-AC67-D5AD-CE5402CE59E9}"/>
                </a:ext>
              </a:extLst>
            </p:cNvPr>
            <p:cNvSpPr/>
            <p:nvPr/>
          </p:nvSpPr>
          <p:spPr>
            <a:xfrm>
              <a:off x="2726023" y="4087070"/>
              <a:ext cx="57352" cy="41998"/>
            </a:xfrm>
            <a:custGeom>
              <a:avLst/>
              <a:gdLst>
                <a:gd name="connsiteX0" fmla="*/ 0 w 57352"/>
                <a:gd name="connsiteY0" fmla="*/ 28042 h 41998"/>
                <a:gd name="connsiteX1" fmla="*/ 0 w 57352"/>
                <a:gd name="connsiteY1" fmla="*/ 13957 h 41998"/>
                <a:gd name="connsiteX2" fmla="*/ 19160 w 57352"/>
                <a:gd name="connsiteY2" fmla="*/ 13957 h 41998"/>
                <a:gd name="connsiteX3" fmla="*/ 19160 w 57352"/>
                <a:gd name="connsiteY3" fmla="*/ 0 h 41998"/>
                <a:gd name="connsiteX4" fmla="*/ 38192 w 57352"/>
                <a:gd name="connsiteY4" fmla="*/ 0 h 41998"/>
                <a:gd name="connsiteX5" fmla="*/ 38192 w 57352"/>
                <a:gd name="connsiteY5" fmla="*/ 13957 h 41998"/>
                <a:gd name="connsiteX6" fmla="*/ 57352 w 57352"/>
                <a:gd name="connsiteY6" fmla="*/ 13957 h 41998"/>
                <a:gd name="connsiteX7" fmla="*/ 57352 w 57352"/>
                <a:gd name="connsiteY7" fmla="*/ 28042 h 41998"/>
                <a:gd name="connsiteX8" fmla="*/ 38192 w 57352"/>
                <a:gd name="connsiteY8" fmla="*/ 28042 h 41998"/>
                <a:gd name="connsiteX9" fmla="*/ 38192 w 57352"/>
                <a:gd name="connsiteY9" fmla="*/ 41999 h 41998"/>
                <a:gd name="connsiteX10" fmla="*/ 19160 w 57352"/>
                <a:gd name="connsiteY10" fmla="*/ 41999 h 41998"/>
                <a:gd name="connsiteX11" fmla="*/ 19160 w 57352"/>
                <a:gd name="connsiteY11" fmla="*/ 28042 h 41998"/>
                <a:gd name="connsiteX12" fmla="*/ 0 w 57352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2" h="41998">
                  <a:moveTo>
                    <a:pt x="0" y="28042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352" y="13957"/>
                  </a:lnTo>
                  <a:lnTo>
                    <a:pt x="57352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4" name="Freihandform: Form 103">
              <a:extLst>
                <a:ext uri="{FF2B5EF4-FFF2-40B4-BE49-F238E27FC236}">
                  <a16:creationId xmlns:a16="http://schemas.microsoft.com/office/drawing/2014/main" id="{FBD4543E-CE57-CD57-B805-8A005AE2DA64}"/>
                </a:ext>
              </a:extLst>
            </p:cNvPr>
            <p:cNvSpPr/>
            <p:nvPr/>
          </p:nvSpPr>
          <p:spPr>
            <a:xfrm>
              <a:off x="2766626" y="4098617"/>
              <a:ext cx="57225" cy="41998"/>
            </a:xfrm>
            <a:custGeom>
              <a:avLst/>
              <a:gdLst>
                <a:gd name="connsiteX0" fmla="*/ 0 w 57225"/>
                <a:gd name="connsiteY0" fmla="*/ 27915 h 41998"/>
                <a:gd name="connsiteX1" fmla="*/ 0 w 57225"/>
                <a:gd name="connsiteY1" fmla="*/ 13957 h 41998"/>
                <a:gd name="connsiteX2" fmla="*/ 19160 w 57225"/>
                <a:gd name="connsiteY2" fmla="*/ 13957 h 41998"/>
                <a:gd name="connsiteX3" fmla="*/ 19160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7915 h 41998"/>
                <a:gd name="connsiteX8" fmla="*/ 38192 w 57225"/>
                <a:gd name="connsiteY8" fmla="*/ 27915 h 41998"/>
                <a:gd name="connsiteX9" fmla="*/ 38192 w 57225"/>
                <a:gd name="connsiteY9" fmla="*/ 41999 h 41998"/>
                <a:gd name="connsiteX10" fmla="*/ 19160 w 57225"/>
                <a:gd name="connsiteY10" fmla="*/ 41999 h 41998"/>
                <a:gd name="connsiteX11" fmla="*/ 19160 w 57225"/>
                <a:gd name="connsiteY11" fmla="*/ 27915 h 41998"/>
                <a:gd name="connsiteX12" fmla="*/ 0 w 57225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7915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5" name="Freihandform: Form 104">
              <a:extLst>
                <a:ext uri="{FF2B5EF4-FFF2-40B4-BE49-F238E27FC236}">
                  <a16:creationId xmlns:a16="http://schemas.microsoft.com/office/drawing/2014/main" id="{21AFB313-E893-9A0A-0F80-2BF58CFCF40F}"/>
                </a:ext>
              </a:extLst>
            </p:cNvPr>
            <p:cNvSpPr/>
            <p:nvPr/>
          </p:nvSpPr>
          <p:spPr>
            <a:xfrm>
              <a:off x="2872956" y="4139220"/>
              <a:ext cx="57352" cy="42125"/>
            </a:xfrm>
            <a:custGeom>
              <a:avLst/>
              <a:gdLst>
                <a:gd name="connsiteX0" fmla="*/ 0 w 57352"/>
                <a:gd name="connsiteY0" fmla="*/ 28042 h 42125"/>
                <a:gd name="connsiteX1" fmla="*/ 0 w 57352"/>
                <a:gd name="connsiteY1" fmla="*/ 14084 h 42125"/>
                <a:gd name="connsiteX2" fmla="*/ 19160 w 57352"/>
                <a:gd name="connsiteY2" fmla="*/ 14084 h 42125"/>
                <a:gd name="connsiteX3" fmla="*/ 19160 w 57352"/>
                <a:gd name="connsiteY3" fmla="*/ 0 h 42125"/>
                <a:gd name="connsiteX4" fmla="*/ 38193 w 57352"/>
                <a:gd name="connsiteY4" fmla="*/ 0 h 42125"/>
                <a:gd name="connsiteX5" fmla="*/ 38193 w 57352"/>
                <a:gd name="connsiteY5" fmla="*/ 14084 h 42125"/>
                <a:gd name="connsiteX6" fmla="*/ 57352 w 57352"/>
                <a:gd name="connsiteY6" fmla="*/ 14084 h 42125"/>
                <a:gd name="connsiteX7" fmla="*/ 57352 w 57352"/>
                <a:gd name="connsiteY7" fmla="*/ 28042 h 42125"/>
                <a:gd name="connsiteX8" fmla="*/ 38193 w 57352"/>
                <a:gd name="connsiteY8" fmla="*/ 28042 h 42125"/>
                <a:gd name="connsiteX9" fmla="*/ 38193 w 57352"/>
                <a:gd name="connsiteY9" fmla="*/ 42126 h 42125"/>
                <a:gd name="connsiteX10" fmla="*/ 19160 w 57352"/>
                <a:gd name="connsiteY10" fmla="*/ 42126 h 42125"/>
                <a:gd name="connsiteX11" fmla="*/ 19160 w 57352"/>
                <a:gd name="connsiteY11" fmla="*/ 28042 h 42125"/>
                <a:gd name="connsiteX12" fmla="*/ 0 w 57352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2" h="42125">
                  <a:moveTo>
                    <a:pt x="0" y="28042"/>
                  </a:moveTo>
                  <a:lnTo>
                    <a:pt x="0" y="14084"/>
                  </a:lnTo>
                  <a:lnTo>
                    <a:pt x="19160" y="14084"/>
                  </a:lnTo>
                  <a:lnTo>
                    <a:pt x="19160" y="0"/>
                  </a:lnTo>
                  <a:lnTo>
                    <a:pt x="38193" y="0"/>
                  </a:lnTo>
                  <a:lnTo>
                    <a:pt x="38193" y="14084"/>
                  </a:lnTo>
                  <a:lnTo>
                    <a:pt x="57352" y="14084"/>
                  </a:lnTo>
                  <a:lnTo>
                    <a:pt x="57352" y="28042"/>
                  </a:lnTo>
                  <a:lnTo>
                    <a:pt x="38193" y="28042"/>
                  </a:lnTo>
                  <a:lnTo>
                    <a:pt x="38193" y="42126"/>
                  </a:lnTo>
                  <a:lnTo>
                    <a:pt x="19160" y="42126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6" name="Freihandform: Form 105">
              <a:extLst>
                <a:ext uri="{FF2B5EF4-FFF2-40B4-BE49-F238E27FC236}">
                  <a16:creationId xmlns:a16="http://schemas.microsoft.com/office/drawing/2014/main" id="{54037A97-99A0-4353-806E-B798F87CC32D}"/>
                </a:ext>
              </a:extLst>
            </p:cNvPr>
            <p:cNvSpPr/>
            <p:nvPr/>
          </p:nvSpPr>
          <p:spPr>
            <a:xfrm>
              <a:off x="2882726" y="4145184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066 w 57225"/>
                <a:gd name="connsiteY4" fmla="*/ 0 h 41998"/>
                <a:gd name="connsiteX5" fmla="*/ 38066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066 w 57225"/>
                <a:gd name="connsiteY8" fmla="*/ 28042 h 41998"/>
                <a:gd name="connsiteX9" fmla="*/ 38066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066" y="28042"/>
                  </a:lnTo>
                  <a:lnTo>
                    <a:pt x="38066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7" name="Freihandform: Form 106">
              <a:extLst>
                <a:ext uri="{FF2B5EF4-FFF2-40B4-BE49-F238E27FC236}">
                  <a16:creationId xmlns:a16="http://schemas.microsoft.com/office/drawing/2014/main" id="{ED77D961-973E-AA90-56F6-6DF8B22B3761}"/>
                </a:ext>
              </a:extLst>
            </p:cNvPr>
            <p:cNvSpPr/>
            <p:nvPr/>
          </p:nvSpPr>
          <p:spPr>
            <a:xfrm>
              <a:off x="2904043" y="4151147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3 w 57225"/>
                <a:gd name="connsiteY4" fmla="*/ 0 h 41998"/>
                <a:gd name="connsiteX5" fmla="*/ 38193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3 w 57225"/>
                <a:gd name="connsiteY8" fmla="*/ 28042 h 41998"/>
                <a:gd name="connsiteX9" fmla="*/ 38193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3" y="0"/>
                  </a:lnTo>
                  <a:lnTo>
                    <a:pt x="38193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3" y="28042"/>
                  </a:lnTo>
                  <a:lnTo>
                    <a:pt x="38193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8" name="Freihandform: Form 107">
              <a:extLst>
                <a:ext uri="{FF2B5EF4-FFF2-40B4-BE49-F238E27FC236}">
                  <a16:creationId xmlns:a16="http://schemas.microsoft.com/office/drawing/2014/main" id="{94BE0D6D-0993-0F84-72FC-4DCB3F504553}"/>
                </a:ext>
              </a:extLst>
            </p:cNvPr>
            <p:cNvSpPr/>
            <p:nvPr/>
          </p:nvSpPr>
          <p:spPr>
            <a:xfrm>
              <a:off x="2925233" y="4169165"/>
              <a:ext cx="57351" cy="41998"/>
            </a:xfrm>
            <a:custGeom>
              <a:avLst/>
              <a:gdLst>
                <a:gd name="connsiteX0" fmla="*/ 0 w 57351"/>
                <a:gd name="connsiteY0" fmla="*/ 28042 h 41998"/>
                <a:gd name="connsiteX1" fmla="*/ 0 w 57351"/>
                <a:gd name="connsiteY1" fmla="*/ 13957 h 41998"/>
                <a:gd name="connsiteX2" fmla="*/ 19160 w 57351"/>
                <a:gd name="connsiteY2" fmla="*/ 13957 h 41998"/>
                <a:gd name="connsiteX3" fmla="*/ 19160 w 57351"/>
                <a:gd name="connsiteY3" fmla="*/ 0 h 41998"/>
                <a:gd name="connsiteX4" fmla="*/ 38192 w 57351"/>
                <a:gd name="connsiteY4" fmla="*/ 0 h 41998"/>
                <a:gd name="connsiteX5" fmla="*/ 38192 w 57351"/>
                <a:gd name="connsiteY5" fmla="*/ 13957 h 41998"/>
                <a:gd name="connsiteX6" fmla="*/ 57352 w 57351"/>
                <a:gd name="connsiteY6" fmla="*/ 13957 h 41998"/>
                <a:gd name="connsiteX7" fmla="*/ 57352 w 57351"/>
                <a:gd name="connsiteY7" fmla="*/ 28042 h 41998"/>
                <a:gd name="connsiteX8" fmla="*/ 38192 w 57351"/>
                <a:gd name="connsiteY8" fmla="*/ 28042 h 41998"/>
                <a:gd name="connsiteX9" fmla="*/ 38192 w 57351"/>
                <a:gd name="connsiteY9" fmla="*/ 41999 h 41998"/>
                <a:gd name="connsiteX10" fmla="*/ 19160 w 57351"/>
                <a:gd name="connsiteY10" fmla="*/ 41999 h 41998"/>
                <a:gd name="connsiteX11" fmla="*/ 19160 w 57351"/>
                <a:gd name="connsiteY11" fmla="*/ 28042 h 41998"/>
                <a:gd name="connsiteX12" fmla="*/ 0 w 57351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1" h="41998">
                  <a:moveTo>
                    <a:pt x="0" y="28042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352" y="13957"/>
                  </a:lnTo>
                  <a:lnTo>
                    <a:pt x="57352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9" name="Freihandform: Form 108">
              <a:extLst>
                <a:ext uri="{FF2B5EF4-FFF2-40B4-BE49-F238E27FC236}">
                  <a16:creationId xmlns:a16="http://schemas.microsoft.com/office/drawing/2014/main" id="{71BDDA14-7A17-854F-A437-7DF7E14FA30C}"/>
                </a:ext>
              </a:extLst>
            </p:cNvPr>
            <p:cNvSpPr/>
            <p:nvPr/>
          </p:nvSpPr>
          <p:spPr>
            <a:xfrm>
              <a:off x="2942743" y="4169165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3 w 57225"/>
                <a:gd name="connsiteY4" fmla="*/ 0 h 41998"/>
                <a:gd name="connsiteX5" fmla="*/ 38193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3 w 57225"/>
                <a:gd name="connsiteY8" fmla="*/ 28042 h 41998"/>
                <a:gd name="connsiteX9" fmla="*/ 38193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3" y="0"/>
                  </a:lnTo>
                  <a:lnTo>
                    <a:pt x="38193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3" y="28042"/>
                  </a:lnTo>
                  <a:lnTo>
                    <a:pt x="38193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0" name="Freihandform: Form 109">
              <a:extLst>
                <a:ext uri="{FF2B5EF4-FFF2-40B4-BE49-F238E27FC236}">
                  <a16:creationId xmlns:a16="http://schemas.microsoft.com/office/drawing/2014/main" id="{CB93724F-7CE1-2CEE-7AF9-9F863439ECC3}"/>
                </a:ext>
              </a:extLst>
            </p:cNvPr>
            <p:cNvSpPr/>
            <p:nvPr/>
          </p:nvSpPr>
          <p:spPr>
            <a:xfrm>
              <a:off x="2969769" y="4181473"/>
              <a:ext cx="57352" cy="41998"/>
            </a:xfrm>
            <a:custGeom>
              <a:avLst/>
              <a:gdLst>
                <a:gd name="connsiteX0" fmla="*/ 0 w 57352"/>
                <a:gd name="connsiteY0" fmla="*/ 28042 h 41998"/>
                <a:gd name="connsiteX1" fmla="*/ 0 w 57352"/>
                <a:gd name="connsiteY1" fmla="*/ 13957 h 41998"/>
                <a:gd name="connsiteX2" fmla="*/ 19160 w 57352"/>
                <a:gd name="connsiteY2" fmla="*/ 13957 h 41998"/>
                <a:gd name="connsiteX3" fmla="*/ 19160 w 57352"/>
                <a:gd name="connsiteY3" fmla="*/ 0 h 41998"/>
                <a:gd name="connsiteX4" fmla="*/ 38192 w 57352"/>
                <a:gd name="connsiteY4" fmla="*/ 0 h 41998"/>
                <a:gd name="connsiteX5" fmla="*/ 38192 w 57352"/>
                <a:gd name="connsiteY5" fmla="*/ 13957 h 41998"/>
                <a:gd name="connsiteX6" fmla="*/ 57352 w 57352"/>
                <a:gd name="connsiteY6" fmla="*/ 13957 h 41998"/>
                <a:gd name="connsiteX7" fmla="*/ 57352 w 57352"/>
                <a:gd name="connsiteY7" fmla="*/ 28042 h 41998"/>
                <a:gd name="connsiteX8" fmla="*/ 38192 w 57352"/>
                <a:gd name="connsiteY8" fmla="*/ 28042 h 41998"/>
                <a:gd name="connsiteX9" fmla="*/ 38192 w 57352"/>
                <a:gd name="connsiteY9" fmla="*/ 41999 h 41998"/>
                <a:gd name="connsiteX10" fmla="*/ 19160 w 57352"/>
                <a:gd name="connsiteY10" fmla="*/ 41999 h 41998"/>
                <a:gd name="connsiteX11" fmla="*/ 19160 w 57352"/>
                <a:gd name="connsiteY11" fmla="*/ 28042 h 41998"/>
                <a:gd name="connsiteX12" fmla="*/ 0 w 57352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2" h="41998">
                  <a:moveTo>
                    <a:pt x="0" y="28042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352" y="13957"/>
                  </a:lnTo>
                  <a:lnTo>
                    <a:pt x="57352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1" name="Freihandform: Form 110">
              <a:extLst>
                <a:ext uri="{FF2B5EF4-FFF2-40B4-BE49-F238E27FC236}">
                  <a16:creationId xmlns:a16="http://schemas.microsoft.com/office/drawing/2014/main" id="{D3E807E6-27AA-89C9-B450-0C0FA6C9D5E9}"/>
                </a:ext>
              </a:extLst>
            </p:cNvPr>
            <p:cNvSpPr/>
            <p:nvPr/>
          </p:nvSpPr>
          <p:spPr>
            <a:xfrm>
              <a:off x="2971673" y="4181473"/>
              <a:ext cx="57352" cy="41998"/>
            </a:xfrm>
            <a:custGeom>
              <a:avLst/>
              <a:gdLst>
                <a:gd name="connsiteX0" fmla="*/ 0 w 57352"/>
                <a:gd name="connsiteY0" fmla="*/ 28042 h 41998"/>
                <a:gd name="connsiteX1" fmla="*/ 0 w 57352"/>
                <a:gd name="connsiteY1" fmla="*/ 13957 h 41998"/>
                <a:gd name="connsiteX2" fmla="*/ 19160 w 57352"/>
                <a:gd name="connsiteY2" fmla="*/ 13957 h 41998"/>
                <a:gd name="connsiteX3" fmla="*/ 19160 w 57352"/>
                <a:gd name="connsiteY3" fmla="*/ 0 h 41998"/>
                <a:gd name="connsiteX4" fmla="*/ 38193 w 57352"/>
                <a:gd name="connsiteY4" fmla="*/ 0 h 41998"/>
                <a:gd name="connsiteX5" fmla="*/ 38193 w 57352"/>
                <a:gd name="connsiteY5" fmla="*/ 13957 h 41998"/>
                <a:gd name="connsiteX6" fmla="*/ 57352 w 57352"/>
                <a:gd name="connsiteY6" fmla="*/ 13957 h 41998"/>
                <a:gd name="connsiteX7" fmla="*/ 57352 w 57352"/>
                <a:gd name="connsiteY7" fmla="*/ 28042 h 41998"/>
                <a:gd name="connsiteX8" fmla="*/ 38193 w 57352"/>
                <a:gd name="connsiteY8" fmla="*/ 28042 h 41998"/>
                <a:gd name="connsiteX9" fmla="*/ 38193 w 57352"/>
                <a:gd name="connsiteY9" fmla="*/ 41999 h 41998"/>
                <a:gd name="connsiteX10" fmla="*/ 19160 w 57352"/>
                <a:gd name="connsiteY10" fmla="*/ 41999 h 41998"/>
                <a:gd name="connsiteX11" fmla="*/ 19160 w 57352"/>
                <a:gd name="connsiteY11" fmla="*/ 28042 h 41998"/>
                <a:gd name="connsiteX12" fmla="*/ 0 w 57352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2" h="41998">
                  <a:moveTo>
                    <a:pt x="0" y="28042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3" y="0"/>
                  </a:lnTo>
                  <a:lnTo>
                    <a:pt x="38193" y="13957"/>
                  </a:lnTo>
                  <a:lnTo>
                    <a:pt x="57352" y="13957"/>
                  </a:lnTo>
                  <a:lnTo>
                    <a:pt x="57352" y="28042"/>
                  </a:lnTo>
                  <a:lnTo>
                    <a:pt x="38193" y="28042"/>
                  </a:lnTo>
                  <a:lnTo>
                    <a:pt x="38193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2" name="Freihandform: Form 111">
              <a:extLst>
                <a:ext uri="{FF2B5EF4-FFF2-40B4-BE49-F238E27FC236}">
                  <a16:creationId xmlns:a16="http://schemas.microsoft.com/office/drawing/2014/main" id="{DE6333EB-57F1-0BF1-E1BC-90AB03DBD3CE}"/>
                </a:ext>
              </a:extLst>
            </p:cNvPr>
            <p:cNvSpPr/>
            <p:nvPr/>
          </p:nvSpPr>
          <p:spPr>
            <a:xfrm>
              <a:off x="2979540" y="4181473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066 w 57225"/>
                <a:gd name="connsiteY4" fmla="*/ 0 h 41998"/>
                <a:gd name="connsiteX5" fmla="*/ 38066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066 w 57225"/>
                <a:gd name="connsiteY8" fmla="*/ 28042 h 41998"/>
                <a:gd name="connsiteX9" fmla="*/ 38066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066" y="28042"/>
                  </a:lnTo>
                  <a:lnTo>
                    <a:pt x="38066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3" name="Freihandform: Form 112">
              <a:extLst>
                <a:ext uri="{FF2B5EF4-FFF2-40B4-BE49-F238E27FC236}">
                  <a16:creationId xmlns:a16="http://schemas.microsoft.com/office/drawing/2014/main" id="{5A5C1952-8683-6008-7553-7DF97330A47F}"/>
                </a:ext>
              </a:extLst>
            </p:cNvPr>
            <p:cNvSpPr/>
            <p:nvPr/>
          </p:nvSpPr>
          <p:spPr>
            <a:xfrm>
              <a:off x="3049073" y="4181473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2 w 57225"/>
                <a:gd name="connsiteY8" fmla="*/ 28042 h 41998"/>
                <a:gd name="connsiteX9" fmla="*/ 38192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4" name="Freihandform: Form 113">
              <a:extLst>
                <a:ext uri="{FF2B5EF4-FFF2-40B4-BE49-F238E27FC236}">
                  <a16:creationId xmlns:a16="http://schemas.microsoft.com/office/drawing/2014/main" id="{31DFCC4C-BCE1-A80C-5CB2-3E1CD0254269}"/>
                </a:ext>
              </a:extLst>
            </p:cNvPr>
            <p:cNvSpPr/>
            <p:nvPr/>
          </p:nvSpPr>
          <p:spPr>
            <a:xfrm>
              <a:off x="3192199" y="4220554"/>
              <a:ext cx="57225" cy="41998"/>
            </a:xfrm>
            <a:custGeom>
              <a:avLst/>
              <a:gdLst>
                <a:gd name="connsiteX0" fmla="*/ 0 w 57225"/>
                <a:gd name="connsiteY0" fmla="*/ 27915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7915 h 41998"/>
                <a:gd name="connsiteX8" fmla="*/ 38192 w 57225"/>
                <a:gd name="connsiteY8" fmla="*/ 27915 h 41998"/>
                <a:gd name="connsiteX9" fmla="*/ 38192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7915 h 41998"/>
                <a:gd name="connsiteX12" fmla="*/ 0 w 57225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7915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5" name="Freihandform: Form 114">
              <a:extLst>
                <a:ext uri="{FF2B5EF4-FFF2-40B4-BE49-F238E27FC236}">
                  <a16:creationId xmlns:a16="http://schemas.microsoft.com/office/drawing/2014/main" id="{FE93E8F8-C858-E3A2-BF11-69F67DAF0215}"/>
                </a:ext>
              </a:extLst>
            </p:cNvPr>
            <p:cNvSpPr/>
            <p:nvPr/>
          </p:nvSpPr>
          <p:spPr>
            <a:xfrm>
              <a:off x="3213516" y="4233750"/>
              <a:ext cx="57352" cy="41998"/>
            </a:xfrm>
            <a:custGeom>
              <a:avLst/>
              <a:gdLst>
                <a:gd name="connsiteX0" fmla="*/ 0 w 57352"/>
                <a:gd name="connsiteY0" fmla="*/ 28042 h 41998"/>
                <a:gd name="connsiteX1" fmla="*/ 0 w 57352"/>
                <a:gd name="connsiteY1" fmla="*/ 14084 h 41998"/>
                <a:gd name="connsiteX2" fmla="*/ 19160 w 57352"/>
                <a:gd name="connsiteY2" fmla="*/ 14084 h 41998"/>
                <a:gd name="connsiteX3" fmla="*/ 19160 w 57352"/>
                <a:gd name="connsiteY3" fmla="*/ 0 h 41998"/>
                <a:gd name="connsiteX4" fmla="*/ 38193 w 57352"/>
                <a:gd name="connsiteY4" fmla="*/ 0 h 41998"/>
                <a:gd name="connsiteX5" fmla="*/ 38193 w 57352"/>
                <a:gd name="connsiteY5" fmla="*/ 14084 h 41998"/>
                <a:gd name="connsiteX6" fmla="*/ 57352 w 57352"/>
                <a:gd name="connsiteY6" fmla="*/ 14084 h 41998"/>
                <a:gd name="connsiteX7" fmla="*/ 57352 w 57352"/>
                <a:gd name="connsiteY7" fmla="*/ 28042 h 41998"/>
                <a:gd name="connsiteX8" fmla="*/ 38193 w 57352"/>
                <a:gd name="connsiteY8" fmla="*/ 28042 h 41998"/>
                <a:gd name="connsiteX9" fmla="*/ 38193 w 57352"/>
                <a:gd name="connsiteY9" fmla="*/ 41999 h 41998"/>
                <a:gd name="connsiteX10" fmla="*/ 19160 w 57352"/>
                <a:gd name="connsiteY10" fmla="*/ 41999 h 41998"/>
                <a:gd name="connsiteX11" fmla="*/ 19160 w 57352"/>
                <a:gd name="connsiteY11" fmla="*/ 28042 h 41998"/>
                <a:gd name="connsiteX12" fmla="*/ 0 w 57352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2" h="41998">
                  <a:moveTo>
                    <a:pt x="0" y="28042"/>
                  </a:moveTo>
                  <a:lnTo>
                    <a:pt x="0" y="14084"/>
                  </a:lnTo>
                  <a:lnTo>
                    <a:pt x="19160" y="14084"/>
                  </a:lnTo>
                  <a:lnTo>
                    <a:pt x="19160" y="0"/>
                  </a:lnTo>
                  <a:lnTo>
                    <a:pt x="38193" y="0"/>
                  </a:lnTo>
                  <a:lnTo>
                    <a:pt x="38193" y="14084"/>
                  </a:lnTo>
                  <a:lnTo>
                    <a:pt x="57352" y="14084"/>
                  </a:lnTo>
                  <a:lnTo>
                    <a:pt x="57352" y="28042"/>
                  </a:lnTo>
                  <a:lnTo>
                    <a:pt x="38193" y="28042"/>
                  </a:lnTo>
                  <a:lnTo>
                    <a:pt x="38193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6" name="Freihandform: Form 115">
              <a:extLst>
                <a:ext uri="{FF2B5EF4-FFF2-40B4-BE49-F238E27FC236}">
                  <a16:creationId xmlns:a16="http://schemas.microsoft.com/office/drawing/2014/main" id="{4AEF59CA-979E-3C84-0775-243D4D4AEB45}"/>
                </a:ext>
              </a:extLst>
            </p:cNvPr>
            <p:cNvSpPr/>
            <p:nvPr/>
          </p:nvSpPr>
          <p:spPr>
            <a:xfrm>
              <a:off x="3215546" y="4233750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4084 h 41998"/>
                <a:gd name="connsiteX2" fmla="*/ 19033 w 57225"/>
                <a:gd name="connsiteY2" fmla="*/ 14084 h 41998"/>
                <a:gd name="connsiteX3" fmla="*/ 19033 w 57225"/>
                <a:gd name="connsiteY3" fmla="*/ 0 h 41998"/>
                <a:gd name="connsiteX4" fmla="*/ 38066 w 57225"/>
                <a:gd name="connsiteY4" fmla="*/ 0 h 41998"/>
                <a:gd name="connsiteX5" fmla="*/ 38066 w 57225"/>
                <a:gd name="connsiteY5" fmla="*/ 14084 h 41998"/>
                <a:gd name="connsiteX6" fmla="*/ 57225 w 57225"/>
                <a:gd name="connsiteY6" fmla="*/ 14084 h 41998"/>
                <a:gd name="connsiteX7" fmla="*/ 57225 w 57225"/>
                <a:gd name="connsiteY7" fmla="*/ 28042 h 41998"/>
                <a:gd name="connsiteX8" fmla="*/ 38066 w 57225"/>
                <a:gd name="connsiteY8" fmla="*/ 28042 h 41998"/>
                <a:gd name="connsiteX9" fmla="*/ 38066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066" y="28042"/>
                  </a:lnTo>
                  <a:lnTo>
                    <a:pt x="38066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7" name="Freihandform: Form 116">
              <a:extLst>
                <a:ext uri="{FF2B5EF4-FFF2-40B4-BE49-F238E27FC236}">
                  <a16:creationId xmlns:a16="http://schemas.microsoft.com/office/drawing/2014/main" id="{69A4A170-2909-E2BC-2EF7-75C6C1FA3698}"/>
                </a:ext>
              </a:extLst>
            </p:cNvPr>
            <p:cNvSpPr/>
            <p:nvPr/>
          </p:nvSpPr>
          <p:spPr>
            <a:xfrm>
              <a:off x="3364509" y="4281459"/>
              <a:ext cx="57225" cy="41999"/>
            </a:xfrm>
            <a:custGeom>
              <a:avLst/>
              <a:gdLst>
                <a:gd name="connsiteX0" fmla="*/ 0 w 57225"/>
                <a:gd name="connsiteY0" fmla="*/ 28042 h 41999"/>
                <a:gd name="connsiteX1" fmla="*/ 0 w 57225"/>
                <a:gd name="connsiteY1" fmla="*/ 14084 h 41999"/>
                <a:gd name="connsiteX2" fmla="*/ 19033 w 57225"/>
                <a:gd name="connsiteY2" fmla="*/ 14084 h 41999"/>
                <a:gd name="connsiteX3" fmla="*/ 19033 w 57225"/>
                <a:gd name="connsiteY3" fmla="*/ 0 h 41999"/>
                <a:gd name="connsiteX4" fmla="*/ 38066 w 57225"/>
                <a:gd name="connsiteY4" fmla="*/ 0 h 41999"/>
                <a:gd name="connsiteX5" fmla="*/ 38066 w 57225"/>
                <a:gd name="connsiteY5" fmla="*/ 14084 h 41999"/>
                <a:gd name="connsiteX6" fmla="*/ 57225 w 57225"/>
                <a:gd name="connsiteY6" fmla="*/ 14084 h 41999"/>
                <a:gd name="connsiteX7" fmla="*/ 57225 w 57225"/>
                <a:gd name="connsiteY7" fmla="*/ 28042 h 41999"/>
                <a:gd name="connsiteX8" fmla="*/ 38066 w 57225"/>
                <a:gd name="connsiteY8" fmla="*/ 28042 h 41999"/>
                <a:gd name="connsiteX9" fmla="*/ 38066 w 57225"/>
                <a:gd name="connsiteY9" fmla="*/ 41999 h 41999"/>
                <a:gd name="connsiteX10" fmla="*/ 19033 w 57225"/>
                <a:gd name="connsiteY10" fmla="*/ 41999 h 41999"/>
                <a:gd name="connsiteX11" fmla="*/ 19033 w 57225"/>
                <a:gd name="connsiteY11" fmla="*/ 28042 h 41999"/>
                <a:gd name="connsiteX12" fmla="*/ 0 w 57225"/>
                <a:gd name="connsiteY12" fmla="*/ 28042 h 4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9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066" y="28042"/>
                  </a:lnTo>
                  <a:lnTo>
                    <a:pt x="38066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8" name="Freihandform: Form 117">
              <a:extLst>
                <a:ext uri="{FF2B5EF4-FFF2-40B4-BE49-F238E27FC236}">
                  <a16:creationId xmlns:a16="http://schemas.microsoft.com/office/drawing/2014/main" id="{9E818AB7-4BA9-43F8-06FA-2D21551D8806}"/>
                </a:ext>
              </a:extLst>
            </p:cNvPr>
            <p:cNvSpPr/>
            <p:nvPr/>
          </p:nvSpPr>
          <p:spPr>
            <a:xfrm>
              <a:off x="3495962" y="4309373"/>
              <a:ext cx="57352" cy="41998"/>
            </a:xfrm>
            <a:custGeom>
              <a:avLst/>
              <a:gdLst>
                <a:gd name="connsiteX0" fmla="*/ 0 w 57352"/>
                <a:gd name="connsiteY0" fmla="*/ 27915 h 41998"/>
                <a:gd name="connsiteX1" fmla="*/ 0 w 57352"/>
                <a:gd name="connsiteY1" fmla="*/ 13957 h 41998"/>
                <a:gd name="connsiteX2" fmla="*/ 19160 w 57352"/>
                <a:gd name="connsiteY2" fmla="*/ 13957 h 41998"/>
                <a:gd name="connsiteX3" fmla="*/ 19160 w 57352"/>
                <a:gd name="connsiteY3" fmla="*/ 0 h 41998"/>
                <a:gd name="connsiteX4" fmla="*/ 38192 w 57352"/>
                <a:gd name="connsiteY4" fmla="*/ 0 h 41998"/>
                <a:gd name="connsiteX5" fmla="*/ 38192 w 57352"/>
                <a:gd name="connsiteY5" fmla="*/ 13957 h 41998"/>
                <a:gd name="connsiteX6" fmla="*/ 57352 w 57352"/>
                <a:gd name="connsiteY6" fmla="*/ 13957 h 41998"/>
                <a:gd name="connsiteX7" fmla="*/ 57352 w 57352"/>
                <a:gd name="connsiteY7" fmla="*/ 27915 h 41998"/>
                <a:gd name="connsiteX8" fmla="*/ 38192 w 57352"/>
                <a:gd name="connsiteY8" fmla="*/ 27915 h 41998"/>
                <a:gd name="connsiteX9" fmla="*/ 38192 w 57352"/>
                <a:gd name="connsiteY9" fmla="*/ 41999 h 41998"/>
                <a:gd name="connsiteX10" fmla="*/ 19160 w 57352"/>
                <a:gd name="connsiteY10" fmla="*/ 41999 h 41998"/>
                <a:gd name="connsiteX11" fmla="*/ 19160 w 57352"/>
                <a:gd name="connsiteY11" fmla="*/ 27915 h 41998"/>
                <a:gd name="connsiteX12" fmla="*/ 0 w 57352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2" h="41998">
                  <a:moveTo>
                    <a:pt x="0" y="27915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352" y="13957"/>
                  </a:lnTo>
                  <a:lnTo>
                    <a:pt x="57352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9" name="Freihandform: Form 118">
              <a:extLst>
                <a:ext uri="{FF2B5EF4-FFF2-40B4-BE49-F238E27FC236}">
                  <a16:creationId xmlns:a16="http://schemas.microsoft.com/office/drawing/2014/main" id="{925E8706-618E-DA67-CD62-8709837D06FD}"/>
                </a:ext>
              </a:extLst>
            </p:cNvPr>
            <p:cNvSpPr/>
            <p:nvPr/>
          </p:nvSpPr>
          <p:spPr>
            <a:xfrm>
              <a:off x="3584909" y="4337669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4084 h 41998"/>
                <a:gd name="connsiteX2" fmla="*/ 19160 w 57225"/>
                <a:gd name="connsiteY2" fmla="*/ 14084 h 41998"/>
                <a:gd name="connsiteX3" fmla="*/ 19160 w 57225"/>
                <a:gd name="connsiteY3" fmla="*/ 0 h 41998"/>
                <a:gd name="connsiteX4" fmla="*/ 38193 w 57225"/>
                <a:gd name="connsiteY4" fmla="*/ 0 h 41998"/>
                <a:gd name="connsiteX5" fmla="*/ 38193 w 57225"/>
                <a:gd name="connsiteY5" fmla="*/ 14084 h 41998"/>
                <a:gd name="connsiteX6" fmla="*/ 57225 w 57225"/>
                <a:gd name="connsiteY6" fmla="*/ 14084 h 41998"/>
                <a:gd name="connsiteX7" fmla="*/ 57225 w 57225"/>
                <a:gd name="connsiteY7" fmla="*/ 28042 h 41998"/>
                <a:gd name="connsiteX8" fmla="*/ 38193 w 57225"/>
                <a:gd name="connsiteY8" fmla="*/ 28042 h 41998"/>
                <a:gd name="connsiteX9" fmla="*/ 38193 w 57225"/>
                <a:gd name="connsiteY9" fmla="*/ 41999 h 41998"/>
                <a:gd name="connsiteX10" fmla="*/ 19160 w 57225"/>
                <a:gd name="connsiteY10" fmla="*/ 41999 h 41998"/>
                <a:gd name="connsiteX11" fmla="*/ 19160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4084"/>
                  </a:lnTo>
                  <a:lnTo>
                    <a:pt x="19160" y="14084"/>
                  </a:lnTo>
                  <a:lnTo>
                    <a:pt x="19160" y="0"/>
                  </a:lnTo>
                  <a:lnTo>
                    <a:pt x="38193" y="0"/>
                  </a:lnTo>
                  <a:lnTo>
                    <a:pt x="38193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3" y="28042"/>
                  </a:lnTo>
                  <a:lnTo>
                    <a:pt x="38193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0" name="Freihandform: Form 119">
              <a:extLst>
                <a:ext uri="{FF2B5EF4-FFF2-40B4-BE49-F238E27FC236}">
                  <a16:creationId xmlns:a16="http://schemas.microsoft.com/office/drawing/2014/main" id="{A82D9542-75D5-F677-A4A2-51D46433C2B8}"/>
                </a:ext>
              </a:extLst>
            </p:cNvPr>
            <p:cNvSpPr/>
            <p:nvPr/>
          </p:nvSpPr>
          <p:spPr>
            <a:xfrm>
              <a:off x="3853906" y="4373958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3 w 57225"/>
                <a:gd name="connsiteY4" fmla="*/ 0 h 41998"/>
                <a:gd name="connsiteX5" fmla="*/ 38193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3 w 57225"/>
                <a:gd name="connsiteY8" fmla="*/ 28042 h 41998"/>
                <a:gd name="connsiteX9" fmla="*/ 38193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3" y="0"/>
                  </a:lnTo>
                  <a:lnTo>
                    <a:pt x="38193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3" y="28042"/>
                  </a:lnTo>
                  <a:lnTo>
                    <a:pt x="38193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1" name="Freihandform: Form 120">
              <a:extLst>
                <a:ext uri="{FF2B5EF4-FFF2-40B4-BE49-F238E27FC236}">
                  <a16:creationId xmlns:a16="http://schemas.microsoft.com/office/drawing/2014/main" id="{842893B3-28DB-EB7F-8633-B8C9E6111644}"/>
                </a:ext>
              </a:extLst>
            </p:cNvPr>
            <p:cNvSpPr/>
            <p:nvPr/>
          </p:nvSpPr>
          <p:spPr>
            <a:xfrm>
              <a:off x="3902249" y="4373958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2 w 57225"/>
                <a:gd name="connsiteY8" fmla="*/ 28042 h 41998"/>
                <a:gd name="connsiteX9" fmla="*/ 38192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2" name="Freihandform: Form 121">
              <a:extLst>
                <a:ext uri="{FF2B5EF4-FFF2-40B4-BE49-F238E27FC236}">
                  <a16:creationId xmlns:a16="http://schemas.microsoft.com/office/drawing/2014/main" id="{E8605B48-212C-3C2E-224F-BF5FA40FF934}"/>
                </a:ext>
              </a:extLst>
            </p:cNvPr>
            <p:cNvSpPr/>
            <p:nvPr/>
          </p:nvSpPr>
          <p:spPr>
            <a:xfrm>
              <a:off x="3931179" y="4373958"/>
              <a:ext cx="57351" cy="41998"/>
            </a:xfrm>
            <a:custGeom>
              <a:avLst/>
              <a:gdLst>
                <a:gd name="connsiteX0" fmla="*/ 0 w 57351"/>
                <a:gd name="connsiteY0" fmla="*/ 28042 h 41998"/>
                <a:gd name="connsiteX1" fmla="*/ 0 w 57351"/>
                <a:gd name="connsiteY1" fmla="*/ 13957 h 41998"/>
                <a:gd name="connsiteX2" fmla="*/ 19160 w 57351"/>
                <a:gd name="connsiteY2" fmla="*/ 13957 h 41998"/>
                <a:gd name="connsiteX3" fmla="*/ 19160 w 57351"/>
                <a:gd name="connsiteY3" fmla="*/ 0 h 41998"/>
                <a:gd name="connsiteX4" fmla="*/ 38192 w 57351"/>
                <a:gd name="connsiteY4" fmla="*/ 0 h 41998"/>
                <a:gd name="connsiteX5" fmla="*/ 38192 w 57351"/>
                <a:gd name="connsiteY5" fmla="*/ 13957 h 41998"/>
                <a:gd name="connsiteX6" fmla="*/ 57352 w 57351"/>
                <a:gd name="connsiteY6" fmla="*/ 13957 h 41998"/>
                <a:gd name="connsiteX7" fmla="*/ 57352 w 57351"/>
                <a:gd name="connsiteY7" fmla="*/ 28042 h 41998"/>
                <a:gd name="connsiteX8" fmla="*/ 38192 w 57351"/>
                <a:gd name="connsiteY8" fmla="*/ 28042 h 41998"/>
                <a:gd name="connsiteX9" fmla="*/ 38192 w 57351"/>
                <a:gd name="connsiteY9" fmla="*/ 41999 h 41998"/>
                <a:gd name="connsiteX10" fmla="*/ 19160 w 57351"/>
                <a:gd name="connsiteY10" fmla="*/ 41999 h 41998"/>
                <a:gd name="connsiteX11" fmla="*/ 19160 w 57351"/>
                <a:gd name="connsiteY11" fmla="*/ 28042 h 41998"/>
                <a:gd name="connsiteX12" fmla="*/ 0 w 57351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1" h="41998">
                  <a:moveTo>
                    <a:pt x="0" y="28042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352" y="13957"/>
                  </a:lnTo>
                  <a:lnTo>
                    <a:pt x="57352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3" name="Freihandform: Form 122">
              <a:extLst>
                <a:ext uri="{FF2B5EF4-FFF2-40B4-BE49-F238E27FC236}">
                  <a16:creationId xmlns:a16="http://schemas.microsoft.com/office/drawing/2014/main" id="{DB41E6E6-A6C9-D36C-30C1-A0FD9429CCBE}"/>
                </a:ext>
              </a:extLst>
            </p:cNvPr>
            <p:cNvSpPr/>
            <p:nvPr/>
          </p:nvSpPr>
          <p:spPr>
            <a:xfrm>
              <a:off x="3987389" y="4373958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066 w 57225"/>
                <a:gd name="connsiteY4" fmla="*/ 0 h 41998"/>
                <a:gd name="connsiteX5" fmla="*/ 38066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066 w 57225"/>
                <a:gd name="connsiteY8" fmla="*/ 28042 h 41998"/>
                <a:gd name="connsiteX9" fmla="*/ 38066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066" y="28042"/>
                  </a:lnTo>
                  <a:lnTo>
                    <a:pt x="38066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4" name="Freihandform: Form 123">
              <a:extLst>
                <a:ext uri="{FF2B5EF4-FFF2-40B4-BE49-F238E27FC236}">
                  <a16:creationId xmlns:a16="http://schemas.microsoft.com/office/drawing/2014/main" id="{CB83851C-70C5-B0DE-F4B7-87A579C24A0A}"/>
                </a:ext>
              </a:extLst>
            </p:cNvPr>
            <p:cNvSpPr/>
            <p:nvPr/>
          </p:nvSpPr>
          <p:spPr>
            <a:xfrm>
              <a:off x="4027865" y="4373958"/>
              <a:ext cx="57352" cy="41998"/>
            </a:xfrm>
            <a:custGeom>
              <a:avLst/>
              <a:gdLst>
                <a:gd name="connsiteX0" fmla="*/ 0 w 57352"/>
                <a:gd name="connsiteY0" fmla="*/ 28042 h 41998"/>
                <a:gd name="connsiteX1" fmla="*/ 0 w 57352"/>
                <a:gd name="connsiteY1" fmla="*/ 13957 h 41998"/>
                <a:gd name="connsiteX2" fmla="*/ 19160 w 57352"/>
                <a:gd name="connsiteY2" fmla="*/ 13957 h 41998"/>
                <a:gd name="connsiteX3" fmla="*/ 19160 w 57352"/>
                <a:gd name="connsiteY3" fmla="*/ 0 h 41998"/>
                <a:gd name="connsiteX4" fmla="*/ 38192 w 57352"/>
                <a:gd name="connsiteY4" fmla="*/ 0 h 41998"/>
                <a:gd name="connsiteX5" fmla="*/ 38192 w 57352"/>
                <a:gd name="connsiteY5" fmla="*/ 13957 h 41998"/>
                <a:gd name="connsiteX6" fmla="*/ 57352 w 57352"/>
                <a:gd name="connsiteY6" fmla="*/ 13957 h 41998"/>
                <a:gd name="connsiteX7" fmla="*/ 57352 w 57352"/>
                <a:gd name="connsiteY7" fmla="*/ 28042 h 41998"/>
                <a:gd name="connsiteX8" fmla="*/ 38192 w 57352"/>
                <a:gd name="connsiteY8" fmla="*/ 28042 h 41998"/>
                <a:gd name="connsiteX9" fmla="*/ 38192 w 57352"/>
                <a:gd name="connsiteY9" fmla="*/ 41999 h 41998"/>
                <a:gd name="connsiteX10" fmla="*/ 19160 w 57352"/>
                <a:gd name="connsiteY10" fmla="*/ 41999 h 41998"/>
                <a:gd name="connsiteX11" fmla="*/ 19160 w 57352"/>
                <a:gd name="connsiteY11" fmla="*/ 28042 h 41998"/>
                <a:gd name="connsiteX12" fmla="*/ 0 w 57352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2" h="41998">
                  <a:moveTo>
                    <a:pt x="0" y="28042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352" y="13957"/>
                  </a:lnTo>
                  <a:lnTo>
                    <a:pt x="57352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5" name="Freihandform: Form 124">
              <a:extLst>
                <a:ext uri="{FF2B5EF4-FFF2-40B4-BE49-F238E27FC236}">
                  <a16:creationId xmlns:a16="http://schemas.microsoft.com/office/drawing/2014/main" id="{A9AE070B-6616-F137-05C7-20DF86D96A0C}"/>
                </a:ext>
              </a:extLst>
            </p:cNvPr>
            <p:cNvSpPr/>
            <p:nvPr/>
          </p:nvSpPr>
          <p:spPr>
            <a:xfrm>
              <a:off x="4080142" y="4373958"/>
              <a:ext cx="57352" cy="41998"/>
            </a:xfrm>
            <a:custGeom>
              <a:avLst/>
              <a:gdLst>
                <a:gd name="connsiteX0" fmla="*/ 0 w 57352"/>
                <a:gd name="connsiteY0" fmla="*/ 28042 h 41998"/>
                <a:gd name="connsiteX1" fmla="*/ 0 w 57352"/>
                <a:gd name="connsiteY1" fmla="*/ 13957 h 41998"/>
                <a:gd name="connsiteX2" fmla="*/ 19160 w 57352"/>
                <a:gd name="connsiteY2" fmla="*/ 13957 h 41998"/>
                <a:gd name="connsiteX3" fmla="*/ 19160 w 57352"/>
                <a:gd name="connsiteY3" fmla="*/ 0 h 41998"/>
                <a:gd name="connsiteX4" fmla="*/ 38193 w 57352"/>
                <a:gd name="connsiteY4" fmla="*/ 0 h 41998"/>
                <a:gd name="connsiteX5" fmla="*/ 38193 w 57352"/>
                <a:gd name="connsiteY5" fmla="*/ 13957 h 41998"/>
                <a:gd name="connsiteX6" fmla="*/ 57352 w 57352"/>
                <a:gd name="connsiteY6" fmla="*/ 13957 h 41998"/>
                <a:gd name="connsiteX7" fmla="*/ 57352 w 57352"/>
                <a:gd name="connsiteY7" fmla="*/ 28042 h 41998"/>
                <a:gd name="connsiteX8" fmla="*/ 38193 w 57352"/>
                <a:gd name="connsiteY8" fmla="*/ 28042 h 41998"/>
                <a:gd name="connsiteX9" fmla="*/ 38193 w 57352"/>
                <a:gd name="connsiteY9" fmla="*/ 41999 h 41998"/>
                <a:gd name="connsiteX10" fmla="*/ 19160 w 57352"/>
                <a:gd name="connsiteY10" fmla="*/ 41999 h 41998"/>
                <a:gd name="connsiteX11" fmla="*/ 19160 w 57352"/>
                <a:gd name="connsiteY11" fmla="*/ 28042 h 41998"/>
                <a:gd name="connsiteX12" fmla="*/ 0 w 57352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2" h="41998">
                  <a:moveTo>
                    <a:pt x="0" y="28042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3" y="0"/>
                  </a:lnTo>
                  <a:lnTo>
                    <a:pt x="38193" y="13957"/>
                  </a:lnTo>
                  <a:lnTo>
                    <a:pt x="57352" y="13957"/>
                  </a:lnTo>
                  <a:lnTo>
                    <a:pt x="57352" y="28042"/>
                  </a:lnTo>
                  <a:lnTo>
                    <a:pt x="38193" y="28042"/>
                  </a:lnTo>
                  <a:lnTo>
                    <a:pt x="38193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6" name="Freihandform: Form 125">
              <a:extLst>
                <a:ext uri="{FF2B5EF4-FFF2-40B4-BE49-F238E27FC236}">
                  <a16:creationId xmlns:a16="http://schemas.microsoft.com/office/drawing/2014/main" id="{A81389D9-13B7-9B84-127E-21148766B146}"/>
                </a:ext>
              </a:extLst>
            </p:cNvPr>
            <p:cNvSpPr/>
            <p:nvPr/>
          </p:nvSpPr>
          <p:spPr>
            <a:xfrm>
              <a:off x="4159445" y="4373958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3 w 57225"/>
                <a:gd name="connsiteY4" fmla="*/ 0 h 41998"/>
                <a:gd name="connsiteX5" fmla="*/ 38193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3 w 57225"/>
                <a:gd name="connsiteY8" fmla="*/ 28042 h 41998"/>
                <a:gd name="connsiteX9" fmla="*/ 38193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3" y="0"/>
                  </a:lnTo>
                  <a:lnTo>
                    <a:pt x="38193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3" y="28042"/>
                  </a:lnTo>
                  <a:lnTo>
                    <a:pt x="38193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7" name="Freihandform: Form 126">
              <a:extLst>
                <a:ext uri="{FF2B5EF4-FFF2-40B4-BE49-F238E27FC236}">
                  <a16:creationId xmlns:a16="http://schemas.microsoft.com/office/drawing/2014/main" id="{00A10987-DDE2-65A9-A8D8-202293D0196B}"/>
                </a:ext>
              </a:extLst>
            </p:cNvPr>
            <p:cNvSpPr/>
            <p:nvPr/>
          </p:nvSpPr>
          <p:spPr>
            <a:xfrm>
              <a:off x="4312342" y="4382713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160 w 57225"/>
                <a:gd name="connsiteY2" fmla="*/ 13957 h 41998"/>
                <a:gd name="connsiteX3" fmla="*/ 19160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2 w 57225"/>
                <a:gd name="connsiteY8" fmla="*/ 28042 h 41998"/>
                <a:gd name="connsiteX9" fmla="*/ 38192 w 57225"/>
                <a:gd name="connsiteY9" fmla="*/ 41999 h 41998"/>
                <a:gd name="connsiteX10" fmla="*/ 19160 w 57225"/>
                <a:gd name="connsiteY10" fmla="*/ 41999 h 41998"/>
                <a:gd name="connsiteX11" fmla="*/ 19160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8" name="Freihandform: Form 127">
              <a:extLst>
                <a:ext uri="{FF2B5EF4-FFF2-40B4-BE49-F238E27FC236}">
                  <a16:creationId xmlns:a16="http://schemas.microsoft.com/office/drawing/2014/main" id="{90A8A6FD-A031-58C7-8AFB-A87C96B65191}"/>
                </a:ext>
              </a:extLst>
            </p:cNvPr>
            <p:cNvSpPr/>
            <p:nvPr/>
          </p:nvSpPr>
          <p:spPr>
            <a:xfrm>
              <a:off x="4447729" y="4382713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3 w 57225"/>
                <a:gd name="connsiteY4" fmla="*/ 0 h 41998"/>
                <a:gd name="connsiteX5" fmla="*/ 38193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3 w 57225"/>
                <a:gd name="connsiteY8" fmla="*/ 28042 h 41998"/>
                <a:gd name="connsiteX9" fmla="*/ 38193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3" y="0"/>
                  </a:lnTo>
                  <a:lnTo>
                    <a:pt x="38193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3" y="28042"/>
                  </a:lnTo>
                  <a:lnTo>
                    <a:pt x="38193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9" name="Freihandform: Form 128">
              <a:extLst>
                <a:ext uri="{FF2B5EF4-FFF2-40B4-BE49-F238E27FC236}">
                  <a16:creationId xmlns:a16="http://schemas.microsoft.com/office/drawing/2014/main" id="{D3A03301-4148-E8D9-F6F2-6AB18DEB7344}"/>
                </a:ext>
              </a:extLst>
            </p:cNvPr>
            <p:cNvSpPr/>
            <p:nvPr/>
          </p:nvSpPr>
          <p:spPr>
            <a:xfrm>
              <a:off x="4577405" y="4392229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3 w 57225"/>
                <a:gd name="connsiteY4" fmla="*/ 0 h 41998"/>
                <a:gd name="connsiteX5" fmla="*/ 38193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3 w 57225"/>
                <a:gd name="connsiteY8" fmla="*/ 28042 h 41998"/>
                <a:gd name="connsiteX9" fmla="*/ 38193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3" y="0"/>
                  </a:lnTo>
                  <a:lnTo>
                    <a:pt x="38193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3" y="28042"/>
                  </a:lnTo>
                  <a:lnTo>
                    <a:pt x="38193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0" name="Freihandform: Form 129">
              <a:extLst>
                <a:ext uri="{FF2B5EF4-FFF2-40B4-BE49-F238E27FC236}">
                  <a16:creationId xmlns:a16="http://schemas.microsoft.com/office/drawing/2014/main" id="{B6B61E38-FD3F-57EC-840D-639084EFD88F}"/>
                </a:ext>
              </a:extLst>
            </p:cNvPr>
            <p:cNvSpPr/>
            <p:nvPr/>
          </p:nvSpPr>
          <p:spPr>
            <a:xfrm>
              <a:off x="4579309" y="4392229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3 w 57225"/>
                <a:gd name="connsiteY4" fmla="*/ 0 h 41998"/>
                <a:gd name="connsiteX5" fmla="*/ 38193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3 w 57225"/>
                <a:gd name="connsiteY8" fmla="*/ 28042 h 41998"/>
                <a:gd name="connsiteX9" fmla="*/ 38193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3" y="0"/>
                  </a:lnTo>
                  <a:lnTo>
                    <a:pt x="38193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3" y="28042"/>
                  </a:lnTo>
                  <a:lnTo>
                    <a:pt x="38193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1" name="Freihandform: Form 130">
              <a:extLst>
                <a:ext uri="{FF2B5EF4-FFF2-40B4-BE49-F238E27FC236}">
                  <a16:creationId xmlns:a16="http://schemas.microsoft.com/office/drawing/2014/main" id="{8835FC05-6795-96D0-2E4C-513F1A66CD7E}"/>
                </a:ext>
              </a:extLst>
            </p:cNvPr>
            <p:cNvSpPr/>
            <p:nvPr/>
          </p:nvSpPr>
          <p:spPr>
            <a:xfrm>
              <a:off x="4681832" y="4412531"/>
              <a:ext cx="57224" cy="41998"/>
            </a:xfrm>
            <a:custGeom>
              <a:avLst/>
              <a:gdLst>
                <a:gd name="connsiteX0" fmla="*/ 0 w 57224"/>
                <a:gd name="connsiteY0" fmla="*/ 28042 h 41998"/>
                <a:gd name="connsiteX1" fmla="*/ 0 w 57224"/>
                <a:gd name="connsiteY1" fmla="*/ 13957 h 41998"/>
                <a:gd name="connsiteX2" fmla="*/ 19033 w 57224"/>
                <a:gd name="connsiteY2" fmla="*/ 13957 h 41998"/>
                <a:gd name="connsiteX3" fmla="*/ 19033 w 57224"/>
                <a:gd name="connsiteY3" fmla="*/ 0 h 41998"/>
                <a:gd name="connsiteX4" fmla="*/ 38192 w 57224"/>
                <a:gd name="connsiteY4" fmla="*/ 0 h 41998"/>
                <a:gd name="connsiteX5" fmla="*/ 38192 w 57224"/>
                <a:gd name="connsiteY5" fmla="*/ 13957 h 41998"/>
                <a:gd name="connsiteX6" fmla="*/ 57225 w 57224"/>
                <a:gd name="connsiteY6" fmla="*/ 13957 h 41998"/>
                <a:gd name="connsiteX7" fmla="*/ 57225 w 57224"/>
                <a:gd name="connsiteY7" fmla="*/ 28042 h 41998"/>
                <a:gd name="connsiteX8" fmla="*/ 38192 w 57224"/>
                <a:gd name="connsiteY8" fmla="*/ 28042 h 41998"/>
                <a:gd name="connsiteX9" fmla="*/ 38192 w 57224"/>
                <a:gd name="connsiteY9" fmla="*/ 41999 h 41998"/>
                <a:gd name="connsiteX10" fmla="*/ 19033 w 57224"/>
                <a:gd name="connsiteY10" fmla="*/ 41999 h 41998"/>
                <a:gd name="connsiteX11" fmla="*/ 19033 w 57224"/>
                <a:gd name="connsiteY11" fmla="*/ 28042 h 41998"/>
                <a:gd name="connsiteX12" fmla="*/ 0 w 57224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4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2" name="Freihandform: Form 131">
              <a:extLst>
                <a:ext uri="{FF2B5EF4-FFF2-40B4-BE49-F238E27FC236}">
                  <a16:creationId xmlns:a16="http://schemas.microsoft.com/office/drawing/2014/main" id="{1EDB3CD6-17BC-95B9-D4D7-207EF3430DA4}"/>
                </a:ext>
              </a:extLst>
            </p:cNvPr>
            <p:cNvSpPr/>
            <p:nvPr/>
          </p:nvSpPr>
          <p:spPr>
            <a:xfrm>
              <a:off x="4790065" y="4423189"/>
              <a:ext cx="57224" cy="41998"/>
            </a:xfrm>
            <a:custGeom>
              <a:avLst/>
              <a:gdLst>
                <a:gd name="connsiteX0" fmla="*/ 0 w 57224"/>
                <a:gd name="connsiteY0" fmla="*/ 28042 h 41998"/>
                <a:gd name="connsiteX1" fmla="*/ 0 w 57224"/>
                <a:gd name="connsiteY1" fmla="*/ 13957 h 41998"/>
                <a:gd name="connsiteX2" fmla="*/ 19159 w 57224"/>
                <a:gd name="connsiteY2" fmla="*/ 13957 h 41998"/>
                <a:gd name="connsiteX3" fmla="*/ 19159 w 57224"/>
                <a:gd name="connsiteY3" fmla="*/ 0 h 41998"/>
                <a:gd name="connsiteX4" fmla="*/ 38192 w 57224"/>
                <a:gd name="connsiteY4" fmla="*/ 0 h 41998"/>
                <a:gd name="connsiteX5" fmla="*/ 38192 w 57224"/>
                <a:gd name="connsiteY5" fmla="*/ 13957 h 41998"/>
                <a:gd name="connsiteX6" fmla="*/ 57225 w 57224"/>
                <a:gd name="connsiteY6" fmla="*/ 13957 h 41998"/>
                <a:gd name="connsiteX7" fmla="*/ 57225 w 57224"/>
                <a:gd name="connsiteY7" fmla="*/ 28042 h 41998"/>
                <a:gd name="connsiteX8" fmla="*/ 38192 w 57224"/>
                <a:gd name="connsiteY8" fmla="*/ 28042 h 41998"/>
                <a:gd name="connsiteX9" fmla="*/ 38192 w 57224"/>
                <a:gd name="connsiteY9" fmla="*/ 41999 h 41998"/>
                <a:gd name="connsiteX10" fmla="*/ 19159 w 57224"/>
                <a:gd name="connsiteY10" fmla="*/ 41999 h 41998"/>
                <a:gd name="connsiteX11" fmla="*/ 19159 w 57224"/>
                <a:gd name="connsiteY11" fmla="*/ 28042 h 41998"/>
                <a:gd name="connsiteX12" fmla="*/ 0 w 57224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4" h="41998">
                  <a:moveTo>
                    <a:pt x="0" y="28042"/>
                  </a:moveTo>
                  <a:lnTo>
                    <a:pt x="0" y="13957"/>
                  </a:lnTo>
                  <a:lnTo>
                    <a:pt x="19159" y="13957"/>
                  </a:lnTo>
                  <a:lnTo>
                    <a:pt x="19159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159" y="41999"/>
                  </a:lnTo>
                  <a:lnTo>
                    <a:pt x="19159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3" name="Freihandform: Form 132">
              <a:extLst>
                <a:ext uri="{FF2B5EF4-FFF2-40B4-BE49-F238E27FC236}">
                  <a16:creationId xmlns:a16="http://schemas.microsoft.com/office/drawing/2014/main" id="{B8C74DB9-9A53-C3EF-736B-C43C433811E5}"/>
                </a:ext>
              </a:extLst>
            </p:cNvPr>
            <p:cNvSpPr/>
            <p:nvPr/>
          </p:nvSpPr>
          <p:spPr>
            <a:xfrm>
              <a:off x="4942962" y="4434228"/>
              <a:ext cx="57351" cy="42125"/>
            </a:xfrm>
            <a:custGeom>
              <a:avLst/>
              <a:gdLst>
                <a:gd name="connsiteX0" fmla="*/ 0 w 57351"/>
                <a:gd name="connsiteY0" fmla="*/ 28042 h 42125"/>
                <a:gd name="connsiteX1" fmla="*/ 0 w 57351"/>
                <a:gd name="connsiteY1" fmla="*/ 14084 h 42125"/>
                <a:gd name="connsiteX2" fmla="*/ 19160 w 57351"/>
                <a:gd name="connsiteY2" fmla="*/ 14084 h 42125"/>
                <a:gd name="connsiteX3" fmla="*/ 19160 w 57351"/>
                <a:gd name="connsiteY3" fmla="*/ 0 h 42125"/>
                <a:gd name="connsiteX4" fmla="*/ 38193 w 57351"/>
                <a:gd name="connsiteY4" fmla="*/ 0 h 42125"/>
                <a:gd name="connsiteX5" fmla="*/ 38193 w 57351"/>
                <a:gd name="connsiteY5" fmla="*/ 14084 h 42125"/>
                <a:gd name="connsiteX6" fmla="*/ 57352 w 57351"/>
                <a:gd name="connsiteY6" fmla="*/ 14084 h 42125"/>
                <a:gd name="connsiteX7" fmla="*/ 57352 w 57351"/>
                <a:gd name="connsiteY7" fmla="*/ 28042 h 42125"/>
                <a:gd name="connsiteX8" fmla="*/ 38193 w 57351"/>
                <a:gd name="connsiteY8" fmla="*/ 28042 h 42125"/>
                <a:gd name="connsiteX9" fmla="*/ 38193 w 57351"/>
                <a:gd name="connsiteY9" fmla="*/ 42126 h 42125"/>
                <a:gd name="connsiteX10" fmla="*/ 19160 w 57351"/>
                <a:gd name="connsiteY10" fmla="*/ 42126 h 42125"/>
                <a:gd name="connsiteX11" fmla="*/ 19160 w 57351"/>
                <a:gd name="connsiteY11" fmla="*/ 28042 h 42125"/>
                <a:gd name="connsiteX12" fmla="*/ 0 w 57351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1" h="42125">
                  <a:moveTo>
                    <a:pt x="0" y="28042"/>
                  </a:moveTo>
                  <a:lnTo>
                    <a:pt x="0" y="14084"/>
                  </a:lnTo>
                  <a:lnTo>
                    <a:pt x="19160" y="14084"/>
                  </a:lnTo>
                  <a:lnTo>
                    <a:pt x="19160" y="0"/>
                  </a:lnTo>
                  <a:lnTo>
                    <a:pt x="38193" y="0"/>
                  </a:lnTo>
                  <a:lnTo>
                    <a:pt x="38193" y="14084"/>
                  </a:lnTo>
                  <a:lnTo>
                    <a:pt x="57352" y="14084"/>
                  </a:lnTo>
                  <a:lnTo>
                    <a:pt x="57352" y="28042"/>
                  </a:lnTo>
                  <a:lnTo>
                    <a:pt x="38193" y="28042"/>
                  </a:lnTo>
                  <a:lnTo>
                    <a:pt x="38193" y="42126"/>
                  </a:lnTo>
                  <a:lnTo>
                    <a:pt x="19160" y="42126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4" name="Freihandform: Form 133">
              <a:extLst>
                <a:ext uri="{FF2B5EF4-FFF2-40B4-BE49-F238E27FC236}">
                  <a16:creationId xmlns:a16="http://schemas.microsoft.com/office/drawing/2014/main" id="{0DDD145C-93EE-425F-6552-D0AB009480AD}"/>
                </a:ext>
              </a:extLst>
            </p:cNvPr>
            <p:cNvSpPr/>
            <p:nvPr/>
          </p:nvSpPr>
          <p:spPr>
            <a:xfrm>
              <a:off x="5055255" y="4434228"/>
              <a:ext cx="57225" cy="42125"/>
            </a:xfrm>
            <a:custGeom>
              <a:avLst/>
              <a:gdLst>
                <a:gd name="connsiteX0" fmla="*/ 0 w 57225"/>
                <a:gd name="connsiteY0" fmla="*/ 28042 h 42125"/>
                <a:gd name="connsiteX1" fmla="*/ 0 w 57225"/>
                <a:gd name="connsiteY1" fmla="*/ 14084 h 42125"/>
                <a:gd name="connsiteX2" fmla="*/ 19033 w 57225"/>
                <a:gd name="connsiteY2" fmla="*/ 14084 h 42125"/>
                <a:gd name="connsiteX3" fmla="*/ 19033 w 57225"/>
                <a:gd name="connsiteY3" fmla="*/ 0 h 42125"/>
                <a:gd name="connsiteX4" fmla="*/ 38066 w 57225"/>
                <a:gd name="connsiteY4" fmla="*/ 0 h 42125"/>
                <a:gd name="connsiteX5" fmla="*/ 38066 w 57225"/>
                <a:gd name="connsiteY5" fmla="*/ 14084 h 42125"/>
                <a:gd name="connsiteX6" fmla="*/ 57225 w 57225"/>
                <a:gd name="connsiteY6" fmla="*/ 14084 h 42125"/>
                <a:gd name="connsiteX7" fmla="*/ 57225 w 57225"/>
                <a:gd name="connsiteY7" fmla="*/ 28042 h 42125"/>
                <a:gd name="connsiteX8" fmla="*/ 38066 w 57225"/>
                <a:gd name="connsiteY8" fmla="*/ 28042 h 42125"/>
                <a:gd name="connsiteX9" fmla="*/ 38066 w 57225"/>
                <a:gd name="connsiteY9" fmla="*/ 42126 h 42125"/>
                <a:gd name="connsiteX10" fmla="*/ 19033 w 57225"/>
                <a:gd name="connsiteY10" fmla="*/ 42126 h 42125"/>
                <a:gd name="connsiteX11" fmla="*/ 19033 w 57225"/>
                <a:gd name="connsiteY11" fmla="*/ 28042 h 42125"/>
                <a:gd name="connsiteX12" fmla="*/ 0 w 57225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2125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066" y="28042"/>
                  </a:lnTo>
                  <a:lnTo>
                    <a:pt x="38066" y="42126"/>
                  </a:lnTo>
                  <a:lnTo>
                    <a:pt x="19033" y="42126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5" name="Freihandform: Form 134">
              <a:extLst>
                <a:ext uri="{FF2B5EF4-FFF2-40B4-BE49-F238E27FC236}">
                  <a16:creationId xmlns:a16="http://schemas.microsoft.com/office/drawing/2014/main" id="{A33E24B6-D5BE-20F7-17FD-4F7953DF5474}"/>
                </a:ext>
              </a:extLst>
            </p:cNvPr>
            <p:cNvSpPr/>
            <p:nvPr/>
          </p:nvSpPr>
          <p:spPr>
            <a:xfrm>
              <a:off x="5177065" y="4434228"/>
              <a:ext cx="57224" cy="42125"/>
            </a:xfrm>
            <a:custGeom>
              <a:avLst/>
              <a:gdLst>
                <a:gd name="connsiteX0" fmla="*/ 0 w 57224"/>
                <a:gd name="connsiteY0" fmla="*/ 28042 h 42125"/>
                <a:gd name="connsiteX1" fmla="*/ 0 w 57224"/>
                <a:gd name="connsiteY1" fmla="*/ 14084 h 42125"/>
                <a:gd name="connsiteX2" fmla="*/ 19159 w 57224"/>
                <a:gd name="connsiteY2" fmla="*/ 14084 h 42125"/>
                <a:gd name="connsiteX3" fmla="*/ 19159 w 57224"/>
                <a:gd name="connsiteY3" fmla="*/ 0 h 42125"/>
                <a:gd name="connsiteX4" fmla="*/ 38192 w 57224"/>
                <a:gd name="connsiteY4" fmla="*/ 0 h 42125"/>
                <a:gd name="connsiteX5" fmla="*/ 38192 w 57224"/>
                <a:gd name="connsiteY5" fmla="*/ 14084 h 42125"/>
                <a:gd name="connsiteX6" fmla="*/ 57225 w 57224"/>
                <a:gd name="connsiteY6" fmla="*/ 14084 h 42125"/>
                <a:gd name="connsiteX7" fmla="*/ 57225 w 57224"/>
                <a:gd name="connsiteY7" fmla="*/ 28042 h 42125"/>
                <a:gd name="connsiteX8" fmla="*/ 38192 w 57224"/>
                <a:gd name="connsiteY8" fmla="*/ 28042 h 42125"/>
                <a:gd name="connsiteX9" fmla="*/ 38192 w 57224"/>
                <a:gd name="connsiteY9" fmla="*/ 42126 h 42125"/>
                <a:gd name="connsiteX10" fmla="*/ 19159 w 57224"/>
                <a:gd name="connsiteY10" fmla="*/ 42126 h 42125"/>
                <a:gd name="connsiteX11" fmla="*/ 19159 w 57224"/>
                <a:gd name="connsiteY11" fmla="*/ 28042 h 42125"/>
                <a:gd name="connsiteX12" fmla="*/ 0 w 57224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4" h="42125">
                  <a:moveTo>
                    <a:pt x="0" y="28042"/>
                  </a:moveTo>
                  <a:lnTo>
                    <a:pt x="0" y="14084"/>
                  </a:lnTo>
                  <a:lnTo>
                    <a:pt x="19159" y="14084"/>
                  </a:lnTo>
                  <a:lnTo>
                    <a:pt x="19159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2126"/>
                  </a:lnTo>
                  <a:lnTo>
                    <a:pt x="19159" y="42126"/>
                  </a:lnTo>
                  <a:lnTo>
                    <a:pt x="19159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6" name="Freihandform: Form 135">
              <a:extLst>
                <a:ext uri="{FF2B5EF4-FFF2-40B4-BE49-F238E27FC236}">
                  <a16:creationId xmlns:a16="http://schemas.microsoft.com/office/drawing/2014/main" id="{53085C8B-6AD7-E5FC-405D-E1CA1ABA835F}"/>
                </a:ext>
              </a:extLst>
            </p:cNvPr>
            <p:cNvSpPr/>
            <p:nvPr/>
          </p:nvSpPr>
          <p:spPr>
            <a:xfrm>
              <a:off x="5440225" y="4434228"/>
              <a:ext cx="57225" cy="42125"/>
            </a:xfrm>
            <a:custGeom>
              <a:avLst/>
              <a:gdLst>
                <a:gd name="connsiteX0" fmla="*/ 0 w 57225"/>
                <a:gd name="connsiteY0" fmla="*/ 28042 h 42125"/>
                <a:gd name="connsiteX1" fmla="*/ 0 w 57225"/>
                <a:gd name="connsiteY1" fmla="*/ 14084 h 42125"/>
                <a:gd name="connsiteX2" fmla="*/ 19033 w 57225"/>
                <a:gd name="connsiteY2" fmla="*/ 14084 h 42125"/>
                <a:gd name="connsiteX3" fmla="*/ 19033 w 57225"/>
                <a:gd name="connsiteY3" fmla="*/ 0 h 42125"/>
                <a:gd name="connsiteX4" fmla="*/ 38066 w 57225"/>
                <a:gd name="connsiteY4" fmla="*/ 0 h 42125"/>
                <a:gd name="connsiteX5" fmla="*/ 38066 w 57225"/>
                <a:gd name="connsiteY5" fmla="*/ 14084 h 42125"/>
                <a:gd name="connsiteX6" fmla="*/ 57225 w 57225"/>
                <a:gd name="connsiteY6" fmla="*/ 14084 h 42125"/>
                <a:gd name="connsiteX7" fmla="*/ 57225 w 57225"/>
                <a:gd name="connsiteY7" fmla="*/ 28042 h 42125"/>
                <a:gd name="connsiteX8" fmla="*/ 38066 w 57225"/>
                <a:gd name="connsiteY8" fmla="*/ 28042 h 42125"/>
                <a:gd name="connsiteX9" fmla="*/ 38066 w 57225"/>
                <a:gd name="connsiteY9" fmla="*/ 42126 h 42125"/>
                <a:gd name="connsiteX10" fmla="*/ 19033 w 57225"/>
                <a:gd name="connsiteY10" fmla="*/ 42126 h 42125"/>
                <a:gd name="connsiteX11" fmla="*/ 19033 w 57225"/>
                <a:gd name="connsiteY11" fmla="*/ 28042 h 42125"/>
                <a:gd name="connsiteX12" fmla="*/ 0 w 57225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2125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066" y="28042"/>
                  </a:lnTo>
                  <a:lnTo>
                    <a:pt x="38066" y="42126"/>
                  </a:lnTo>
                  <a:lnTo>
                    <a:pt x="19033" y="42126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7" name="Freihandform: Form 136">
              <a:extLst>
                <a:ext uri="{FF2B5EF4-FFF2-40B4-BE49-F238E27FC236}">
                  <a16:creationId xmlns:a16="http://schemas.microsoft.com/office/drawing/2014/main" id="{E1BBB90E-AF59-CBEF-CD84-D55615E2F0B4}"/>
                </a:ext>
              </a:extLst>
            </p:cNvPr>
            <p:cNvSpPr/>
            <p:nvPr/>
          </p:nvSpPr>
          <p:spPr>
            <a:xfrm>
              <a:off x="5488568" y="4434228"/>
              <a:ext cx="57225" cy="42125"/>
            </a:xfrm>
            <a:custGeom>
              <a:avLst/>
              <a:gdLst>
                <a:gd name="connsiteX0" fmla="*/ 0 w 57225"/>
                <a:gd name="connsiteY0" fmla="*/ 28042 h 42125"/>
                <a:gd name="connsiteX1" fmla="*/ 0 w 57225"/>
                <a:gd name="connsiteY1" fmla="*/ 14084 h 42125"/>
                <a:gd name="connsiteX2" fmla="*/ 19033 w 57225"/>
                <a:gd name="connsiteY2" fmla="*/ 14084 h 42125"/>
                <a:gd name="connsiteX3" fmla="*/ 19033 w 57225"/>
                <a:gd name="connsiteY3" fmla="*/ 0 h 42125"/>
                <a:gd name="connsiteX4" fmla="*/ 38066 w 57225"/>
                <a:gd name="connsiteY4" fmla="*/ 0 h 42125"/>
                <a:gd name="connsiteX5" fmla="*/ 38066 w 57225"/>
                <a:gd name="connsiteY5" fmla="*/ 14084 h 42125"/>
                <a:gd name="connsiteX6" fmla="*/ 57225 w 57225"/>
                <a:gd name="connsiteY6" fmla="*/ 14084 h 42125"/>
                <a:gd name="connsiteX7" fmla="*/ 57225 w 57225"/>
                <a:gd name="connsiteY7" fmla="*/ 28042 h 42125"/>
                <a:gd name="connsiteX8" fmla="*/ 38066 w 57225"/>
                <a:gd name="connsiteY8" fmla="*/ 28042 h 42125"/>
                <a:gd name="connsiteX9" fmla="*/ 38066 w 57225"/>
                <a:gd name="connsiteY9" fmla="*/ 42126 h 42125"/>
                <a:gd name="connsiteX10" fmla="*/ 19033 w 57225"/>
                <a:gd name="connsiteY10" fmla="*/ 42126 h 42125"/>
                <a:gd name="connsiteX11" fmla="*/ 19033 w 57225"/>
                <a:gd name="connsiteY11" fmla="*/ 28042 h 42125"/>
                <a:gd name="connsiteX12" fmla="*/ 0 w 57225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2125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066" y="28042"/>
                  </a:lnTo>
                  <a:lnTo>
                    <a:pt x="38066" y="42126"/>
                  </a:lnTo>
                  <a:lnTo>
                    <a:pt x="19033" y="42126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8" name="Freihandform: Form 137">
              <a:extLst>
                <a:ext uri="{FF2B5EF4-FFF2-40B4-BE49-F238E27FC236}">
                  <a16:creationId xmlns:a16="http://schemas.microsoft.com/office/drawing/2014/main" id="{FD594569-57B7-AB56-7458-0F9EF3C6D0A7}"/>
                </a:ext>
              </a:extLst>
            </p:cNvPr>
            <p:cNvSpPr/>
            <p:nvPr/>
          </p:nvSpPr>
          <p:spPr>
            <a:xfrm>
              <a:off x="5502018" y="4434228"/>
              <a:ext cx="57225" cy="42125"/>
            </a:xfrm>
            <a:custGeom>
              <a:avLst/>
              <a:gdLst>
                <a:gd name="connsiteX0" fmla="*/ 0 w 57225"/>
                <a:gd name="connsiteY0" fmla="*/ 28042 h 42125"/>
                <a:gd name="connsiteX1" fmla="*/ 0 w 57225"/>
                <a:gd name="connsiteY1" fmla="*/ 14084 h 42125"/>
                <a:gd name="connsiteX2" fmla="*/ 19033 w 57225"/>
                <a:gd name="connsiteY2" fmla="*/ 14084 h 42125"/>
                <a:gd name="connsiteX3" fmla="*/ 19033 w 57225"/>
                <a:gd name="connsiteY3" fmla="*/ 0 h 42125"/>
                <a:gd name="connsiteX4" fmla="*/ 38193 w 57225"/>
                <a:gd name="connsiteY4" fmla="*/ 0 h 42125"/>
                <a:gd name="connsiteX5" fmla="*/ 38193 w 57225"/>
                <a:gd name="connsiteY5" fmla="*/ 14084 h 42125"/>
                <a:gd name="connsiteX6" fmla="*/ 57225 w 57225"/>
                <a:gd name="connsiteY6" fmla="*/ 14084 h 42125"/>
                <a:gd name="connsiteX7" fmla="*/ 57225 w 57225"/>
                <a:gd name="connsiteY7" fmla="*/ 28042 h 42125"/>
                <a:gd name="connsiteX8" fmla="*/ 38193 w 57225"/>
                <a:gd name="connsiteY8" fmla="*/ 28042 h 42125"/>
                <a:gd name="connsiteX9" fmla="*/ 38193 w 57225"/>
                <a:gd name="connsiteY9" fmla="*/ 42126 h 42125"/>
                <a:gd name="connsiteX10" fmla="*/ 19033 w 57225"/>
                <a:gd name="connsiteY10" fmla="*/ 42126 h 42125"/>
                <a:gd name="connsiteX11" fmla="*/ 19033 w 57225"/>
                <a:gd name="connsiteY11" fmla="*/ 28042 h 42125"/>
                <a:gd name="connsiteX12" fmla="*/ 0 w 57225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2125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193" y="0"/>
                  </a:lnTo>
                  <a:lnTo>
                    <a:pt x="38193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3" y="28042"/>
                  </a:lnTo>
                  <a:lnTo>
                    <a:pt x="38193" y="42126"/>
                  </a:lnTo>
                  <a:lnTo>
                    <a:pt x="19033" y="42126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9" name="Freihandform: Form 138">
              <a:extLst>
                <a:ext uri="{FF2B5EF4-FFF2-40B4-BE49-F238E27FC236}">
                  <a16:creationId xmlns:a16="http://schemas.microsoft.com/office/drawing/2014/main" id="{C769CDF7-1860-F3E0-8C86-573D9C57E63C}"/>
                </a:ext>
              </a:extLst>
            </p:cNvPr>
            <p:cNvSpPr/>
            <p:nvPr/>
          </p:nvSpPr>
          <p:spPr>
            <a:xfrm>
              <a:off x="5658721" y="4434228"/>
              <a:ext cx="57225" cy="42125"/>
            </a:xfrm>
            <a:custGeom>
              <a:avLst/>
              <a:gdLst>
                <a:gd name="connsiteX0" fmla="*/ 0 w 57225"/>
                <a:gd name="connsiteY0" fmla="*/ 28042 h 42125"/>
                <a:gd name="connsiteX1" fmla="*/ 0 w 57225"/>
                <a:gd name="connsiteY1" fmla="*/ 14084 h 42125"/>
                <a:gd name="connsiteX2" fmla="*/ 19160 w 57225"/>
                <a:gd name="connsiteY2" fmla="*/ 14084 h 42125"/>
                <a:gd name="connsiteX3" fmla="*/ 19160 w 57225"/>
                <a:gd name="connsiteY3" fmla="*/ 0 h 42125"/>
                <a:gd name="connsiteX4" fmla="*/ 38193 w 57225"/>
                <a:gd name="connsiteY4" fmla="*/ 0 h 42125"/>
                <a:gd name="connsiteX5" fmla="*/ 38193 w 57225"/>
                <a:gd name="connsiteY5" fmla="*/ 14084 h 42125"/>
                <a:gd name="connsiteX6" fmla="*/ 57225 w 57225"/>
                <a:gd name="connsiteY6" fmla="*/ 14084 h 42125"/>
                <a:gd name="connsiteX7" fmla="*/ 57225 w 57225"/>
                <a:gd name="connsiteY7" fmla="*/ 28042 h 42125"/>
                <a:gd name="connsiteX8" fmla="*/ 38193 w 57225"/>
                <a:gd name="connsiteY8" fmla="*/ 28042 h 42125"/>
                <a:gd name="connsiteX9" fmla="*/ 38193 w 57225"/>
                <a:gd name="connsiteY9" fmla="*/ 42126 h 42125"/>
                <a:gd name="connsiteX10" fmla="*/ 19160 w 57225"/>
                <a:gd name="connsiteY10" fmla="*/ 42126 h 42125"/>
                <a:gd name="connsiteX11" fmla="*/ 19160 w 57225"/>
                <a:gd name="connsiteY11" fmla="*/ 28042 h 42125"/>
                <a:gd name="connsiteX12" fmla="*/ 0 w 57225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2125">
                  <a:moveTo>
                    <a:pt x="0" y="28042"/>
                  </a:moveTo>
                  <a:lnTo>
                    <a:pt x="0" y="14084"/>
                  </a:lnTo>
                  <a:lnTo>
                    <a:pt x="19160" y="14084"/>
                  </a:lnTo>
                  <a:lnTo>
                    <a:pt x="19160" y="0"/>
                  </a:lnTo>
                  <a:lnTo>
                    <a:pt x="38193" y="0"/>
                  </a:lnTo>
                  <a:lnTo>
                    <a:pt x="38193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3" y="28042"/>
                  </a:lnTo>
                  <a:lnTo>
                    <a:pt x="38193" y="42126"/>
                  </a:lnTo>
                  <a:lnTo>
                    <a:pt x="19160" y="42126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0" name="Freihandform: Form 139">
              <a:extLst>
                <a:ext uri="{FF2B5EF4-FFF2-40B4-BE49-F238E27FC236}">
                  <a16:creationId xmlns:a16="http://schemas.microsoft.com/office/drawing/2014/main" id="{E22002C3-CBAA-1156-136E-83FFCCA076F6}"/>
                </a:ext>
              </a:extLst>
            </p:cNvPr>
            <p:cNvSpPr/>
            <p:nvPr/>
          </p:nvSpPr>
          <p:spPr>
            <a:xfrm>
              <a:off x="5670268" y="4434228"/>
              <a:ext cx="57351" cy="42125"/>
            </a:xfrm>
            <a:custGeom>
              <a:avLst/>
              <a:gdLst>
                <a:gd name="connsiteX0" fmla="*/ 0 w 57351"/>
                <a:gd name="connsiteY0" fmla="*/ 28042 h 42125"/>
                <a:gd name="connsiteX1" fmla="*/ 0 w 57351"/>
                <a:gd name="connsiteY1" fmla="*/ 14084 h 42125"/>
                <a:gd name="connsiteX2" fmla="*/ 19160 w 57351"/>
                <a:gd name="connsiteY2" fmla="*/ 14084 h 42125"/>
                <a:gd name="connsiteX3" fmla="*/ 19160 w 57351"/>
                <a:gd name="connsiteY3" fmla="*/ 0 h 42125"/>
                <a:gd name="connsiteX4" fmla="*/ 38193 w 57351"/>
                <a:gd name="connsiteY4" fmla="*/ 0 h 42125"/>
                <a:gd name="connsiteX5" fmla="*/ 38193 w 57351"/>
                <a:gd name="connsiteY5" fmla="*/ 14084 h 42125"/>
                <a:gd name="connsiteX6" fmla="*/ 57352 w 57351"/>
                <a:gd name="connsiteY6" fmla="*/ 14084 h 42125"/>
                <a:gd name="connsiteX7" fmla="*/ 57352 w 57351"/>
                <a:gd name="connsiteY7" fmla="*/ 28042 h 42125"/>
                <a:gd name="connsiteX8" fmla="*/ 38193 w 57351"/>
                <a:gd name="connsiteY8" fmla="*/ 28042 h 42125"/>
                <a:gd name="connsiteX9" fmla="*/ 38193 w 57351"/>
                <a:gd name="connsiteY9" fmla="*/ 42126 h 42125"/>
                <a:gd name="connsiteX10" fmla="*/ 19160 w 57351"/>
                <a:gd name="connsiteY10" fmla="*/ 42126 h 42125"/>
                <a:gd name="connsiteX11" fmla="*/ 19160 w 57351"/>
                <a:gd name="connsiteY11" fmla="*/ 28042 h 42125"/>
                <a:gd name="connsiteX12" fmla="*/ 0 w 57351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1" h="42125">
                  <a:moveTo>
                    <a:pt x="0" y="28042"/>
                  </a:moveTo>
                  <a:lnTo>
                    <a:pt x="0" y="14084"/>
                  </a:lnTo>
                  <a:lnTo>
                    <a:pt x="19160" y="14084"/>
                  </a:lnTo>
                  <a:lnTo>
                    <a:pt x="19160" y="0"/>
                  </a:lnTo>
                  <a:lnTo>
                    <a:pt x="38193" y="0"/>
                  </a:lnTo>
                  <a:lnTo>
                    <a:pt x="38193" y="14084"/>
                  </a:lnTo>
                  <a:lnTo>
                    <a:pt x="57352" y="14084"/>
                  </a:lnTo>
                  <a:lnTo>
                    <a:pt x="57352" y="28042"/>
                  </a:lnTo>
                  <a:lnTo>
                    <a:pt x="38193" y="28042"/>
                  </a:lnTo>
                  <a:lnTo>
                    <a:pt x="38193" y="42126"/>
                  </a:lnTo>
                  <a:lnTo>
                    <a:pt x="19160" y="42126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1" name="Freihandform: Form 140">
              <a:extLst>
                <a:ext uri="{FF2B5EF4-FFF2-40B4-BE49-F238E27FC236}">
                  <a16:creationId xmlns:a16="http://schemas.microsoft.com/office/drawing/2014/main" id="{F3112FFE-2970-4451-BF03-D6FDB67FD147}"/>
                </a:ext>
              </a:extLst>
            </p:cNvPr>
            <p:cNvSpPr/>
            <p:nvPr/>
          </p:nvSpPr>
          <p:spPr>
            <a:xfrm>
              <a:off x="5794108" y="4434228"/>
              <a:ext cx="57224" cy="42125"/>
            </a:xfrm>
            <a:custGeom>
              <a:avLst/>
              <a:gdLst>
                <a:gd name="connsiteX0" fmla="*/ 0 w 57224"/>
                <a:gd name="connsiteY0" fmla="*/ 28042 h 42125"/>
                <a:gd name="connsiteX1" fmla="*/ 0 w 57224"/>
                <a:gd name="connsiteY1" fmla="*/ 14084 h 42125"/>
                <a:gd name="connsiteX2" fmla="*/ 19033 w 57224"/>
                <a:gd name="connsiteY2" fmla="*/ 14084 h 42125"/>
                <a:gd name="connsiteX3" fmla="*/ 19033 w 57224"/>
                <a:gd name="connsiteY3" fmla="*/ 0 h 42125"/>
                <a:gd name="connsiteX4" fmla="*/ 38192 w 57224"/>
                <a:gd name="connsiteY4" fmla="*/ 0 h 42125"/>
                <a:gd name="connsiteX5" fmla="*/ 38192 w 57224"/>
                <a:gd name="connsiteY5" fmla="*/ 14084 h 42125"/>
                <a:gd name="connsiteX6" fmla="*/ 57225 w 57224"/>
                <a:gd name="connsiteY6" fmla="*/ 14084 h 42125"/>
                <a:gd name="connsiteX7" fmla="*/ 57225 w 57224"/>
                <a:gd name="connsiteY7" fmla="*/ 28042 h 42125"/>
                <a:gd name="connsiteX8" fmla="*/ 38192 w 57224"/>
                <a:gd name="connsiteY8" fmla="*/ 28042 h 42125"/>
                <a:gd name="connsiteX9" fmla="*/ 38192 w 57224"/>
                <a:gd name="connsiteY9" fmla="*/ 42126 h 42125"/>
                <a:gd name="connsiteX10" fmla="*/ 19033 w 57224"/>
                <a:gd name="connsiteY10" fmla="*/ 42126 h 42125"/>
                <a:gd name="connsiteX11" fmla="*/ 19033 w 57224"/>
                <a:gd name="connsiteY11" fmla="*/ 28042 h 42125"/>
                <a:gd name="connsiteX12" fmla="*/ 0 w 57224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4" h="42125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2126"/>
                  </a:lnTo>
                  <a:lnTo>
                    <a:pt x="19033" y="42126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2" name="Freihandform: Form 141">
              <a:extLst>
                <a:ext uri="{FF2B5EF4-FFF2-40B4-BE49-F238E27FC236}">
                  <a16:creationId xmlns:a16="http://schemas.microsoft.com/office/drawing/2014/main" id="{1A1CC5F6-1727-2DC3-E8E3-8117B5FB1B2E}"/>
                </a:ext>
              </a:extLst>
            </p:cNvPr>
            <p:cNvSpPr/>
            <p:nvPr/>
          </p:nvSpPr>
          <p:spPr>
            <a:xfrm>
              <a:off x="5865671" y="4434228"/>
              <a:ext cx="57351" cy="42125"/>
            </a:xfrm>
            <a:custGeom>
              <a:avLst/>
              <a:gdLst>
                <a:gd name="connsiteX0" fmla="*/ 0 w 57351"/>
                <a:gd name="connsiteY0" fmla="*/ 28042 h 42125"/>
                <a:gd name="connsiteX1" fmla="*/ 0 w 57351"/>
                <a:gd name="connsiteY1" fmla="*/ 14084 h 42125"/>
                <a:gd name="connsiteX2" fmla="*/ 19160 w 57351"/>
                <a:gd name="connsiteY2" fmla="*/ 14084 h 42125"/>
                <a:gd name="connsiteX3" fmla="*/ 19160 w 57351"/>
                <a:gd name="connsiteY3" fmla="*/ 0 h 42125"/>
                <a:gd name="connsiteX4" fmla="*/ 38193 w 57351"/>
                <a:gd name="connsiteY4" fmla="*/ 0 h 42125"/>
                <a:gd name="connsiteX5" fmla="*/ 38193 w 57351"/>
                <a:gd name="connsiteY5" fmla="*/ 14084 h 42125"/>
                <a:gd name="connsiteX6" fmla="*/ 57352 w 57351"/>
                <a:gd name="connsiteY6" fmla="*/ 14084 h 42125"/>
                <a:gd name="connsiteX7" fmla="*/ 57352 w 57351"/>
                <a:gd name="connsiteY7" fmla="*/ 28042 h 42125"/>
                <a:gd name="connsiteX8" fmla="*/ 38193 w 57351"/>
                <a:gd name="connsiteY8" fmla="*/ 28042 h 42125"/>
                <a:gd name="connsiteX9" fmla="*/ 38193 w 57351"/>
                <a:gd name="connsiteY9" fmla="*/ 42126 h 42125"/>
                <a:gd name="connsiteX10" fmla="*/ 19160 w 57351"/>
                <a:gd name="connsiteY10" fmla="*/ 42126 h 42125"/>
                <a:gd name="connsiteX11" fmla="*/ 19160 w 57351"/>
                <a:gd name="connsiteY11" fmla="*/ 28042 h 42125"/>
                <a:gd name="connsiteX12" fmla="*/ 0 w 57351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1" h="42125">
                  <a:moveTo>
                    <a:pt x="0" y="28042"/>
                  </a:moveTo>
                  <a:lnTo>
                    <a:pt x="0" y="14084"/>
                  </a:lnTo>
                  <a:lnTo>
                    <a:pt x="19160" y="14084"/>
                  </a:lnTo>
                  <a:lnTo>
                    <a:pt x="19160" y="0"/>
                  </a:lnTo>
                  <a:lnTo>
                    <a:pt x="38193" y="0"/>
                  </a:lnTo>
                  <a:lnTo>
                    <a:pt x="38193" y="14084"/>
                  </a:lnTo>
                  <a:lnTo>
                    <a:pt x="57352" y="14084"/>
                  </a:lnTo>
                  <a:lnTo>
                    <a:pt x="57352" y="28042"/>
                  </a:lnTo>
                  <a:lnTo>
                    <a:pt x="38193" y="28042"/>
                  </a:lnTo>
                  <a:lnTo>
                    <a:pt x="38193" y="42126"/>
                  </a:lnTo>
                  <a:lnTo>
                    <a:pt x="19160" y="42126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3" name="Freihandform: Form 142">
              <a:extLst>
                <a:ext uri="{FF2B5EF4-FFF2-40B4-BE49-F238E27FC236}">
                  <a16:creationId xmlns:a16="http://schemas.microsoft.com/office/drawing/2014/main" id="{F071D353-A6F5-756C-ACFB-DCB5954A11FD}"/>
                </a:ext>
              </a:extLst>
            </p:cNvPr>
            <p:cNvSpPr/>
            <p:nvPr/>
          </p:nvSpPr>
          <p:spPr>
            <a:xfrm>
              <a:off x="5902468" y="4434228"/>
              <a:ext cx="57225" cy="42125"/>
            </a:xfrm>
            <a:custGeom>
              <a:avLst/>
              <a:gdLst>
                <a:gd name="connsiteX0" fmla="*/ 0 w 57225"/>
                <a:gd name="connsiteY0" fmla="*/ 28042 h 42125"/>
                <a:gd name="connsiteX1" fmla="*/ 0 w 57225"/>
                <a:gd name="connsiteY1" fmla="*/ 14084 h 42125"/>
                <a:gd name="connsiteX2" fmla="*/ 19160 w 57225"/>
                <a:gd name="connsiteY2" fmla="*/ 14084 h 42125"/>
                <a:gd name="connsiteX3" fmla="*/ 19160 w 57225"/>
                <a:gd name="connsiteY3" fmla="*/ 0 h 42125"/>
                <a:gd name="connsiteX4" fmla="*/ 38193 w 57225"/>
                <a:gd name="connsiteY4" fmla="*/ 0 h 42125"/>
                <a:gd name="connsiteX5" fmla="*/ 38193 w 57225"/>
                <a:gd name="connsiteY5" fmla="*/ 14084 h 42125"/>
                <a:gd name="connsiteX6" fmla="*/ 57225 w 57225"/>
                <a:gd name="connsiteY6" fmla="*/ 14084 h 42125"/>
                <a:gd name="connsiteX7" fmla="*/ 57225 w 57225"/>
                <a:gd name="connsiteY7" fmla="*/ 28042 h 42125"/>
                <a:gd name="connsiteX8" fmla="*/ 38193 w 57225"/>
                <a:gd name="connsiteY8" fmla="*/ 28042 h 42125"/>
                <a:gd name="connsiteX9" fmla="*/ 38193 w 57225"/>
                <a:gd name="connsiteY9" fmla="*/ 42126 h 42125"/>
                <a:gd name="connsiteX10" fmla="*/ 19160 w 57225"/>
                <a:gd name="connsiteY10" fmla="*/ 42126 h 42125"/>
                <a:gd name="connsiteX11" fmla="*/ 19160 w 57225"/>
                <a:gd name="connsiteY11" fmla="*/ 28042 h 42125"/>
                <a:gd name="connsiteX12" fmla="*/ 0 w 57225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2125">
                  <a:moveTo>
                    <a:pt x="0" y="28042"/>
                  </a:moveTo>
                  <a:lnTo>
                    <a:pt x="0" y="14084"/>
                  </a:lnTo>
                  <a:lnTo>
                    <a:pt x="19160" y="14084"/>
                  </a:lnTo>
                  <a:lnTo>
                    <a:pt x="19160" y="0"/>
                  </a:lnTo>
                  <a:lnTo>
                    <a:pt x="38193" y="0"/>
                  </a:lnTo>
                  <a:lnTo>
                    <a:pt x="38193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3" y="28042"/>
                  </a:lnTo>
                  <a:lnTo>
                    <a:pt x="38193" y="42126"/>
                  </a:lnTo>
                  <a:lnTo>
                    <a:pt x="19160" y="42126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4" name="Freihandform: Form 143">
              <a:extLst>
                <a:ext uri="{FF2B5EF4-FFF2-40B4-BE49-F238E27FC236}">
                  <a16:creationId xmlns:a16="http://schemas.microsoft.com/office/drawing/2014/main" id="{D52862B3-5D0E-CDA4-5BD5-93F702F7C4AC}"/>
                </a:ext>
              </a:extLst>
            </p:cNvPr>
            <p:cNvSpPr/>
            <p:nvPr/>
          </p:nvSpPr>
          <p:spPr>
            <a:xfrm>
              <a:off x="5962485" y="4434228"/>
              <a:ext cx="57225" cy="42125"/>
            </a:xfrm>
            <a:custGeom>
              <a:avLst/>
              <a:gdLst>
                <a:gd name="connsiteX0" fmla="*/ 0 w 57225"/>
                <a:gd name="connsiteY0" fmla="*/ 28042 h 42125"/>
                <a:gd name="connsiteX1" fmla="*/ 0 w 57225"/>
                <a:gd name="connsiteY1" fmla="*/ 14084 h 42125"/>
                <a:gd name="connsiteX2" fmla="*/ 19033 w 57225"/>
                <a:gd name="connsiteY2" fmla="*/ 14084 h 42125"/>
                <a:gd name="connsiteX3" fmla="*/ 19033 w 57225"/>
                <a:gd name="connsiteY3" fmla="*/ 0 h 42125"/>
                <a:gd name="connsiteX4" fmla="*/ 38066 w 57225"/>
                <a:gd name="connsiteY4" fmla="*/ 0 h 42125"/>
                <a:gd name="connsiteX5" fmla="*/ 38066 w 57225"/>
                <a:gd name="connsiteY5" fmla="*/ 14084 h 42125"/>
                <a:gd name="connsiteX6" fmla="*/ 57225 w 57225"/>
                <a:gd name="connsiteY6" fmla="*/ 14084 h 42125"/>
                <a:gd name="connsiteX7" fmla="*/ 57225 w 57225"/>
                <a:gd name="connsiteY7" fmla="*/ 28042 h 42125"/>
                <a:gd name="connsiteX8" fmla="*/ 38066 w 57225"/>
                <a:gd name="connsiteY8" fmla="*/ 28042 h 42125"/>
                <a:gd name="connsiteX9" fmla="*/ 38066 w 57225"/>
                <a:gd name="connsiteY9" fmla="*/ 42126 h 42125"/>
                <a:gd name="connsiteX10" fmla="*/ 19033 w 57225"/>
                <a:gd name="connsiteY10" fmla="*/ 42126 h 42125"/>
                <a:gd name="connsiteX11" fmla="*/ 19033 w 57225"/>
                <a:gd name="connsiteY11" fmla="*/ 28042 h 42125"/>
                <a:gd name="connsiteX12" fmla="*/ 0 w 57225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2125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066" y="28042"/>
                  </a:lnTo>
                  <a:lnTo>
                    <a:pt x="38066" y="42126"/>
                  </a:lnTo>
                  <a:lnTo>
                    <a:pt x="19033" y="42126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5" name="Freihandform: Form 144">
              <a:extLst>
                <a:ext uri="{FF2B5EF4-FFF2-40B4-BE49-F238E27FC236}">
                  <a16:creationId xmlns:a16="http://schemas.microsoft.com/office/drawing/2014/main" id="{B2028FC5-BAC9-7E22-7122-93DA5A3FB5B2}"/>
                </a:ext>
              </a:extLst>
            </p:cNvPr>
            <p:cNvSpPr/>
            <p:nvPr/>
          </p:nvSpPr>
          <p:spPr>
            <a:xfrm>
              <a:off x="6032145" y="4434228"/>
              <a:ext cx="57225" cy="42125"/>
            </a:xfrm>
            <a:custGeom>
              <a:avLst/>
              <a:gdLst>
                <a:gd name="connsiteX0" fmla="*/ 0 w 57225"/>
                <a:gd name="connsiteY0" fmla="*/ 28042 h 42125"/>
                <a:gd name="connsiteX1" fmla="*/ 0 w 57225"/>
                <a:gd name="connsiteY1" fmla="*/ 14084 h 42125"/>
                <a:gd name="connsiteX2" fmla="*/ 19033 w 57225"/>
                <a:gd name="connsiteY2" fmla="*/ 14084 h 42125"/>
                <a:gd name="connsiteX3" fmla="*/ 19033 w 57225"/>
                <a:gd name="connsiteY3" fmla="*/ 0 h 42125"/>
                <a:gd name="connsiteX4" fmla="*/ 38193 w 57225"/>
                <a:gd name="connsiteY4" fmla="*/ 0 h 42125"/>
                <a:gd name="connsiteX5" fmla="*/ 38193 w 57225"/>
                <a:gd name="connsiteY5" fmla="*/ 14084 h 42125"/>
                <a:gd name="connsiteX6" fmla="*/ 57225 w 57225"/>
                <a:gd name="connsiteY6" fmla="*/ 14084 h 42125"/>
                <a:gd name="connsiteX7" fmla="*/ 57225 w 57225"/>
                <a:gd name="connsiteY7" fmla="*/ 28042 h 42125"/>
                <a:gd name="connsiteX8" fmla="*/ 38193 w 57225"/>
                <a:gd name="connsiteY8" fmla="*/ 28042 h 42125"/>
                <a:gd name="connsiteX9" fmla="*/ 38193 w 57225"/>
                <a:gd name="connsiteY9" fmla="*/ 42126 h 42125"/>
                <a:gd name="connsiteX10" fmla="*/ 19033 w 57225"/>
                <a:gd name="connsiteY10" fmla="*/ 42126 h 42125"/>
                <a:gd name="connsiteX11" fmla="*/ 19033 w 57225"/>
                <a:gd name="connsiteY11" fmla="*/ 28042 h 42125"/>
                <a:gd name="connsiteX12" fmla="*/ 0 w 57225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2125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193" y="0"/>
                  </a:lnTo>
                  <a:lnTo>
                    <a:pt x="38193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3" y="28042"/>
                  </a:lnTo>
                  <a:lnTo>
                    <a:pt x="38193" y="42126"/>
                  </a:lnTo>
                  <a:lnTo>
                    <a:pt x="19033" y="42126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6" name="Freihandform: Form 145">
              <a:extLst>
                <a:ext uri="{FF2B5EF4-FFF2-40B4-BE49-F238E27FC236}">
                  <a16:creationId xmlns:a16="http://schemas.microsoft.com/office/drawing/2014/main" id="{16B3572A-99C0-41AE-4B26-05AE8CC9834E}"/>
                </a:ext>
              </a:extLst>
            </p:cNvPr>
            <p:cNvSpPr/>
            <p:nvPr/>
          </p:nvSpPr>
          <p:spPr>
            <a:xfrm>
              <a:off x="6262315" y="4434228"/>
              <a:ext cx="57224" cy="42125"/>
            </a:xfrm>
            <a:custGeom>
              <a:avLst/>
              <a:gdLst>
                <a:gd name="connsiteX0" fmla="*/ 0 w 57224"/>
                <a:gd name="connsiteY0" fmla="*/ 28042 h 42125"/>
                <a:gd name="connsiteX1" fmla="*/ 0 w 57224"/>
                <a:gd name="connsiteY1" fmla="*/ 14084 h 42125"/>
                <a:gd name="connsiteX2" fmla="*/ 19033 w 57224"/>
                <a:gd name="connsiteY2" fmla="*/ 14084 h 42125"/>
                <a:gd name="connsiteX3" fmla="*/ 19033 w 57224"/>
                <a:gd name="connsiteY3" fmla="*/ 0 h 42125"/>
                <a:gd name="connsiteX4" fmla="*/ 38192 w 57224"/>
                <a:gd name="connsiteY4" fmla="*/ 0 h 42125"/>
                <a:gd name="connsiteX5" fmla="*/ 38192 w 57224"/>
                <a:gd name="connsiteY5" fmla="*/ 14084 h 42125"/>
                <a:gd name="connsiteX6" fmla="*/ 57225 w 57224"/>
                <a:gd name="connsiteY6" fmla="*/ 14084 h 42125"/>
                <a:gd name="connsiteX7" fmla="*/ 57225 w 57224"/>
                <a:gd name="connsiteY7" fmla="*/ 28042 h 42125"/>
                <a:gd name="connsiteX8" fmla="*/ 38192 w 57224"/>
                <a:gd name="connsiteY8" fmla="*/ 28042 h 42125"/>
                <a:gd name="connsiteX9" fmla="*/ 38192 w 57224"/>
                <a:gd name="connsiteY9" fmla="*/ 42126 h 42125"/>
                <a:gd name="connsiteX10" fmla="*/ 19033 w 57224"/>
                <a:gd name="connsiteY10" fmla="*/ 42126 h 42125"/>
                <a:gd name="connsiteX11" fmla="*/ 19033 w 57224"/>
                <a:gd name="connsiteY11" fmla="*/ 28042 h 42125"/>
                <a:gd name="connsiteX12" fmla="*/ 0 w 57224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4" h="42125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2126"/>
                  </a:lnTo>
                  <a:lnTo>
                    <a:pt x="19033" y="42126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7" name="Freihandform: Form 146">
              <a:extLst>
                <a:ext uri="{FF2B5EF4-FFF2-40B4-BE49-F238E27FC236}">
                  <a16:creationId xmlns:a16="http://schemas.microsoft.com/office/drawing/2014/main" id="{DE240780-16A6-768A-7DA6-4D1D6E1ECCD3}"/>
                </a:ext>
              </a:extLst>
            </p:cNvPr>
            <p:cNvSpPr/>
            <p:nvPr/>
          </p:nvSpPr>
          <p:spPr>
            <a:xfrm>
              <a:off x="6581431" y="4434228"/>
              <a:ext cx="57351" cy="42125"/>
            </a:xfrm>
            <a:custGeom>
              <a:avLst/>
              <a:gdLst>
                <a:gd name="connsiteX0" fmla="*/ 0 w 57351"/>
                <a:gd name="connsiteY0" fmla="*/ 28042 h 42125"/>
                <a:gd name="connsiteX1" fmla="*/ 0 w 57351"/>
                <a:gd name="connsiteY1" fmla="*/ 14084 h 42125"/>
                <a:gd name="connsiteX2" fmla="*/ 19160 w 57351"/>
                <a:gd name="connsiteY2" fmla="*/ 14084 h 42125"/>
                <a:gd name="connsiteX3" fmla="*/ 19160 w 57351"/>
                <a:gd name="connsiteY3" fmla="*/ 0 h 42125"/>
                <a:gd name="connsiteX4" fmla="*/ 38193 w 57351"/>
                <a:gd name="connsiteY4" fmla="*/ 0 h 42125"/>
                <a:gd name="connsiteX5" fmla="*/ 38193 w 57351"/>
                <a:gd name="connsiteY5" fmla="*/ 14084 h 42125"/>
                <a:gd name="connsiteX6" fmla="*/ 57352 w 57351"/>
                <a:gd name="connsiteY6" fmla="*/ 14084 h 42125"/>
                <a:gd name="connsiteX7" fmla="*/ 57352 w 57351"/>
                <a:gd name="connsiteY7" fmla="*/ 28042 h 42125"/>
                <a:gd name="connsiteX8" fmla="*/ 38193 w 57351"/>
                <a:gd name="connsiteY8" fmla="*/ 28042 h 42125"/>
                <a:gd name="connsiteX9" fmla="*/ 38193 w 57351"/>
                <a:gd name="connsiteY9" fmla="*/ 42126 h 42125"/>
                <a:gd name="connsiteX10" fmla="*/ 19160 w 57351"/>
                <a:gd name="connsiteY10" fmla="*/ 42126 h 42125"/>
                <a:gd name="connsiteX11" fmla="*/ 19160 w 57351"/>
                <a:gd name="connsiteY11" fmla="*/ 28042 h 42125"/>
                <a:gd name="connsiteX12" fmla="*/ 0 w 57351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1" h="42125">
                  <a:moveTo>
                    <a:pt x="0" y="28042"/>
                  </a:moveTo>
                  <a:lnTo>
                    <a:pt x="0" y="14084"/>
                  </a:lnTo>
                  <a:lnTo>
                    <a:pt x="19160" y="14084"/>
                  </a:lnTo>
                  <a:lnTo>
                    <a:pt x="19160" y="0"/>
                  </a:lnTo>
                  <a:lnTo>
                    <a:pt x="38193" y="0"/>
                  </a:lnTo>
                  <a:lnTo>
                    <a:pt x="38193" y="14084"/>
                  </a:lnTo>
                  <a:lnTo>
                    <a:pt x="57352" y="14084"/>
                  </a:lnTo>
                  <a:lnTo>
                    <a:pt x="57352" y="28042"/>
                  </a:lnTo>
                  <a:lnTo>
                    <a:pt x="38193" y="28042"/>
                  </a:lnTo>
                  <a:lnTo>
                    <a:pt x="38193" y="42126"/>
                  </a:lnTo>
                  <a:lnTo>
                    <a:pt x="19160" y="42126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8" name="Freihandform: Form 147">
              <a:extLst>
                <a:ext uri="{FF2B5EF4-FFF2-40B4-BE49-F238E27FC236}">
                  <a16:creationId xmlns:a16="http://schemas.microsoft.com/office/drawing/2014/main" id="{24228CFF-15DD-15AB-9391-E5834FA8158F}"/>
                </a:ext>
              </a:extLst>
            </p:cNvPr>
            <p:cNvSpPr/>
            <p:nvPr/>
          </p:nvSpPr>
          <p:spPr>
            <a:xfrm>
              <a:off x="6653121" y="4434228"/>
              <a:ext cx="57225" cy="42125"/>
            </a:xfrm>
            <a:custGeom>
              <a:avLst/>
              <a:gdLst>
                <a:gd name="connsiteX0" fmla="*/ 0 w 57225"/>
                <a:gd name="connsiteY0" fmla="*/ 28042 h 42125"/>
                <a:gd name="connsiteX1" fmla="*/ 0 w 57225"/>
                <a:gd name="connsiteY1" fmla="*/ 14084 h 42125"/>
                <a:gd name="connsiteX2" fmla="*/ 19033 w 57225"/>
                <a:gd name="connsiteY2" fmla="*/ 14084 h 42125"/>
                <a:gd name="connsiteX3" fmla="*/ 19033 w 57225"/>
                <a:gd name="connsiteY3" fmla="*/ 0 h 42125"/>
                <a:gd name="connsiteX4" fmla="*/ 38193 w 57225"/>
                <a:gd name="connsiteY4" fmla="*/ 0 h 42125"/>
                <a:gd name="connsiteX5" fmla="*/ 38193 w 57225"/>
                <a:gd name="connsiteY5" fmla="*/ 14084 h 42125"/>
                <a:gd name="connsiteX6" fmla="*/ 57225 w 57225"/>
                <a:gd name="connsiteY6" fmla="*/ 14084 h 42125"/>
                <a:gd name="connsiteX7" fmla="*/ 57225 w 57225"/>
                <a:gd name="connsiteY7" fmla="*/ 28042 h 42125"/>
                <a:gd name="connsiteX8" fmla="*/ 38193 w 57225"/>
                <a:gd name="connsiteY8" fmla="*/ 28042 h 42125"/>
                <a:gd name="connsiteX9" fmla="*/ 38193 w 57225"/>
                <a:gd name="connsiteY9" fmla="*/ 42126 h 42125"/>
                <a:gd name="connsiteX10" fmla="*/ 19033 w 57225"/>
                <a:gd name="connsiteY10" fmla="*/ 42126 h 42125"/>
                <a:gd name="connsiteX11" fmla="*/ 19033 w 57225"/>
                <a:gd name="connsiteY11" fmla="*/ 28042 h 42125"/>
                <a:gd name="connsiteX12" fmla="*/ 0 w 57225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2125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193" y="0"/>
                  </a:lnTo>
                  <a:lnTo>
                    <a:pt x="38193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3" y="28042"/>
                  </a:lnTo>
                  <a:lnTo>
                    <a:pt x="38193" y="42126"/>
                  </a:lnTo>
                  <a:lnTo>
                    <a:pt x="19033" y="42126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9" name="Freihandform: Form 148">
              <a:extLst>
                <a:ext uri="{FF2B5EF4-FFF2-40B4-BE49-F238E27FC236}">
                  <a16:creationId xmlns:a16="http://schemas.microsoft.com/office/drawing/2014/main" id="{0963A669-BD1A-2129-7F38-FB7790557613}"/>
                </a:ext>
              </a:extLst>
            </p:cNvPr>
            <p:cNvSpPr/>
            <p:nvPr/>
          </p:nvSpPr>
          <p:spPr>
            <a:xfrm>
              <a:off x="6724557" y="4434228"/>
              <a:ext cx="57351" cy="42125"/>
            </a:xfrm>
            <a:custGeom>
              <a:avLst/>
              <a:gdLst>
                <a:gd name="connsiteX0" fmla="*/ 0 w 57351"/>
                <a:gd name="connsiteY0" fmla="*/ 28042 h 42125"/>
                <a:gd name="connsiteX1" fmla="*/ 0 w 57351"/>
                <a:gd name="connsiteY1" fmla="*/ 14084 h 42125"/>
                <a:gd name="connsiteX2" fmla="*/ 19160 w 57351"/>
                <a:gd name="connsiteY2" fmla="*/ 14084 h 42125"/>
                <a:gd name="connsiteX3" fmla="*/ 19160 w 57351"/>
                <a:gd name="connsiteY3" fmla="*/ 0 h 42125"/>
                <a:gd name="connsiteX4" fmla="*/ 38193 w 57351"/>
                <a:gd name="connsiteY4" fmla="*/ 0 h 42125"/>
                <a:gd name="connsiteX5" fmla="*/ 38193 w 57351"/>
                <a:gd name="connsiteY5" fmla="*/ 14084 h 42125"/>
                <a:gd name="connsiteX6" fmla="*/ 57352 w 57351"/>
                <a:gd name="connsiteY6" fmla="*/ 14084 h 42125"/>
                <a:gd name="connsiteX7" fmla="*/ 57352 w 57351"/>
                <a:gd name="connsiteY7" fmla="*/ 28042 h 42125"/>
                <a:gd name="connsiteX8" fmla="*/ 38193 w 57351"/>
                <a:gd name="connsiteY8" fmla="*/ 28042 h 42125"/>
                <a:gd name="connsiteX9" fmla="*/ 38193 w 57351"/>
                <a:gd name="connsiteY9" fmla="*/ 42126 h 42125"/>
                <a:gd name="connsiteX10" fmla="*/ 19160 w 57351"/>
                <a:gd name="connsiteY10" fmla="*/ 42126 h 42125"/>
                <a:gd name="connsiteX11" fmla="*/ 19160 w 57351"/>
                <a:gd name="connsiteY11" fmla="*/ 28042 h 42125"/>
                <a:gd name="connsiteX12" fmla="*/ 0 w 57351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1" h="42125">
                  <a:moveTo>
                    <a:pt x="0" y="28042"/>
                  </a:moveTo>
                  <a:lnTo>
                    <a:pt x="0" y="14084"/>
                  </a:lnTo>
                  <a:lnTo>
                    <a:pt x="19160" y="14084"/>
                  </a:lnTo>
                  <a:lnTo>
                    <a:pt x="19160" y="0"/>
                  </a:lnTo>
                  <a:lnTo>
                    <a:pt x="38193" y="0"/>
                  </a:lnTo>
                  <a:lnTo>
                    <a:pt x="38193" y="14084"/>
                  </a:lnTo>
                  <a:lnTo>
                    <a:pt x="57352" y="14084"/>
                  </a:lnTo>
                  <a:lnTo>
                    <a:pt x="57352" y="28042"/>
                  </a:lnTo>
                  <a:lnTo>
                    <a:pt x="38193" y="28042"/>
                  </a:lnTo>
                  <a:lnTo>
                    <a:pt x="38193" y="42126"/>
                  </a:lnTo>
                  <a:lnTo>
                    <a:pt x="19160" y="42126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50" name="Freihandform: Form 149">
              <a:extLst>
                <a:ext uri="{FF2B5EF4-FFF2-40B4-BE49-F238E27FC236}">
                  <a16:creationId xmlns:a16="http://schemas.microsoft.com/office/drawing/2014/main" id="{726C8F30-A90C-F890-3068-CADED75C96CD}"/>
                </a:ext>
              </a:extLst>
            </p:cNvPr>
            <p:cNvSpPr/>
            <p:nvPr/>
          </p:nvSpPr>
          <p:spPr>
            <a:xfrm>
              <a:off x="6794344" y="4434228"/>
              <a:ext cx="57225" cy="42125"/>
            </a:xfrm>
            <a:custGeom>
              <a:avLst/>
              <a:gdLst>
                <a:gd name="connsiteX0" fmla="*/ 0 w 57225"/>
                <a:gd name="connsiteY0" fmla="*/ 28042 h 42125"/>
                <a:gd name="connsiteX1" fmla="*/ 0 w 57225"/>
                <a:gd name="connsiteY1" fmla="*/ 14084 h 42125"/>
                <a:gd name="connsiteX2" fmla="*/ 19033 w 57225"/>
                <a:gd name="connsiteY2" fmla="*/ 14084 h 42125"/>
                <a:gd name="connsiteX3" fmla="*/ 19033 w 57225"/>
                <a:gd name="connsiteY3" fmla="*/ 0 h 42125"/>
                <a:gd name="connsiteX4" fmla="*/ 38193 w 57225"/>
                <a:gd name="connsiteY4" fmla="*/ 0 h 42125"/>
                <a:gd name="connsiteX5" fmla="*/ 38193 w 57225"/>
                <a:gd name="connsiteY5" fmla="*/ 14084 h 42125"/>
                <a:gd name="connsiteX6" fmla="*/ 57225 w 57225"/>
                <a:gd name="connsiteY6" fmla="*/ 14084 h 42125"/>
                <a:gd name="connsiteX7" fmla="*/ 57225 w 57225"/>
                <a:gd name="connsiteY7" fmla="*/ 28042 h 42125"/>
                <a:gd name="connsiteX8" fmla="*/ 38193 w 57225"/>
                <a:gd name="connsiteY8" fmla="*/ 28042 h 42125"/>
                <a:gd name="connsiteX9" fmla="*/ 38193 w 57225"/>
                <a:gd name="connsiteY9" fmla="*/ 42126 h 42125"/>
                <a:gd name="connsiteX10" fmla="*/ 19033 w 57225"/>
                <a:gd name="connsiteY10" fmla="*/ 42126 h 42125"/>
                <a:gd name="connsiteX11" fmla="*/ 19033 w 57225"/>
                <a:gd name="connsiteY11" fmla="*/ 28042 h 42125"/>
                <a:gd name="connsiteX12" fmla="*/ 0 w 57225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2125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193" y="0"/>
                  </a:lnTo>
                  <a:lnTo>
                    <a:pt x="38193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3" y="28042"/>
                  </a:lnTo>
                  <a:lnTo>
                    <a:pt x="38193" y="42126"/>
                  </a:lnTo>
                  <a:lnTo>
                    <a:pt x="19033" y="42126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51" name="Freihandform: Form 150">
              <a:extLst>
                <a:ext uri="{FF2B5EF4-FFF2-40B4-BE49-F238E27FC236}">
                  <a16:creationId xmlns:a16="http://schemas.microsoft.com/office/drawing/2014/main" id="{B93E548B-A53F-59D1-C994-061BE28FDB87}"/>
                </a:ext>
              </a:extLst>
            </p:cNvPr>
            <p:cNvSpPr/>
            <p:nvPr/>
          </p:nvSpPr>
          <p:spPr>
            <a:xfrm>
              <a:off x="6867811" y="4434228"/>
              <a:ext cx="57224" cy="42125"/>
            </a:xfrm>
            <a:custGeom>
              <a:avLst/>
              <a:gdLst>
                <a:gd name="connsiteX0" fmla="*/ 0 w 57224"/>
                <a:gd name="connsiteY0" fmla="*/ 28042 h 42125"/>
                <a:gd name="connsiteX1" fmla="*/ 0 w 57224"/>
                <a:gd name="connsiteY1" fmla="*/ 14084 h 42125"/>
                <a:gd name="connsiteX2" fmla="*/ 19159 w 57224"/>
                <a:gd name="connsiteY2" fmla="*/ 14084 h 42125"/>
                <a:gd name="connsiteX3" fmla="*/ 19159 w 57224"/>
                <a:gd name="connsiteY3" fmla="*/ 0 h 42125"/>
                <a:gd name="connsiteX4" fmla="*/ 38192 w 57224"/>
                <a:gd name="connsiteY4" fmla="*/ 0 h 42125"/>
                <a:gd name="connsiteX5" fmla="*/ 38192 w 57224"/>
                <a:gd name="connsiteY5" fmla="*/ 14084 h 42125"/>
                <a:gd name="connsiteX6" fmla="*/ 57225 w 57224"/>
                <a:gd name="connsiteY6" fmla="*/ 14084 h 42125"/>
                <a:gd name="connsiteX7" fmla="*/ 57225 w 57224"/>
                <a:gd name="connsiteY7" fmla="*/ 28042 h 42125"/>
                <a:gd name="connsiteX8" fmla="*/ 38192 w 57224"/>
                <a:gd name="connsiteY8" fmla="*/ 28042 h 42125"/>
                <a:gd name="connsiteX9" fmla="*/ 38192 w 57224"/>
                <a:gd name="connsiteY9" fmla="*/ 42126 h 42125"/>
                <a:gd name="connsiteX10" fmla="*/ 19159 w 57224"/>
                <a:gd name="connsiteY10" fmla="*/ 42126 h 42125"/>
                <a:gd name="connsiteX11" fmla="*/ 19159 w 57224"/>
                <a:gd name="connsiteY11" fmla="*/ 28042 h 42125"/>
                <a:gd name="connsiteX12" fmla="*/ 0 w 57224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4" h="42125">
                  <a:moveTo>
                    <a:pt x="0" y="28042"/>
                  </a:moveTo>
                  <a:lnTo>
                    <a:pt x="0" y="14084"/>
                  </a:lnTo>
                  <a:lnTo>
                    <a:pt x="19159" y="14084"/>
                  </a:lnTo>
                  <a:lnTo>
                    <a:pt x="19159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2126"/>
                  </a:lnTo>
                  <a:lnTo>
                    <a:pt x="19159" y="42126"/>
                  </a:lnTo>
                  <a:lnTo>
                    <a:pt x="19159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52" name="Freihandform: Form 151">
              <a:extLst>
                <a:ext uri="{FF2B5EF4-FFF2-40B4-BE49-F238E27FC236}">
                  <a16:creationId xmlns:a16="http://schemas.microsoft.com/office/drawing/2014/main" id="{950CEE90-8F10-B2D5-94A6-059A683E1595}"/>
                </a:ext>
              </a:extLst>
            </p:cNvPr>
            <p:cNvSpPr/>
            <p:nvPr/>
          </p:nvSpPr>
          <p:spPr>
            <a:xfrm>
              <a:off x="6947114" y="4434228"/>
              <a:ext cx="57224" cy="42125"/>
            </a:xfrm>
            <a:custGeom>
              <a:avLst/>
              <a:gdLst>
                <a:gd name="connsiteX0" fmla="*/ 0 w 57224"/>
                <a:gd name="connsiteY0" fmla="*/ 28042 h 42125"/>
                <a:gd name="connsiteX1" fmla="*/ 0 w 57224"/>
                <a:gd name="connsiteY1" fmla="*/ 14084 h 42125"/>
                <a:gd name="connsiteX2" fmla="*/ 19033 w 57224"/>
                <a:gd name="connsiteY2" fmla="*/ 14084 h 42125"/>
                <a:gd name="connsiteX3" fmla="*/ 19033 w 57224"/>
                <a:gd name="connsiteY3" fmla="*/ 0 h 42125"/>
                <a:gd name="connsiteX4" fmla="*/ 38192 w 57224"/>
                <a:gd name="connsiteY4" fmla="*/ 0 h 42125"/>
                <a:gd name="connsiteX5" fmla="*/ 38192 w 57224"/>
                <a:gd name="connsiteY5" fmla="*/ 14084 h 42125"/>
                <a:gd name="connsiteX6" fmla="*/ 57225 w 57224"/>
                <a:gd name="connsiteY6" fmla="*/ 14084 h 42125"/>
                <a:gd name="connsiteX7" fmla="*/ 57225 w 57224"/>
                <a:gd name="connsiteY7" fmla="*/ 28042 h 42125"/>
                <a:gd name="connsiteX8" fmla="*/ 38192 w 57224"/>
                <a:gd name="connsiteY8" fmla="*/ 28042 h 42125"/>
                <a:gd name="connsiteX9" fmla="*/ 38192 w 57224"/>
                <a:gd name="connsiteY9" fmla="*/ 42126 h 42125"/>
                <a:gd name="connsiteX10" fmla="*/ 19033 w 57224"/>
                <a:gd name="connsiteY10" fmla="*/ 42126 h 42125"/>
                <a:gd name="connsiteX11" fmla="*/ 19033 w 57224"/>
                <a:gd name="connsiteY11" fmla="*/ 28042 h 42125"/>
                <a:gd name="connsiteX12" fmla="*/ 0 w 57224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4" h="42125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2126"/>
                  </a:lnTo>
                  <a:lnTo>
                    <a:pt x="19033" y="42126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FF585D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153" name="Grafik 14">
            <a:extLst>
              <a:ext uri="{FF2B5EF4-FFF2-40B4-BE49-F238E27FC236}">
                <a16:creationId xmlns:a16="http://schemas.microsoft.com/office/drawing/2014/main" id="{927E20F1-6904-C06C-D154-C41498D8F66B}"/>
              </a:ext>
            </a:extLst>
          </p:cNvPr>
          <p:cNvGrpSpPr/>
          <p:nvPr/>
        </p:nvGrpSpPr>
        <p:grpSpPr>
          <a:xfrm>
            <a:off x="1566994" y="1565286"/>
            <a:ext cx="3857350" cy="1924612"/>
            <a:chOff x="1319627" y="1720534"/>
            <a:chExt cx="5481569" cy="2735011"/>
          </a:xfrm>
          <a:solidFill>
            <a:srgbClr val="0460A9"/>
          </a:solidFill>
        </p:grpSpPr>
        <p:sp>
          <p:nvSpPr>
            <p:cNvPr id="154" name="Freihandform: Form 153">
              <a:extLst>
                <a:ext uri="{FF2B5EF4-FFF2-40B4-BE49-F238E27FC236}">
                  <a16:creationId xmlns:a16="http://schemas.microsoft.com/office/drawing/2014/main" id="{5038BFB9-B143-809E-D164-97858D5B9188}"/>
                </a:ext>
              </a:extLst>
            </p:cNvPr>
            <p:cNvSpPr/>
            <p:nvPr/>
          </p:nvSpPr>
          <p:spPr>
            <a:xfrm>
              <a:off x="1344496" y="1726878"/>
              <a:ext cx="5428023" cy="2708746"/>
            </a:xfrm>
            <a:custGeom>
              <a:avLst/>
              <a:gdLst>
                <a:gd name="connsiteX0" fmla="*/ 0 w 5428023"/>
                <a:gd name="connsiteY0" fmla="*/ 0 h 2708746"/>
                <a:gd name="connsiteX1" fmla="*/ 3426 w 5428023"/>
                <a:gd name="connsiteY1" fmla="*/ 0 h 2708746"/>
                <a:gd name="connsiteX2" fmla="*/ 3426 w 5428023"/>
                <a:gd name="connsiteY2" fmla="*/ 14719 h 2708746"/>
                <a:gd name="connsiteX3" fmla="*/ 1903 w 5428023"/>
                <a:gd name="connsiteY3" fmla="*/ 13577 h 2708746"/>
                <a:gd name="connsiteX4" fmla="*/ 3807 w 5428023"/>
                <a:gd name="connsiteY4" fmla="*/ 13577 h 2708746"/>
                <a:gd name="connsiteX5" fmla="*/ 13069 w 5428023"/>
                <a:gd name="connsiteY5" fmla="*/ 13577 h 2708746"/>
                <a:gd name="connsiteX6" fmla="*/ 13069 w 5428023"/>
                <a:gd name="connsiteY6" fmla="*/ 19160 h 2708746"/>
                <a:gd name="connsiteX7" fmla="*/ 11547 w 5428023"/>
                <a:gd name="connsiteY7" fmla="*/ 18018 h 2708746"/>
                <a:gd name="connsiteX8" fmla="*/ 14972 w 5428023"/>
                <a:gd name="connsiteY8" fmla="*/ 18018 h 2708746"/>
                <a:gd name="connsiteX9" fmla="*/ 14972 w 5428023"/>
                <a:gd name="connsiteY9" fmla="*/ 23728 h 2708746"/>
                <a:gd name="connsiteX10" fmla="*/ 13450 w 5428023"/>
                <a:gd name="connsiteY10" fmla="*/ 22586 h 2708746"/>
                <a:gd name="connsiteX11" fmla="*/ 16876 w 5428023"/>
                <a:gd name="connsiteY11" fmla="*/ 22586 h 2708746"/>
                <a:gd name="connsiteX12" fmla="*/ 16876 w 5428023"/>
                <a:gd name="connsiteY12" fmla="*/ 28169 h 2708746"/>
                <a:gd name="connsiteX13" fmla="*/ 15353 w 5428023"/>
                <a:gd name="connsiteY13" fmla="*/ 27027 h 2708746"/>
                <a:gd name="connsiteX14" fmla="*/ 18779 w 5428023"/>
                <a:gd name="connsiteY14" fmla="*/ 27027 h 2708746"/>
                <a:gd name="connsiteX15" fmla="*/ 18779 w 5428023"/>
                <a:gd name="connsiteY15" fmla="*/ 32736 h 2708746"/>
                <a:gd name="connsiteX16" fmla="*/ 17256 w 5428023"/>
                <a:gd name="connsiteY16" fmla="*/ 31594 h 2708746"/>
                <a:gd name="connsiteX17" fmla="*/ 22712 w 5428023"/>
                <a:gd name="connsiteY17" fmla="*/ 31594 h 2708746"/>
                <a:gd name="connsiteX18" fmla="*/ 22712 w 5428023"/>
                <a:gd name="connsiteY18" fmla="*/ 37304 h 2708746"/>
                <a:gd name="connsiteX19" fmla="*/ 21190 w 5428023"/>
                <a:gd name="connsiteY19" fmla="*/ 36162 h 2708746"/>
                <a:gd name="connsiteX20" fmla="*/ 26519 w 5428023"/>
                <a:gd name="connsiteY20" fmla="*/ 36162 h 2708746"/>
                <a:gd name="connsiteX21" fmla="*/ 26519 w 5428023"/>
                <a:gd name="connsiteY21" fmla="*/ 46313 h 2708746"/>
                <a:gd name="connsiteX22" fmla="*/ 24996 w 5428023"/>
                <a:gd name="connsiteY22" fmla="*/ 45171 h 2708746"/>
                <a:gd name="connsiteX23" fmla="*/ 30452 w 5428023"/>
                <a:gd name="connsiteY23" fmla="*/ 45171 h 2708746"/>
                <a:gd name="connsiteX24" fmla="*/ 30452 w 5428023"/>
                <a:gd name="connsiteY24" fmla="*/ 55322 h 2708746"/>
                <a:gd name="connsiteX25" fmla="*/ 28930 w 5428023"/>
                <a:gd name="connsiteY25" fmla="*/ 54307 h 2708746"/>
                <a:gd name="connsiteX26" fmla="*/ 32356 w 5428023"/>
                <a:gd name="connsiteY26" fmla="*/ 54307 h 2708746"/>
                <a:gd name="connsiteX27" fmla="*/ 32356 w 5428023"/>
                <a:gd name="connsiteY27" fmla="*/ 64458 h 2708746"/>
                <a:gd name="connsiteX28" fmla="*/ 30833 w 5428023"/>
                <a:gd name="connsiteY28" fmla="*/ 63316 h 2708746"/>
                <a:gd name="connsiteX29" fmla="*/ 34259 w 5428023"/>
                <a:gd name="connsiteY29" fmla="*/ 63316 h 2708746"/>
                <a:gd name="connsiteX30" fmla="*/ 34259 w 5428023"/>
                <a:gd name="connsiteY30" fmla="*/ 68899 h 2708746"/>
                <a:gd name="connsiteX31" fmla="*/ 32736 w 5428023"/>
                <a:gd name="connsiteY31" fmla="*/ 67757 h 2708746"/>
                <a:gd name="connsiteX32" fmla="*/ 36162 w 5428023"/>
                <a:gd name="connsiteY32" fmla="*/ 67757 h 2708746"/>
                <a:gd name="connsiteX33" fmla="*/ 36162 w 5428023"/>
                <a:gd name="connsiteY33" fmla="*/ 73467 h 2708746"/>
                <a:gd name="connsiteX34" fmla="*/ 34640 w 5428023"/>
                <a:gd name="connsiteY34" fmla="*/ 72325 h 2708746"/>
                <a:gd name="connsiteX35" fmla="*/ 38066 w 5428023"/>
                <a:gd name="connsiteY35" fmla="*/ 72325 h 2708746"/>
                <a:gd name="connsiteX36" fmla="*/ 38066 w 5428023"/>
                <a:gd name="connsiteY36" fmla="*/ 78034 h 2708746"/>
                <a:gd name="connsiteX37" fmla="*/ 36543 w 5428023"/>
                <a:gd name="connsiteY37" fmla="*/ 76892 h 2708746"/>
                <a:gd name="connsiteX38" fmla="*/ 40223 w 5428023"/>
                <a:gd name="connsiteY38" fmla="*/ 76892 h 2708746"/>
                <a:gd name="connsiteX39" fmla="*/ 40223 w 5428023"/>
                <a:gd name="connsiteY39" fmla="*/ 91484 h 2708746"/>
                <a:gd name="connsiteX40" fmla="*/ 38573 w 5428023"/>
                <a:gd name="connsiteY40" fmla="*/ 90342 h 2708746"/>
                <a:gd name="connsiteX41" fmla="*/ 42126 w 5428023"/>
                <a:gd name="connsiteY41" fmla="*/ 90342 h 2708746"/>
                <a:gd name="connsiteX42" fmla="*/ 42126 w 5428023"/>
                <a:gd name="connsiteY42" fmla="*/ 105188 h 2708746"/>
                <a:gd name="connsiteX43" fmla="*/ 40603 w 5428023"/>
                <a:gd name="connsiteY43" fmla="*/ 104046 h 2708746"/>
                <a:gd name="connsiteX44" fmla="*/ 44029 w 5428023"/>
                <a:gd name="connsiteY44" fmla="*/ 104046 h 2708746"/>
                <a:gd name="connsiteX45" fmla="*/ 44029 w 5428023"/>
                <a:gd name="connsiteY45" fmla="*/ 118638 h 2708746"/>
                <a:gd name="connsiteX46" fmla="*/ 42507 w 5428023"/>
                <a:gd name="connsiteY46" fmla="*/ 117623 h 2708746"/>
                <a:gd name="connsiteX47" fmla="*/ 45932 w 5428023"/>
                <a:gd name="connsiteY47" fmla="*/ 117623 h 2708746"/>
                <a:gd name="connsiteX48" fmla="*/ 45932 w 5428023"/>
                <a:gd name="connsiteY48" fmla="*/ 132341 h 2708746"/>
                <a:gd name="connsiteX49" fmla="*/ 44410 w 5428023"/>
                <a:gd name="connsiteY49" fmla="*/ 131199 h 2708746"/>
                <a:gd name="connsiteX50" fmla="*/ 51769 w 5428023"/>
                <a:gd name="connsiteY50" fmla="*/ 131199 h 2708746"/>
                <a:gd name="connsiteX51" fmla="*/ 51769 w 5428023"/>
                <a:gd name="connsiteY51" fmla="*/ 136782 h 2708746"/>
                <a:gd name="connsiteX52" fmla="*/ 50247 w 5428023"/>
                <a:gd name="connsiteY52" fmla="*/ 135640 h 2708746"/>
                <a:gd name="connsiteX53" fmla="*/ 53672 w 5428023"/>
                <a:gd name="connsiteY53" fmla="*/ 135640 h 2708746"/>
                <a:gd name="connsiteX54" fmla="*/ 53672 w 5428023"/>
                <a:gd name="connsiteY54" fmla="*/ 145918 h 2708746"/>
                <a:gd name="connsiteX55" fmla="*/ 52150 w 5428023"/>
                <a:gd name="connsiteY55" fmla="*/ 144776 h 2708746"/>
                <a:gd name="connsiteX56" fmla="*/ 55576 w 5428023"/>
                <a:gd name="connsiteY56" fmla="*/ 144776 h 2708746"/>
                <a:gd name="connsiteX57" fmla="*/ 55576 w 5428023"/>
                <a:gd name="connsiteY57" fmla="*/ 154927 h 2708746"/>
                <a:gd name="connsiteX58" fmla="*/ 54053 w 5428023"/>
                <a:gd name="connsiteY58" fmla="*/ 153785 h 2708746"/>
                <a:gd name="connsiteX59" fmla="*/ 57479 w 5428023"/>
                <a:gd name="connsiteY59" fmla="*/ 153785 h 2708746"/>
                <a:gd name="connsiteX60" fmla="*/ 57479 w 5428023"/>
                <a:gd name="connsiteY60" fmla="*/ 159368 h 2708746"/>
                <a:gd name="connsiteX61" fmla="*/ 55956 w 5428023"/>
                <a:gd name="connsiteY61" fmla="*/ 158226 h 2708746"/>
                <a:gd name="connsiteX62" fmla="*/ 59509 w 5428023"/>
                <a:gd name="connsiteY62" fmla="*/ 158226 h 2708746"/>
                <a:gd name="connsiteX63" fmla="*/ 59509 w 5428023"/>
                <a:gd name="connsiteY63" fmla="*/ 168504 h 2708746"/>
                <a:gd name="connsiteX64" fmla="*/ 57987 w 5428023"/>
                <a:gd name="connsiteY64" fmla="*/ 167362 h 2708746"/>
                <a:gd name="connsiteX65" fmla="*/ 65219 w 5428023"/>
                <a:gd name="connsiteY65" fmla="*/ 167362 h 2708746"/>
                <a:gd name="connsiteX66" fmla="*/ 65219 w 5428023"/>
                <a:gd name="connsiteY66" fmla="*/ 173071 h 2708746"/>
                <a:gd name="connsiteX67" fmla="*/ 63696 w 5428023"/>
                <a:gd name="connsiteY67" fmla="*/ 171930 h 2708746"/>
                <a:gd name="connsiteX68" fmla="*/ 69152 w 5428023"/>
                <a:gd name="connsiteY68" fmla="*/ 171930 h 2708746"/>
                <a:gd name="connsiteX69" fmla="*/ 69152 w 5428023"/>
                <a:gd name="connsiteY69" fmla="*/ 177512 h 2708746"/>
                <a:gd name="connsiteX70" fmla="*/ 67630 w 5428023"/>
                <a:gd name="connsiteY70" fmla="*/ 176370 h 2708746"/>
                <a:gd name="connsiteX71" fmla="*/ 71056 w 5428023"/>
                <a:gd name="connsiteY71" fmla="*/ 176370 h 2708746"/>
                <a:gd name="connsiteX72" fmla="*/ 71056 w 5428023"/>
                <a:gd name="connsiteY72" fmla="*/ 181953 h 2708746"/>
                <a:gd name="connsiteX73" fmla="*/ 69533 w 5428023"/>
                <a:gd name="connsiteY73" fmla="*/ 180938 h 2708746"/>
                <a:gd name="connsiteX74" fmla="*/ 84506 w 5428023"/>
                <a:gd name="connsiteY74" fmla="*/ 180938 h 2708746"/>
                <a:gd name="connsiteX75" fmla="*/ 84506 w 5428023"/>
                <a:gd name="connsiteY75" fmla="*/ 186521 h 2708746"/>
                <a:gd name="connsiteX76" fmla="*/ 82983 w 5428023"/>
                <a:gd name="connsiteY76" fmla="*/ 185506 h 2708746"/>
                <a:gd name="connsiteX77" fmla="*/ 94276 w 5428023"/>
                <a:gd name="connsiteY77" fmla="*/ 185506 h 2708746"/>
                <a:gd name="connsiteX78" fmla="*/ 94276 w 5428023"/>
                <a:gd name="connsiteY78" fmla="*/ 191089 h 2708746"/>
                <a:gd name="connsiteX79" fmla="*/ 92753 w 5428023"/>
                <a:gd name="connsiteY79" fmla="*/ 189947 h 2708746"/>
                <a:gd name="connsiteX80" fmla="*/ 96306 w 5428023"/>
                <a:gd name="connsiteY80" fmla="*/ 189947 h 2708746"/>
                <a:gd name="connsiteX81" fmla="*/ 96306 w 5428023"/>
                <a:gd name="connsiteY81" fmla="*/ 204666 h 2708746"/>
                <a:gd name="connsiteX82" fmla="*/ 94783 w 5428023"/>
                <a:gd name="connsiteY82" fmla="*/ 203524 h 2708746"/>
                <a:gd name="connsiteX83" fmla="*/ 98209 w 5428023"/>
                <a:gd name="connsiteY83" fmla="*/ 203524 h 2708746"/>
                <a:gd name="connsiteX84" fmla="*/ 98209 w 5428023"/>
                <a:gd name="connsiteY84" fmla="*/ 218243 h 2708746"/>
                <a:gd name="connsiteX85" fmla="*/ 96687 w 5428023"/>
                <a:gd name="connsiteY85" fmla="*/ 217101 h 2708746"/>
                <a:gd name="connsiteX86" fmla="*/ 100112 w 5428023"/>
                <a:gd name="connsiteY86" fmla="*/ 217101 h 2708746"/>
                <a:gd name="connsiteX87" fmla="*/ 100112 w 5428023"/>
                <a:gd name="connsiteY87" fmla="*/ 222684 h 2708746"/>
                <a:gd name="connsiteX88" fmla="*/ 98590 w 5428023"/>
                <a:gd name="connsiteY88" fmla="*/ 221542 h 2708746"/>
                <a:gd name="connsiteX89" fmla="*/ 103919 w 5428023"/>
                <a:gd name="connsiteY89" fmla="*/ 221542 h 2708746"/>
                <a:gd name="connsiteX90" fmla="*/ 103919 w 5428023"/>
                <a:gd name="connsiteY90" fmla="*/ 236387 h 2708746"/>
                <a:gd name="connsiteX91" fmla="*/ 102396 w 5428023"/>
                <a:gd name="connsiteY91" fmla="*/ 235245 h 2708746"/>
                <a:gd name="connsiteX92" fmla="*/ 105949 w 5428023"/>
                <a:gd name="connsiteY92" fmla="*/ 235245 h 2708746"/>
                <a:gd name="connsiteX93" fmla="*/ 105949 w 5428023"/>
                <a:gd name="connsiteY93" fmla="*/ 245396 h 2708746"/>
                <a:gd name="connsiteX94" fmla="*/ 104427 w 5428023"/>
                <a:gd name="connsiteY94" fmla="*/ 244254 h 2708746"/>
                <a:gd name="connsiteX95" fmla="*/ 109756 w 5428023"/>
                <a:gd name="connsiteY95" fmla="*/ 244254 h 2708746"/>
                <a:gd name="connsiteX96" fmla="*/ 109756 w 5428023"/>
                <a:gd name="connsiteY96" fmla="*/ 254405 h 2708746"/>
                <a:gd name="connsiteX97" fmla="*/ 108233 w 5428023"/>
                <a:gd name="connsiteY97" fmla="*/ 253390 h 2708746"/>
                <a:gd name="connsiteX98" fmla="*/ 111659 w 5428023"/>
                <a:gd name="connsiteY98" fmla="*/ 253390 h 2708746"/>
                <a:gd name="connsiteX99" fmla="*/ 111659 w 5428023"/>
                <a:gd name="connsiteY99" fmla="*/ 272423 h 2708746"/>
                <a:gd name="connsiteX100" fmla="*/ 110136 w 5428023"/>
                <a:gd name="connsiteY100" fmla="*/ 271408 h 2708746"/>
                <a:gd name="connsiteX101" fmla="*/ 113562 w 5428023"/>
                <a:gd name="connsiteY101" fmla="*/ 271408 h 2708746"/>
                <a:gd name="connsiteX102" fmla="*/ 113562 w 5428023"/>
                <a:gd name="connsiteY102" fmla="*/ 281558 h 2708746"/>
                <a:gd name="connsiteX103" fmla="*/ 112040 w 5428023"/>
                <a:gd name="connsiteY103" fmla="*/ 280416 h 2708746"/>
                <a:gd name="connsiteX104" fmla="*/ 117496 w 5428023"/>
                <a:gd name="connsiteY104" fmla="*/ 280416 h 2708746"/>
                <a:gd name="connsiteX105" fmla="*/ 117496 w 5428023"/>
                <a:gd name="connsiteY105" fmla="*/ 286126 h 2708746"/>
                <a:gd name="connsiteX106" fmla="*/ 115973 w 5428023"/>
                <a:gd name="connsiteY106" fmla="*/ 284984 h 2708746"/>
                <a:gd name="connsiteX107" fmla="*/ 119399 w 5428023"/>
                <a:gd name="connsiteY107" fmla="*/ 284984 h 2708746"/>
                <a:gd name="connsiteX108" fmla="*/ 119399 w 5428023"/>
                <a:gd name="connsiteY108" fmla="*/ 290567 h 2708746"/>
                <a:gd name="connsiteX109" fmla="*/ 117876 w 5428023"/>
                <a:gd name="connsiteY109" fmla="*/ 289425 h 2708746"/>
                <a:gd name="connsiteX110" fmla="*/ 121302 w 5428023"/>
                <a:gd name="connsiteY110" fmla="*/ 289425 h 2708746"/>
                <a:gd name="connsiteX111" fmla="*/ 121302 w 5428023"/>
                <a:gd name="connsiteY111" fmla="*/ 295135 h 2708746"/>
                <a:gd name="connsiteX112" fmla="*/ 119780 w 5428023"/>
                <a:gd name="connsiteY112" fmla="*/ 293993 h 2708746"/>
                <a:gd name="connsiteX113" fmla="*/ 123206 w 5428023"/>
                <a:gd name="connsiteY113" fmla="*/ 293993 h 2708746"/>
                <a:gd name="connsiteX114" fmla="*/ 123206 w 5428023"/>
                <a:gd name="connsiteY114" fmla="*/ 308712 h 2708746"/>
                <a:gd name="connsiteX115" fmla="*/ 121683 w 5428023"/>
                <a:gd name="connsiteY115" fmla="*/ 307570 h 2708746"/>
                <a:gd name="connsiteX116" fmla="*/ 125236 w 5428023"/>
                <a:gd name="connsiteY116" fmla="*/ 307570 h 2708746"/>
                <a:gd name="connsiteX117" fmla="*/ 125236 w 5428023"/>
                <a:gd name="connsiteY117" fmla="*/ 313280 h 2708746"/>
                <a:gd name="connsiteX118" fmla="*/ 123713 w 5428023"/>
                <a:gd name="connsiteY118" fmla="*/ 312138 h 2708746"/>
                <a:gd name="connsiteX119" fmla="*/ 127139 w 5428023"/>
                <a:gd name="connsiteY119" fmla="*/ 312138 h 2708746"/>
                <a:gd name="connsiteX120" fmla="*/ 127139 w 5428023"/>
                <a:gd name="connsiteY120" fmla="*/ 317721 h 2708746"/>
                <a:gd name="connsiteX121" fmla="*/ 125616 w 5428023"/>
                <a:gd name="connsiteY121" fmla="*/ 316706 h 2708746"/>
                <a:gd name="connsiteX122" fmla="*/ 129042 w 5428023"/>
                <a:gd name="connsiteY122" fmla="*/ 316706 h 2708746"/>
                <a:gd name="connsiteX123" fmla="*/ 129042 w 5428023"/>
                <a:gd name="connsiteY123" fmla="*/ 326983 h 2708746"/>
                <a:gd name="connsiteX124" fmla="*/ 127520 w 5428023"/>
                <a:gd name="connsiteY124" fmla="*/ 325841 h 2708746"/>
                <a:gd name="connsiteX125" fmla="*/ 130946 w 5428023"/>
                <a:gd name="connsiteY125" fmla="*/ 325841 h 2708746"/>
                <a:gd name="connsiteX126" fmla="*/ 130946 w 5428023"/>
                <a:gd name="connsiteY126" fmla="*/ 331424 h 2708746"/>
                <a:gd name="connsiteX127" fmla="*/ 129423 w 5428023"/>
                <a:gd name="connsiteY127" fmla="*/ 330282 h 2708746"/>
                <a:gd name="connsiteX128" fmla="*/ 132976 w 5428023"/>
                <a:gd name="connsiteY128" fmla="*/ 330282 h 2708746"/>
                <a:gd name="connsiteX129" fmla="*/ 132976 w 5428023"/>
                <a:gd name="connsiteY129" fmla="*/ 335992 h 2708746"/>
                <a:gd name="connsiteX130" fmla="*/ 131453 w 5428023"/>
                <a:gd name="connsiteY130" fmla="*/ 334850 h 2708746"/>
                <a:gd name="connsiteX131" fmla="*/ 134879 w 5428023"/>
                <a:gd name="connsiteY131" fmla="*/ 334850 h 2708746"/>
                <a:gd name="connsiteX132" fmla="*/ 134879 w 5428023"/>
                <a:gd name="connsiteY132" fmla="*/ 340433 h 2708746"/>
                <a:gd name="connsiteX133" fmla="*/ 133356 w 5428023"/>
                <a:gd name="connsiteY133" fmla="*/ 339291 h 2708746"/>
                <a:gd name="connsiteX134" fmla="*/ 136909 w 5428023"/>
                <a:gd name="connsiteY134" fmla="*/ 339291 h 2708746"/>
                <a:gd name="connsiteX135" fmla="*/ 136909 w 5428023"/>
                <a:gd name="connsiteY135" fmla="*/ 358705 h 2708746"/>
                <a:gd name="connsiteX136" fmla="*/ 135260 w 5428023"/>
                <a:gd name="connsiteY136" fmla="*/ 357563 h 2708746"/>
                <a:gd name="connsiteX137" fmla="*/ 137290 w 5428023"/>
                <a:gd name="connsiteY137" fmla="*/ 357563 h 2708746"/>
                <a:gd name="connsiteX138" fmla="*/ 140716 w 5428023"/>
                <a:gd name="connsiteY138" fmla="*/ 357563 h 2708746"/>
                <a:gd name="connsiteX139" fmla="*/ 140716 w 5428023"/>
                <a:gd name="connsiteY139" fmla="*/ 367713 h 2708746"/>
                <a:gd name="connsiteX140" fmla="*/ 139193 w 5428023"/>
                <a:gd name="connsiteY140" fmla="*/ 366571 h 2708746"/>
                <a:gd name="connsiteX141" fmla="*/ 141223 w 5428023"/>
                <a:gd name="connsiteY141" fmla="*/ 366571 h 2708746"/>
                <a:gd name="connsiteX142" fmla="*/ 144649 w 5428023"/>
                <a:gd name="connsiteY142" fmla="*/ 366571 h 2708746"/>
                <a:gd name="connsiteX143" fmla="*/ 144649 w 5428023"/>
                <a:gd name="connsiteY143" fmla="*/ 372281 h 2708746"/>
                <a:gd name="connsiteX144" fmla="*/ 143127 w 5428023"/>
                <a:gd name="connsiteY144" fmla="*/ 371139 h 2708746"/>
                <a:gd name="connsiteX145" fmla="*/ 146552 w 5428023"/>
                <a:gd name="connsiteY145" fmla="*/ 371139 h 2708746"/>
                <a:gd name="connsiteX146" fmla="*/ 146552 w 5428023"/>
                <a:gd name="connsiteY146" fmla="*/ 381417 h 2708746"/>
                <a:gd name="connsiteX147" fmla="*/ 145030 w 5428023"/>
                <a:gd name="connsiteY147" fmla="*/ 380402 h 2708746"/>
                <a:gd name="connsiteX148" fmla="*/ 150359 w 5428023"/>
                <a:gd name="connsiteY148" fmla="*/ 380402 h 2708746"/>
                <a:gd name="connsiteX149" fmla="*/ 150359 w 5428023"/>
                <a:gd name="connsiteY149" fmla="*/ 395121 h 2708746"/>
                <a:gd name="connsiteX150" fmla="*/ 148836 w 5428023"/>
                <a:gd name="connsiteY150" fmla="*/ 393979 h 2708746"/>
                <a:gd name="connsiteX151" fmla="*/ 152389 w 5428023"/>
                <a:gd name="connsiteY151" fmla="*/ 393979 h 2708746"/>
                <a:gd name="connsiteX152" fmla="*/ 152389 w 5428023"/>
                <a:gd name="connsiteY152" fmla="*/ 404256 h 2708746"/>
                <a:gd name="connsiteX153" fmla="*/ 150867 w 5428023"/>
                <a:gd name="connsiteY153" fmla="*/ 403114 h 2708746"/>
                <a:gd name="connsiteX154" fmla="*/ 154292 w 5428023"/>
                <a:gd name="connsiteY154" fmla="*/ 403114 h 2708746"/>
                <a:gd name="connsiteX155" fmla="*/ 154292 w 5428023"/>
                <a:gd name="connsiteY155" fmla="*/ 413265 h 2708746"/>
                <a:gd name="connsiteX156" fmla="*/ 152770 w 5428023"/>
                <a:gd name="connsiteY156" fmla="*/ 412123 h 2708746"/>
                <a:gd name="connsiteX157" fmla="*/ 156196 w 5428023"/>
                <a:gd name="connsiteY157" fmla="*/ 412123 h 2708746"/>
                <a:gd name="connsiteX158" fmla="*/ 156196 w 5428023"/>
                <a:gd name="connsiteY158" fmla="*/ 426969 h 2708746"/>
                <a:gd name="connsiteX159" fmla="*/ 154673 w 5428023"/>
                <a:gd name="connsiteY159" fmla="*/ 425954 h 2708746"/>
                <a:gd name="connsiteX160" fmla="*/ 158099 w 5428023"/>
                <a:gd name="connsiteY160" fmla="*/ 425954 h 2708746"/>
                <a:gd name="connsiteX161" fmla="*/ 158099 w 5428023"/>
                <a:gd name="connsiteY161" fmla="*/ 436105 h 2708746"/>
                <a:gd name="connsiteX162" fmla="*/ 156576 w 5428023"/>
                <a:gd name="connsiteY162" fmla="*/ 434963 h 2708746"/>
                <a:gd name="connsiteX163" fmla="*/ 160002 w 5428023"/>
                <a:gd name="connsiteY163" fmla="*/ 434963 h 2708746"/>
                <a:gd name="connsiteX164" fmla="*/ 160002 w 5428023"/>
                <a:gd name="connsiteY164" fmla="*/ 440672 h 2708746"/>
                <a:gd name="connsiteX165" fmla="*/ 158480 w 5428023"/>
                <a:gd name="connsiteY165" fmla="*/ 439530 h 2708746"/>
                <a:gd name="connsiteX166" fmla="*/ 162032 w 5428023"/>
                <a:gd name="connsiteY166" fmla="*/ 439530 h 2708746"/>
                <a:gd name="connsiteX167" fmla="*/ 162032 w 5428023"/>
                <a:gd name="connsiteY167" fmla="*/ 445240 h 2708746"/>
                <a:gd name="connsiteX168" fmla="*/ 160510 w 5428023"/>
                <a:gd name="connsiteY168" fmla="*/ 444098 h 2708746"/>
                <a:gd name="connsiteX169" fmla="*/ 163936 w 5428023"/>
                <a:gd name="connsiteY169" fmla="*/ 444098 h 2708746"/>
                <a:gd name="connsiteX170" fmla="*/ 163936 w 5428023"/>
                <a:gd name="connsiteY170" fmla="*/ 449681 h 2708746"/>
                <a:gd name="connsiteX171" fmla="*/ 162413 w 5428023"/>
                <a:gd name="connsiteY171" fmla="*/ 448539 h 2708746"/>
                <a:gd name="connsiteX172" fmla="*/ 165839 w 5428023"/>
                <a:gd name="connsiteY172" fmla="*/ 448539 h 2708746"/>
                <a:gd name="connsiteX173" fmla="*/ 165839 w 5428023"/>
                <a:gd name="connsiteY173" fmla="*/ 477089 h 2708746"/>
                <a:gd name="connsiteX174" fmla="*/ 164316 w 5428023"/>
                <a:gd name="connsiteY174" fmla="*/ 475947 h 2708746"/>
                <a:gd name="connsiteX175" fmla="*/ 169646 w 5428023"/>
                <a:gd name="connsiteY175" fmla="*/ 475947 h 2708746"/>
                <a:gd name="connsiteX176" fmla="*/ 169646 w 5428023"/>
                <a:gd name="connsiteY176" fmla="*/ 486224 h 2708746"/>
                <a:gd name="connsiteX177" fmla="*/ 168123 w 5428023"/>
                <a:gd name="connsiteY177" fmla="*/ 485082 h 2708746"/>
                <a:gd name="connsiteX178" fmla="*/ 171676 w 5428023"/>
                <a:gd name="connsiteY178" fmla="*/ 485082 h 2708746"/>
                <a:gd name="connsiteX179" fmla="*/ 171676 w 5428023"/>
                <a:gd name="connsiteY179" fmla="*/ 509064 h 2708746"/>
                <a:gd name="connsiteX180" fmla="*/ 170153 w 5428023"/>
                <a:gd name="connsiteY180" fmla="*/ 507922 h 2708746"/>
                <a:gd name="connsiteX181" fmla="*/ 175482 w 5428023"/>
                <a:gd name="connsiteY181" fmla="*/ 507922 h 2708746"/>
                <a:gd name="connsiteX182" fmla="*/ 175482 w 5428023"/>
                <a:gd name="connsiteY182" fmla="*/ 513505 h 2708746"/>
                <a:gd name="connsiteX183" fmla="*/ 173960 w 5428023"/>
                <a:gd name="connsiteY183" fmla="*/ 512363 h 2708746"/>
                <a:gd name="connsiteX184" fmla="*/ 177386 w 5428023"/>
                <a:gd name="connsiteY184" fmla="*/ 512363 h 2708746"/>
                <a:gd name="connsiteX185" fmla="*/ 177386 w 5428023"/>
                <a:gd name="connsiteY185" fmla="*/ 522640 h 2708746"/>
                <a:gd name="connsiteX186" fmla="*/ 175863 w 5428023"/>
                <a:gd name="connsiteY186" fmla="*/ 521498 h 2708746"/>
                <a:gd name="connsiteX187" fmla="*/ 181319 w 5428023"/>
                <a:gd name="connsiteY187" fmla="*/ 521498 h 2708746"/>
                <a:gd name="connsiteX188" fmla="*/ 181319 w 5428023"/>
                <a:gd name="connsiteY188" fmla="*/ 527208 h 2708746"/>
                <a:gd name="connsiteX189" fmla="*/ 179796 w 5428023"/>
                <a:gd name="connsiteY189" fmla="*/ 526066 h 2708746"/>
                <a:gd name="connsiteX190" fmla="*/ 183222 w 5428023"/>
                <a:gd name="connsiteY190" fmla="*/ 526066 h 2708746"/>
                <a:gd name="connsiteX191" fmla="*/ 183222 w 5428023"/>
                <a:gd name="connsiteY191" fmla="*/ 531776 h 2708746"/>
                <a:gd name="connsiteX192" fmla="*/ 181700 w 5428023"/>
                <a:gd name="connsiteY192" fmla="*/ 530634 h 2708746"/>
                <a:gd name="connsiteX193" fmla="*/ 185252 w 5428023"/>
                <a:gd name="connsiteY193" fmla="*/ 530634 h 2708746"/>
                <a:gd name="connsiteX194" fmla="*/ 185252 w 5428023"/>
                <a:gd name="connsiteY194" fmla="*/ 545480 h 2708746"/>
                <a:gd name="connsiteX195" fmla="*/ 183603 w 5428023"/>
                <a:gd name="connsiteY195" fmla="*/ 544338 h 2708746"/>
                <a:gd name="connsiteX196" fmla="*/ 189059 w 5428023"/>
                <a:gd name="connsiteY196" fmla="*/ 544338 h 2708746"/>
                <a:gd name="connsiteX197" fmla="*/ 189059 w 5428023"/>
                <a:gd name="connsiteY197" fmla="*/ 554615 h 2708746"/>
                <a:gd name="connsiteX198" fmla="*/ 187536 w 5428023"/>
                <a:gd name="connsiteY198" fmla="*/ 553473 h 2708746"/>
                <a:gd name="connsiteX199" fmla="*/ 191089 w 5428023"/>
                <a:gd name="connsiteY199" fmla="*/ 553473 h 2708746"/>
                <a:gd name="connsiteX200" fmla="*/ 191089 w 5428023"/>
                <a:gd name="connsiteY200" fmla="*/ 563751 h 2708746"/>
                <a:gd name="connsiteX201" fmla="*/ 189567 w 5428023"/>
                <a:gd name="connsiteY201" fmla="*/ 562609 h 2708746"/>
                <a:gd name="connsiteX202" fmla="*/ 192992 w 5428023"/>
                <a:gd name="connsiteY202" fmla="*/ 562609 h 2708746"/>
                <a:gd name="connsiteX203" fmla="*/ 192992 w 5428023"/>
                <a:gd name="connsiteY203" fmla="*/ 572887 h 2708746"/>
                <a:gd name="connsiteX204" fmla="*/ 191470 w 5428023"/>
                <a:gd name="connsiteY204" fmla="*/ 571745 h 2708746"/>
                <a:gd name="connsiteX205" fmla="*/ 194896 w 5428023"/>
                <a:gd name="connsiteY205" fmla="*/ 571745 h 2708746"/>
                <a:gd name="connsiteX206" fmla="*/ 194896 w 5428023"/>
                <a:gd name="connsiteY206" fmla="*/ 581896 h 2708746"/>
                <a:gd name="connsiteX207" fmla="*/ 193373 w 5428023"/>
                <a:gd name="connsiteY207" fmla="*/ 580881 h 2708746"/>
                <a:gd name="connsiteX208" fmla="*/ 196799 w 5428023"/>
                <a:gd name="connsiteY208" fmla="*/ 580881 h 2708746"/>
                <a:gd name="connsiteX209" fmla="*/ 196799 w 5428023"/>
                <a:gd name="connsiteY209" fmla="*/ 586464 h 2708746"/>
                <a:gd name="connsiteX210" fmla="*/ 195276 w 5428023"/>
                <a:gd name="connsiteY210" fmla="*/ 585449 h 2708746"/>
                <a:gd name="connsiteX211" fmla="*/ 198829 w 5428023"/>
                <a:gd name="connsiteY211" fmla="*/ 585449 h 2708746"/>
                <a:gd name="connsiteX212" fmla="*/ 198829 w 5428023"/>
                <a:gd name="connsiteY212" fmla="*/ 591158 h 2708746"/>
                <a:gd name="connsiteX213" fmla="*/ 197307 w 5428023"/>
                <a:gd name="connsiteY213" fmla="*/ 590016 h 2708746"/>
                <a:gd name="connsiteX214" fmla="*/ 202636 w 5428023"/>
                <a:gd name="connsiteY214" fmla="*/ 590016 h 2708746"/>
                <a:gd name="connsiteX215" fmla="*/ 202636 w 5428023"/>
                <a:gd name="connsiteY215" fmla="*/ 595726 h 2708746"/>
                <a:gd name="connsiteX216" fmla="*/ 201113 w 5428023"/>
                <a:gd name="connsiteY216" fmla="*/ 594584 h 2708746"/>
                <a:gd name="connsiteX217" fmla="*/ 204539 w 5428023"/>
                <a:gd name="connsiteY217" fmla="*/ 594584 h 2708746"/>
                <a:gd name="connsiteX218" fmla="*/ 204539 w 5428023"/>
                <a:gd name="connsiteY218" fmla="*/ 600294 h 2708746"/>
                <a:gd name="connsiteX219" fmla="*/ 203016 w 5428023"/>
                <a:gd name="connsiteY219" fmla="*/ 599152 h 2708746"/>
                <a:gd name="connsiteX220" fmla="*/ 206442 w 5428023"/>
                <a:gd name="connsiteY220" fmla="*/ 599152 h 2708746"/>
                <a:gd name="connsiteX221" fmla="*/ 206442 w 5428023"/>
                <a:gd name="connsiteY221" fmla="*/ 604862 h 2708746"/>
                <a:gd name="connsiteX222" fmla="*/ 204920 w 5428023"/>
                <a:gd name="connsiteY222" fmla="*/ 603720 h 2708746"/>
                <a:gd name="connsiteX223" fmla="*/ 208472 w 5428023"/>
                <a:gd name="connsiteY223" fmla="*/ 603720 h 2708746"/>
                <a:gd name="connsiteX224" fmla="*/ 208472 w 5428023"/>
                <a:gd name="connsiteY224" fmla="*/ 609430 h 2708746"/>
                <a:gd name="connsiteX225" fmla="*/ 206950 w 5428023"/>
                <a:gd name="connsiteY225" fmla="*/ 608288 h 2708746"/>
                <a:gd name="connsiteX226" fmla="*/ 216086 w 5428023"/>
                <a:gd name="connsiteY226" fmla="*/ 608288 h 2708746"/>
                <a:gd name="connsiteX227" fmla="*/ 216086 w 5428023"/>
                <a:gd name="connsiteY227" fmla="*/ 627701 h 2708746"/>
                <a:gd name="connsiteX228" fmla="*/ 214563 w 5428023"/>
                <a:gd name="connsiteY228" fmla="*/ 626559 h 2708746"/>
                <a:gd name="connsiteX229" fmla="*/ 218116 w 5428023"/>
                <a:gd name="connsiteY229" fmla="*/ 626559 h 2708746"/>
                <a:gd name="connsiteX230" fmla="*/ 218116 w 5428023"/>
                <a:gd name="connsiteY230" fmla="*/ 632269 h 2708746"/>
                <a:gd name="connsiteX231" fmla="*/ 216593 w 5428023"/>
                <a:gd name="connsiteY231" fmla="*/ 631127 h 2708746"/>
                <a:gd name="connsiteX232" fmla="*/ 220019 w 5428023"/>
                <a:gd name="connsiteY232" fmla="*/ 631127 h 2708746"/>
                <a:gd name="connsiteX233" fmla="*/ 220019 w 5428023"/>
                <a:gd name="connsiteY233" fmla="*/ 641405 h 2708746"/>
                <a:gd name="connsiteX234" fmla="*/ 218496 w 5428023"/>
                <a:gd name="connsiteY234" fmla="*/ 640263 h 2708746"/>
                <a:gd name="connsiteX235" fmla="*/ 221922 w 5428023"/>
                <a:gd name="connsiteY235" fmla="*/ 640263 h 2708746"/>
                <a:gd name="connsiteX236" fmla="*/ 221922 w 5428023"/>
                <a:gd name="connsiteY236" fmla="*/ 645973 h 2708746"/>
                <a:gd name="connsiteX237" fmla="*/ 220400 w 5428023"/>
                <a:gd name="connsiteY237" fmla="*/ 644831 h 2708746"/>
                <a:gd name="connsiteX238" fmla="*/ 223826 w 5428023"/>
                <a:gd name="connsiteY238" fmla="*/ 644831 h 2708746"/>
                <a:gd name="connsiteX239" fmla="*/ 223826 w 5428023"/>
                <a:gd name="connsiteY239" fmla="*/ 650541 h 2708746"/>
                <a:gd name="connsiteX240" fmla="*/ 222303 w 5428023"/>
                <a:gd name="connsiteY240" fmla="*/ 649399 h 2708746"/>
                <a:gd name="connsiteX241" fmla="*/ 227759 w 5428023"/>
                <a:gd name="connsiteY241" fmla="*/ 649399 h 2708746"/>
                <a:gd name="connsiteX242" fmla="*/ 227759 w 5428023"/>
                <a:gd name="connsiteY242" fmla="*/ 655109 h 2708746"/>
                <a:gd name="connsiteX243" fmla="*/ 226236 w 5428023"/>
                <a:gd name="connsiteY243" fmla="*/ 654093 h 2708746"/>
                <a:gd name="connsiteX244" fmla="*/ 229662 w 5428023"/>
                <a:gd name="connsiteY244" fmla="*/ 654093 h 2708746"/>
                <a:gd name="connsiteX245" fmla="*/ 229662 w 5428023"/>
                <a:gd name="connsiteY245" fmla="*/ 659803 h 2708746"/>
                <a:gd name="connsiteX246" fmla="*/ 228140 w 5428023"/>
                <a:gd name="connsiteY246" fmla="*/ 658661 h 2708746"/>
                <a:gd name="connsiteX247" fmla="*/ 231566 w 5428023"/>
                <a:gd name="connsiteY247" fmla="*/ 658661 h 2708746"/>
                <a:gd name="connsiteX248" fmla="*/ 231566 w 5428023"/>
                <a:gd name="connsiteY248" fmla="*/ 664371 h 2708746"/>
                <a:gd name="connsiteX249" fmla="*/ 230043 w 5428023"/>
                <a:gd name="connsiteY249" fmla="*/ 663229 h 2708746"/>
                <a:gd name="connsiteX250" fmla="*/ 233596 w 5428023"/>
                <a:gd name="connsiteY250" fmla="*/ 663229 h 2708746"/>
                <a:gd name="connsiteX251" fmla="*/ 233596 w 5428023"/>
                <a:gd name="connsiteY251" fmla="*/ 668939 h 2708746"/>
                <a:gd name="connsiteX252" fmla="*/ 231946 w 5428023"/>
                <a:gd name="connsiteY252" fmla="*/ 667797 h 2708746"/>
                <a:gd name="connsiteX253" fmla="*/ 235499 w 5428023"/>
                <a:gd name="connsiteY253" fmla="*/ 667797 h 2708746"/>
                <a:gd name="connsiteX254" fmla="*/ 235499 w 5428023"/>
                <a:gd name="connsiteY254" fmla="*/ 687337 h 2708746"/>
                <a:gd name="connsiteX255" fmla="*/ 233976 w 5428023"/>
                <a:gd name="connsiteY255" fmla="*/ 686195 h 2708746"/>
                <a:gd name="connsiteX256" fmla="*/ 239432 w 5428023"/>
                <a:gd name="connsiteY256" fmla="*/ 686195 h 2708746"/>
                <a:gd name="connsiteX257" fmla="*/ 239432 w 5428023"/>
                <a:gd name="connsiteY257" fmla="*/ 701041 h 2708746"/>
                <a:gd name="connsiteX258" fmla="*/ 237910 w 5428023"/>
                <a:gd name="connsiteY258" fmla="*/ 700026 h 2708746"/>
                <a:gd name="connsiteX259" fmla="*/ 241336 w 5428023"/>
                <a:gd name="connsiteY259" fmla="*/ 700026 h 2708746"/>
                <a:gd name="connsiteX260" fmla="*/ 241336 w 5428023"/>
                <a:gd name="connsiteY260" fmla="*/ 710304 h 2708746"/>
                <a:gd name="connsiteX261" fmla="*/ 239813 w 5428023"/>
                <a:gd name="connsiteY261" fmla="*/ 709162 h 2708746"/>
                <a:gd name="connsiteX262" fmla="*/ 243239 w 5428023"/>
                <a:gd name="connsiteY262" fmla="*/ 709162 h 2708746"/>
                <a:gd name="connsiteX263" fmla="*/ 243239 w 5428023"/>
                <a:gd name="connsiteY263" fmla="*/ 728702 h 2708746"/>
                <a:gd name="connsiteX264" fmla="*/ 241716 w 5428023"/>
                <a:gd name="connsiteY264" fmla="*/ 727560 h 2708746"/>
                <a:gd name="connsiteX265" fmla="*/ 245142 w 5428023"/>
                <a:gd name="connsiteY265" fmla="*/ 727560 h 2708746"/>
                <a:gd name="connsiteX266" fmla="*/ 245142 w 5428023"/>
                <a:gd name="connsiteY266" fmla="*/ 737838 h 2708746"/>
                <a:gd name="connsiteX267" fmla="*/ 243620 w 5428023"/>
                <a:gd name="connsiteY267" fmla="*/ 736696 h 2708746"/>
                <a:gd name="connsiteX268" fmla="*/ 247172 w 5428023"/>
                <a:gd name="connsiteY268" fmla="*/ 736696 h 2708746"/>
                <a:gd name="connsiteX269" fmla="*/ 247172 w 5428023"/>
                <a:gd name="connsiteY269" fmla="*/ 760804 h 2708746"/>
                <a:gd name="connsiteX270" fmla="*/ 245650 w 5428023"/>
                <a:gd name="connsiteY270" fmla="*/ 759662 h 2708746"/>
                <a:gd name="connsiteX271" fmla="*/ 252882 w 5428023"/>
                <a:gd name="connsiteY271" fmla="*/ 759662 h 2708746"/>
                <a:gd name="connsiteX272" fmla="*/ 252882 w 5428023"/>
                <a:gd name="connsiteY272" fmla="*/ 774634 h 2708746"/>
                <a:gd name="connsiteX273" fmla="*/ 251360 w 5428023"/>
                <a:gd name="connsiteY273" fmla="*/ 773492 h 2708746"/>
                <a:gd name="connsiteX274" fmla="*/ 256816 w 5428023"/>
                <a:gd name="connsiteY274" fmla="*/ 773492 h 2708746"/>
                <a:gd name="connsiteX275" fmla="*/ 256816 w 5428023"/>
                <a:gd name="connsiteY275" fmla="*/ 788338 h 2708746"/>
                <a:gd name="connsiteX276" fmla="*/ 255293 w 5428023"/>
                <a:gd name="connsiteY276" fmla="*/ 787196 h 2708746"/>
                <a:gd name="connsiteX277" fmla="*/ 258719 w 5428023"/>
                <a:gd name="connsiteY277" fmla="*/ 787196 h 2708746"/>
                <a:gd name="connsiteX278" fmla="*/ 258719 w 5428023"/>
                <a:gd name="connsiteY278" fmla="*/ 792906 h 2708746"/>
                <a:gd name="connsiteX279" fmla="*/ 257196 w 5428023"/>
                <a:gd name="connsiteY279" fmla="*/ 791764 h 2708746"/>
                <a:gd name="connsiteX280" fmla="*/ 260622 w 5428023"/>
                <a:gd name="connsiteY280" fmla="*/ 791764 h 2708746"/>
                <a:gd name="connsiteX281" fmla="*/ 260622 w 5428023"/>
                <a:gd name="connsiteY281" fmla="*/ 815872 h 2708746"/>
                <a:gd name="connsiteX282" fmla="*/ 259100 w 5428023"/>
                <a:gd name="connsiteY282" fmla="*/ 814730 h 2708746"/>
                <a:gd name="connsiteX283" fmla="*/ 262526 w 5428023"/>
                <a:gd name="connsiteY283" fmla="*/ 814730 h 2708746"/>
                <a:gd name="connsiteX284" fmla="*/ 262526 w 5428023"/>
                <a:gd name="connsiteY284" fmla="*/ 829703 h 2708746"/>
                <a:gd name="connsiteX285" fmla="*/ 261003 w 5428023"/>
                <a:gd name="connsiteY285" fmla="*/ 828561 h 2708746"/>
                <a:gd name="connsiteX286" fmla="*/ 266459 w 5428023"/>
                <a:gd name="connsiteY286" fmla="*/ 828561 h 2708746"/>
                <a:gd name="connsiteX287" fmla="*/ 266459 w 5428023"/>
                <a:gd name="connsiteY287" fmla="*/ 834271 h 2708746"/>
                <a:gd name="connsiteX288" fmla="*/ 264936 w 5428023"/>
                <a:gd name="connsiteY288" fmla="*/ 833129 h 2708746"/>
                <a:gd name="connsiteX289" fmla="*/ 270266 w 5428023"/>
                <a:gd name="connsiteY289" fmla="*/ 833129 h 2708746"/>
                <a:gd name="connsiteX290" fmla="*/ 270266 w 5428023"/>
                <a:gd name="connsiteY290" fmla="*/ 843406 h 2708746"/>
                <a:gd name="connsiteX291" fmla="*/ 268743 w 5428023"/>
                <a:gd name="connsiteY291" fmla="*/ 842264 h 2708746"/>
                <a:gd name="connsiteX292" fmla="*/ 272169 w 5428023"/>
                <a:gd name="connsiteY292" fmla="*/ 842264 h 2708746"/>
                <a:gd name="connsiteX293" fmla="*/ 272169 w 5428023"/>
                <a:gd name="connsiteY293" fmla="*/ 847974 h 2708746"/>
                <a:gd name="connsiteX294" fmla="*/ 270646 w 5428023"/>
                <a:gd name="connsiteY294" fmla="*/ 846832 h 2708746"/>
                <a:gd name="connsiteX295" fmla="*/ 276102 w 5428023"/>
                <a:gd name="connsiteY295" fmla="*/ 846832 h 2708746"/>
                <a:gd name="connsiteX296" fmla="*/ 276102 w 5428023"/>
                <a:gd name="connsiteY296" fmla="*/ 861805 h 2708746"/>
                <a:gd name="connsiteX297" fmla="*/ 274580 w 5428023"/>
                <a:gd name="connsiteY297" fmla="*/ 860663 h 2708746"/>
                <a:gd name="connsiteX298" fmla="*/ 278006 w 5428023"/>
                <a:gd name="connsiteY298" fmla="*/ 860663 h 2708746"/>
                <a:gd name="connsiteX299" fmla="*/ 278006 w 5428023"/>
                <a:gd name="connsiteY299" fmla="*/ 870940 h 2708746"/>
                <a:gd name="connsiteX300" fmla="*/ 276483 w 5428023"/>
                <a:gd name="connsiteY300" fmla="*/ 869798 h 2708746"/>
                <a:gd name="connsiteX301" fmla="*/ 279909 w 5428023"/>
                <a:gd name="connsiteY301" fmla="*/ 869798 h 2708746"/>
                <a:gd name="connsiteX302" fmla="*/ 279909 w 5428023"/>
                <a:gd name="connsiteY302" fmla="*/ 884771 h 2708746"/>
                <a:gd name="connsiteX303" fmla="*/ 278386 w 5428023"/>
                <a:gd name="connsiteY303" fmla="*/ 883629 h 2708746"/>
                <a:gd name="connsiteX304" fmla="*/ 281939 w 5428023"/>
                <a:gd name="connsiteY304" fmla="*/ 883629 h 2708746"/>
                <a:gd name="connsiteX305" fmla="*/ 281939 w 5428023"/>
                <a:gd name="connsiteY305" fmla="*/ 893907 h 2708746"/>
                <a:gd name="connsiteX306" fmla="*/ 280290 w 5428023"/>
                <a:gd name="connsiteY306" fmla="*/ 892765 h 2708746"/>
                <a:gd name="connsiteX307" fmla="*/ 283969 w 5428023"/>
                <a:gd name="connsiteY307" fmla="*/ 892765 h 2708746"/>
                <a:gd name="connsiteX308" fmla="*/ 283969 w 5428023"/>
                <a:gd name="connsiteY308" fmla="*/ 898474 h 2708746"/>
                <a:gd name="connsiteX309" fmla="*/ 282447 w 5428023"/>
                <a:gd name="connsiteY309" fmla="*/ 897332 h 2708746"/>
                <a:gd name="connsiteX310" fmla="*/ 287776 w 5428023"/>
                <a:gd name="connsiteY310" fmla="*/ 897332 h 2708746"/>
                <a:gd name="connsiteX311" fmla="*/ 287776 w 5428023"/>
                <a:gd name="connsiteY311" fmla="*/ 912305 h 2708746"/>
                <a:gd name="connsiteX312" fmla="*/ 286253 w 5428023"/>
                <a:gd name="connsiteY312" fmla="*/ 911163 h 2708746"/>
                <a:gd name="connsiteX313" fmla="*/ 289679 w 5428023"/>
                <a:gd name="connsiteY313" fmla="*/ 911163 h 2708746"/>
                <a:gd name="connsiteX314" fmla="*/ 289679 w 5428023"/>
                <a:gd name="connsiteY314" fmla="*/ 921568 h 2708746"/>
                <a:gd name="connsiteX315" fmla="*/ 288156 w 5428023"/>
                <a:gd name="connsiteY315" fmla="*/ 920426 h 2708746"/>
                <a:gd name="connsiteX316" fmla="*/ 291582 w 5428023"/>
                <a:gd name="connsiteY316" fmla="*/ 920426 h 2708746"/>
                <a:gd name="connsiteX317" fmla="*/ 291582 w 5428023"/>
                <a:gd name="connsiteY317" fmla="*/ 930703 h 2708746"/>
                <a:gd name="connsiteX318" fmla="*/ 290060 w 5428023"/>
                <a:gd name="connsiteY318" fmla="*/ 929561 h 2708746"/>
                <a:gd name="connsiteX319" fmla="*/ 293612 w 5428023"/>
                <a:gd name="connsiteY319" fmla="*/ 929561 h 2708746"/>
                <a:gd name="connsiteX320" fmla="*/ 293612 w 5428023"/>
                <a:gd name="connsiteY320" fmla="*/ 935271 h 2708746"/>
                <a:gd name="connsiteX321" fmla="*/ 292090 w 5428023"/>
                <a:gd name="connsiteY321" fmla="*/ 934129 h 2708746"/>
                <a:gd name="connsiteX322" fmla="*/ 297419 w 5428023"/>
                <a:gd name="connsiteY322" fmla="*/ 934129 h 2708746"/>
                <a:gd name="connsiteX323" fmla="*/ 297419 w 5428023"/>
                <a:gd name="connsiteY323" fmla="*/ 939966 h 2708746"/>
                <a:gd name="connsiteX324" fmla="*/ 295896 w 5428023"/>
                <a:gd name="connsiteY324" fmla="*/ 938824 h 2708746"/>
                <a:gd name="connsiteX325" fmla="*/ 299322 w 5428023"/>
                <a:gd name="connsiteY325" fmla="*/ 938824 h 2708746"/>
                <a:gd name="connsiteX326" fmla="*/ 299322 w 5428023"/>
                <a:gd name="connsiteY326" fmla="*/ 949102 h 2708746"/>
                <a:gd name="connsiteX327" fmla="*/ 297800 w 5428023"/>
                <a:gd name="connsiteY327" fmla="*/ 947960 h 2708746"/>
                <a:gd name="connsiteX328" fmla="*/ 303256 w 5428023"/>
                <a:gd name="connsiteY328" fmla="*/ 947960 h 2708746"/>
                <a:gd name="connsiteX329" fmla="*/ 303256 w 5428023"/>
                <a:gd name="connsiteY329" fmla="*/ 958364 h 2708746"/>
                <a:gd name="connsiteX330" fmla="*/ 301733 w 5428023"/>
                <a:gd name="connsiteY330" fmla="*/ 957222 h 2708746"/>
                <a:gd name="connsiteX331" fmla="*/ 305159 w 5428023"/>
                <a:gd name="connsiteY331" fmla="*/ 957222 h 2708746"/>
                <a:gd name="connsiteX332" fmla="*/ 305159 w 5428023"/>
                <a:gd name="connsiteY332" fmla="*/ 962932 h 2708746"/>
                <a:gd name="connsiteX333" fmla="*/ 303636 w 5428023"/>
                <a:gd name="connsiteY333" fmla="*/ 961790 h 2708746"/>
                <a:gd name="connsiteX334" fmla="*/ 307062 w 5428023"/>
                <a:gd name="connsiteY334" fmla="*/ 961790 h 2708746"/>
                <a:gd name="connsiteX335" fmla="*/ 307062 w 5428023"/>
                <a:gd name="connsiteY335" fmla="*/ 972195 h 2708746"/>
                <a:gd name="connsiteX336" fmla="*/ 305540 w 5428023"/>
                <a:gd name="connsiteY336" fmla="*/ 971053 h 2708746"/>
                <a:gd name="connsiteX337" fmla="*/ 308966 w 5428023"/>
                <a:gd name="connsiteY337" fmla="*/ 971053 h 2708746"/>
                <a:gd name="connsiteX338" fmla="*/ 308966 w 5428023"/>
                <a:gd name="connsiteY338" fmla="*/ 976763 h 2708746"/>
                <a:gd name="connsiteX339" fmla="*/ 307443 w 5428023"/>
                <a:gd name="connsiteY339" fmla="*/ 975621 h 2708746"/>
                <a:gd name="connsiteX340" fmla="*/ 310869 w 5428023"/>
                <a:gd name="connsiteY340" fmla="*/ 975621 h 2708746"/>
                <a:gd name="connsiteX341" fmla="*/ 310869 w 5428023"/>
                <a:gd name="connsiteY341" fmla="*/ 986025 h 2708746"/>
                <a:gd name="connsiteX342" fmla="*/ 309346 w 5428023"/>
                <a:gd name="connsiteY342" fmla="*/ 984883 h 2708746"/>
                <a:gd name="connsiteX343" fmla="*/ 312899 w 5428023"/>
                <a:gd name="connsiteY343" fmla="*/ 984883 h 2708746"/>
                <a:gd name="connsiteX344" fmla="*/ 312899 w 5428023"/>
                <a:gd name="connsiteY344" fmla="*/ 990593 h 2708746"/>
                <a:gd name="connsiteX345" fmla="*/ 311376 w 5428023"/>
                <a:gd name="connsiteY345" fmla="*/ 989451 h 2708746"/>
                <a:gd name="connsiteX346" fmla="*/ 314802 w 5428023"/>
                <a:gd name="connsiteY346" fmla="*/ 989451 h 2708746"/>
                <a:gd name="connsiteX347" fmla="*/ 314802 w 5428023"/>
                <a:gd name="connsiteY347" fmla="*/ 1004550 h 2708746"/>
                <a:gd name="connsiteX348" fmla="*/ 313280 w 5428023"/>
                <a:gd name="connsiteY348" fmla="*/ 1003409 h 2708746"/>
                <a:gd name="connsiteX349" fmla="*/ 316706 w 5428023"/>
                <a:gd name="connsiteY349" fmla="*/ 1003409 h 2708746"/>
                <a:gd name="connsiteX350" fmla="*/ 316706 w 5428023"/>
                <a:gd name="connsiteY350" fmla="*/ 1013686 h 2708746"/>
                <a:gd name="connsiteX351" fmla="*/ 315183 w 5428023"/>
                <a:gd name="connsiteY351" fmla="*/ 1012544 h 2708746"/>
                <a:gd name="connsiteX352" fmla="*/ 322542 w 5428023"/>
                <a:gd name="connsiteY352" fmla="*/ 1012544 h 2708746"/>
                <a:gd name="connsiteX353" fmla="*/ 322542 w 5428023"/>
                <a:gd name="connsiteY353" fmla="*/ 1022949 h 2708746"/>
                <a:gd name="connsiteX354" fmla="*/ 321020 w 5428023"/>
                <a:gd name="connsiteY354" fmla="*/ 1021807 h 2708746"/>
                <a:gd name="connsiteX355" fmla="*/ 324446 w 5428023"/>
                <a:gd name="connsiteY355" fmla="*/ 1021807 h 2708746"/>
                <a:gd name="connsiteX356" fmla="*/ 324446 w 5428023"/>
                <a:gd name="connsiteY356" fmla="*/ 1032085 h 2708746"/>
                <a:gd name="connsiteX357" fmla="*/ 322923 w 5428023"/>
                <a:gd name="connsiteY357" fmla="*/ 1031070 h 2708746"/>
                <a:gd name="connsiteX358" fmla="*/ 326349 w 5428023"/>
                <a:gd name="connsiteY358" fmla="*/ 1031070 h 2708746"/>
                <a:gd name="connsiteX359" fmla="*/ 326349 w 5428023"/>
                <a:gd name="connsiteY359" fmla="*/ 1041347 h 2708746"/>
                <a:gd name="connsiteX360" fmla="*/ 324826 w 5428023"/>
                <a:gd name="connsiteY360" fmla="*/ 1040205 h 2708746"/>
                <a:gd name="connsiteX361" fmla="*/ 328252 w 5428023"/>
                <a:gd name="connsiteY361" fmla="*/ 1040205 h 2708746"/>
                <a:gd name="connsiteX362" fmla="*/ 328252 w 5428023"/>
                <a:gd name="connsiteY362" fmla="*/ 1059746 h 2708746"/>
                <a:gd name="connsiteX363" fmla="*/ 326730 w 5428023"/>
                <a:gd name="connsiteY363" fmla="*/ 1058604 h 2708746"/>
                <a:gd name="connsiteX364" fmla="*/ 330409 w 5428023"/>
                <a:gd name="connsiteY364" fmla="*/ 1058604 h 2708746"/>
                <a:gd name="connsiteX365" fmla="*/ 330409 w 5428023"/>
                <a:gd name="connsiteY365" fmla="*/ 1082839 h 2708746"/>
                <a:gd name="connsiteX366" fmla="*/ 328760 w 5428023"/>
                <a:gd name="connsiteY366" fmla="*/ 1081697 h 2708746"/>
                <a:gd name="connsiteX367" fmla="*/ 332312 w 5428023"/>
                <a:gd name="connsiteY367" fmla="*/ 1081697 h 2708746"/>
                <a:gd name="connsiteX368" fmla="*/ 332312 w 5428023"/>
                <a:gd name="connsiteY368" fmla="*/ 1087533 h 2708746"/>
                <a:gd name="connsiteX369" fmla="*/ 330790 w 5428023"/>
                <a:gd name="connsiteY369" fmla="*/ 1086392 h 2708746"/>
                <a:gd name="connsiteX370" fmla="*/ 334216 w 5428023"/>
                <a:gd name="connsiteY370" fmla="*/ 1086392 h 2708746"/>
                <a:gd name="connsiteX371" fmla="*/ 334216 w 5428023"/>
                <a:gd name="connsiteY371" fmla="*/ 1092101 h 2708746"/>
                <a:gd name="connsiteX372" fmla="*/ 332693 w 5428023"/>
                <a:gd name="connsiteY372" fmla="*/ 1090959 h 2708746"/>
                <a:gd name="connsiteX373" fmla="*/ 336119 w 5428023"/>
                <a:gd name="connsiteY373" fmla="*/ 1090959 h 2708746"/>
                <a:gd name="connsiteX374" fmla="*/ 336119 w 5428023"/>
                <a:gd name="connsiteY374" fmla="*/ 1101364 h 2708746"/>
                <a:gd name="connsiteX375" fmla="*/ 334596 w 5428023"/>
                <a:gd name="connsiteY375" fmla="*/ 1100222 h 2708746"/>
                <a:gd name="connsiteX376" fmla="*/ 340052 w 5428023"/>
                <a:gd name="connsiteY376" fmla="*/ 1100222 h 2708746"/>
                <a:gd name="connsiteX377" fmla="*/ 340052 w 5428023"/>
                <a:gd name="connsiteY377" fmla="*/ 1105932 h 2708746"/>
                <a:gd name="connsiteX378" fmla="*/ 338530 w 5428023"/>
                <a:gd name="connsiteY378" fmla="*/ 1104790 h 2708746"/>
                <a:gd name="connsiteX379" fmla="*/ 341956 w 5428023"/>
                <a:gd name="connsiteY379" fmla="*/ 1104790 h 2708746"/>
                <a:gd name="connsiteX380" fmla="*/ 341956 w 5428023"/>
                <a:gd name="connsiteY380" fmla="*/ 1110627 h 2708746"/>
                <a:gd name="connsiteX381" fmla="*/ 340433 w 5428023"/>
                <a:gd name="connsiteY381" fmla="*/ 1109485 h 2708746"/>
                <a:gd name="connsiteX382" fmla="*/ 343859 w 5428023"/>
                <a:gd name="connsiteY382" fmla="*/ 1109485 h 2708746"/>
                <a:gd name="connsiteX383" fmla="*/ 343859 w 5428023"/>
                <a:gd name="connsiteY383" fmla="*/ 1119762 h 2708746"/>
                <a:gd name="connsiteX384" fmla="*/ 342336 w 5428023"/>
                <a:gd name="connsiteY384" fmla="*/ 1118620 h 2708746"/>
                <a:gd name="connsiteX385" fmla="*/ 345762 w 5428023"/>
                <a:gd name="connsiteY385" fmla="*/ 1118620 h 2708746"/>
                <a:gd name="connsiteX386" fmla="*/ 345762 w 5428023"/>
                <a:gd name="connsiteY386" fmla="*/ 1129025 h 2708746"/>
                <a:gd name="connsiteX387" fmla="*/ 344240 w 5428023"/>
                <a:gd name="connsiteY387" fmla="*/ 1127883 h 2708746"/>
                <a:gd name="connsiteX388" fmla="*/ 355406 w 5428023"/>
                <a:gd name="connsiteY388" fmla="*/ 1127883 h 2708746"/>
                <a:gd name="connsiteX389" fmla="*/ 355406 w 5428023"/>
                <a:gd name="connsiteY389" fmla="*/ 1138161 h 2708746"/>
                <a:gd name="connsiteX390" fmla="*/ 353883 w 5428023"/>
                <a:gd name="connsiteY390" fmla="*/ 1137146 h 2708746"/>
                <a:gd name="connsiteX391" fmla="*/ 359339 w 5428023"/>
                <a:gd name="connsiteY391" fmla="*/ 1137146 h 2708746"/>
                <a:gd name="connsiteX392" fmla="*/ 359339 w 5428023"/>
                <a:gd name="connsiteY392" fmla="*/ 1147423 h 2708746"/>
                <a:gd name="connsiteX393" fmla="*/ 357816 w 5428023"/>
                <a:gd name="connsiteY393" fmla="*/ 1146281 h 2708746"/>
                <a:gd name="connsiteX394" fmla="*/ 366952 w 5428023"/>
                <a:gd name="connsiteY394" fmla="*/ 1146281 h 2708746"/>
                <a:gd name="connsiteX395" fmla="*/ 366952 w 5428023"/>
                <a:gd name="connsiteY395" fmla="*/ 1156686 h 2708746"/>
                <a:gd name="connsiteX396" fmla="*/ 365430 w 5428023"/>
                <a:gd name="connsiteY396" fmla="*/ 1155544 h 2708746"/>
                <a:gd name="connsiteX397" fmla="*/ 368982 w 5428023"/>
                <a:gd name="connsiteY397" fmla="*/ 1155544 h 2708746"/>
                <a:gd name="connsiteX398" fmla="*/ 368982 w 5428023"/>
                <a:gd name="connsiteY398" fmla="*/ 1161254 h 2708746"/>
                <a:gd name="connsiteX399" fmla="*/ 367460 w 5428023"/>
                <a:gd name="connsiteY399" fmla="*/ 1160112 h 2708746"/>
                <a:gd name="connsiteX400" fmla="*/ 370886 w 5428023"/>
                <a:gd name="connsiteY400" fmla="*/ 1160112 h 2708746"/>
                <a:gd name="connsiteX401" fmla="*/ 370886 w 5428023"/>
                <a:gd name="connsiteY401" fmla="*/ 1170516 h 2708746"/>
                <a:gd name="connsiteX402" fmla="*/ 369363 w 5428023"/>
                <a:gd name="connsiteY402" fmla="*/ 1169375 h 2708746"/>
                <a:gd name="connsiteX403" fmla="*/ 378752 w 5428023"/>
                <a:gd name="connsiteY403" fmla="*/ 1169375 h 2708746"/>
                <a:gd name="connsiteX404" fmla="*/ 378752 w 5428023"/>
                <a:gd name="connsiteY404" fmla="*/ 1179779 h 2708746"/>
                <a:gd name="connsiteX405" fmla="*/ 377103 w 5428023"/>
                <a:gd name="connsiteY405" fmla="*/ 1178637 h 2708746"/>
                <a:gd name="connsiteX406" fmla="*/ 382559 w 5428023"/>
                <a:gd name="connsiteY406" fmla="*/ 1178637 h 2708746"/>
                <a:gd name="connsiteX407" fmla="*/ 382559 w 5428023"/>
                <a:gd name="connsiteY407" fmla="*/ 1184347 h 2708746"/>
                <a:gd name="connsiteX408" fmla="*/ 381036 w 5428023"/>
                <a:gd name="connsiteY408" fmla="*/ 1183205 h 2708746"/>
                <a:gd name="connsiteX409" fmla="*/ 386366 w 5428023"/>
                <a:gd name="connsiteY409" fmla="*/ 1183205 h 2708746"/>
                <a:gd name="connsiteX410" fmla="*/ 386366 w 5428023"/>
                <a:gd name="connsiteY410" fmla="*/ 1188915 h 2708746"/>
                <a:gd name="connsiteX411" fmla="*/ 384843 w 5428023"/>
                <a:gd name="connsiteY411" fmla="*/ 1187773 h 2708746"/>
                <a:gd name="connsiteX412" fmla="*/ 388396 w 5428023"/>
                <a:gd name="connsiteY412" fmla="*/ 1187773 h 2708746"/>
                <a:gd name="connsiteX413" fmla="*/ 388396 w 5428023"/>
                <a:gd name="connsiteY413" fmla="*/ 1193610 h 2708746"/>
                <a:gd name="connsiteX414" fmla="*/ 386873 w 5428023"/>
                <a:gd name="connsiteY414" fmla="*/ 1192468 h 2708746"/>
                <a:gd name="connsiteX415" fmla="*/ 392202 w 5428023"/>
                <a:gd name="connsiteY415" fmla="*/ 1192468 h 2708746"/>
                <a:gd name="connsiteX416" fmla="*/ 392202 w 5428023"/>
                <a:gd name="connsiteY416" fmla="*/ 1198304 h 2708746"/>
                <a:gd name="connsiteX417" fmla="*/ 390680 w 5428023"/>
                <a:gd name="connsiteY417" fmla="*/ 1197162 h 2708746"/>
                <a:gd name="connsiteX418" fmla="*/ 394106 w 5428023"/>
                <a:gd name="connsiteY418" fmla="*/ 1197162 h 2708746"/>
                <a:gd name="connsiteX419" fmla="*/ 394106 w 5428023"/>
                <a:gd name="connsiteY419" fmla="*/ 1202872 h 2708746"/>
                <a:gd name="connsiteX420" fmla="*/ 392583 w 5428023"/>
                <a:gd name="connsiteY420" fmla="*/ 1201730 h 2708746"/>
                <a:gd name="connsiteX421" fmla="*/ 396136 w 5428023"/>
                <a:gd name="connsiteY421" fmla="*/ 1201730 h 2708746"/>
                <a:gd name="connsiteX422" fmla="*/ 396136 w 5428023"/>
                <a:gd name="connsiteY422" fmla="*/ 1207440 h 2708746"/>
                <a:gd name="connsiteX423" fmla="*/ 394613 w 5428023"/>
                <a:gd name="connsiteY423" fmla="*/ 1206425 h 2708746"/>
                <a:gd name="connsiteX424" fmla="*/ 401846 w 5428023"/>
                <a:gd name="connsiteY424" fmla="*/ 1206425 h 2708746"/>
                <a:gd name="connsiteX425" fmla="*/ 401846 w 5428023"/>
                <a:gd name="connsiteY425" fmla="*/ 1216703 h 2708746"/>
                <a:gd name="connsiteX426" fmla="*/ 400323 w 5428023"/>
                <a:gd name="connsiteY426" fmla="*/ 1215688 h 2708746"/>
                <a:gd name="connsiteX427" fmla="*/ 405779 w 5428023"/>
                <a:gd name="connsiteY427" fmla="*/ 1215688 h 2708746"/>
                <a:gd name="connsiteX428" fmla="*/ 405779 w 5428023"/>
                <a:gd name="connsiteY428" fmla="*/ 1221397 h 2708746"/>
                <a:gd name="connsiteX429" fmla="*/ 404256 w 5428023"/>
                <a:gd name="connsiteY429" fmla="*/ 1220255 h 2708746"/>
                <a:gd name="connsiteX430" fmla="*/ 409586 w 5428023"/>
                <a:gd name="connsiteY430" fmla="*/ 1220255 h 2708746"/>
                <a:gd name="connsiteX431" fmla="*/ 409586 w 5428023"/>
                <a:gd name="connsiteY431" fmla="*/ 1230660 h 2708746"/>
                <a:gd name="connsiteX432" fmla="*/ 408063 w 5428023"/>
                <a:gd name="connsiteY432" fmla="*/ 1229518 h 2708746"/>
                <a:gd name="connsiteX433" fmla="*/ 411489 w 5428023"/>
                <a:gd name="connsiteY433" fmla="*/ 1229518 h 2708746"/>
                <a:gd name="connsiteX434" fmla="*/ 411489 w 5428023"/>
                <a:gd name="connsiteY434" fmla="*/ 1244617 h 2708746"/>
                <a:gd name="connsiteX435" fmla="*/ 409966 w 5428023"/>
                <a:gd name="connsiteY435" fmla="*/ 1243475 h 2708746"/>
                <a:gd name="connsiteX436" fmla="*/ 411870 w 5428023"/>
                <a:gd name="connsiteY436" fmla="*/ 1243475 h 2708746"/>
                <a:gd name="connsiteX437" fmla="*/ 415422 w 5428023"/>
                <a:gd name="connsiteY437" fmla="*/ 1243475 h 2708746"/>
                <a:gd name="connsiteX438" fmla="*/ 415422 w 5428023"/>
                <a:gd name="connsiteY438" fmla="*/ 1253880 h 2708746"/>
                <a:gd name="connsiteX439" fmla="*/ 413900 w 5428023"/>
                <a:gd name="connsiteY439" fmla="*/ 1252738 h 2708746"/>
                <a:gd name="connsiteX440" fmla="*/ 419229 w 5428023"/>
                <a:gd name="connsiteY440" fmla="*/ 1252738 h 2708746"/>
                <a:gd name="connsiteX441" fmla="*/ 419229 w 5428023"/>
                <a:gd name="connsiteY441" fmla="*/ 1258448 h 2708746"/>
                <a:gd name="connsiteX442" fmla="*/ 417706 w 5428023"/>
                <a:gd name="connsiteY442" fmla="*/ 1257306 h 2708746"/>
                <a:gd name="connsiteX443" fmla="*/ 421132 w 5428023"/>
                <a:gd name="connsiteY443" fmla="*/ 1257306 h 2708746"/>
                <a:gd name="connsiteX444" fmla="*/ 421132 w 5428023"/>
                <a:gd name="connsiteY444" fmla="*/ 1267837 h 2708746"/>
                <a:gd name="connsiteX445" fmla="*/ 419610 w 5428023"/>
                <a:gd name="connsiteY445" fmla="*/ 1266695 h 2708746"/>
                <a:gd name="connsiteX446" fmla="*/ 423035 w 5428023"/>
                <a:gd name="connsiteY446" fmla="*/ 1266695 h 2708746"/>
                <a:gd name="connsiteX447" fmla="*/ 423035 w 5428023"/>
                <a:gd name="connsiteY447" fmla="*/ 1272532 h 2708746"/>
                <a:gd name="connsiteX448" fmla="*/ 421513 w 5428023"/>
                <a:gd name="connsiteY448" fmla="*/ 1271390 h 2708746"/>
                <a:gd name="connsiteX449" fmla="*/ 427096 w 5428023"/>
                <a:gd name="connsiteY449" fmla="*/ 1271390 h 2708746"/>
                <a:gd name="connsiteX450" fmla="*/ 427096 w 5428023"/>
                <a:gd name="connsiteY450" fmla="*/ 1277227 h 2708746"/>
                <a:gd name="connsiteX451" fmla="*/ 425573 w 5428023"/>
                <a:gd name="connsiteY451" fmla="*/ 1276085 h 2708746"/>
                <a:gd name="connsiteX452" fmla="*/ 428999 w 5428023"/>
                <a:gd name="connsiteY452" fmla="*/ 1276085 h 2708746"/>
                <a:gd name="connsiteX453" fmla="*/ 428999 w 5428023"/>
                <a:gd name="connsiteY453" fmla="*/ 1286490 h 2708746"/>
                <a:gd name="connsiteX454" fmla="*/ 427476 w 5428023"/>
                <a:gd name="connsiteY454" fmla="*/ 1285348 h 2708746"/>
                <a:gd name="connsiteX455" fmla="*/ 432806 w 5428023"/>
                <a:gd name="connsiteY455" fmla="*/ 1285348 h 2708746"/>
                <a:gd name="connsiteX456" fmla="*/ 432806 w 5428023"/>
                <a:gd name="connsiteY456" fmla="*/ 1291184 h 2708746"/>
                <a:gd name="connsiteX457" fmla="*/ 431283 w 5428023"/>
                <a:gd name="connsiteY457" fmla="*/ 1290042 h 2708746"/>
                <a:gd name="connsiteX458" fmla="*/ 436739 w 5428023"/>
                <a:gd name="connsiteY458" fmla="*/ 1290042 h 2708746"/>
                <a:gd name="connsiteX459" fmla="*/ 436739 w 5428023"/>
                <a:gd name="connsiteY459" fmla="*/ 1295879 h 2708746"/>
                <a:gd name="connsiteX460" fmla="*/ 435216 w 5428023"/>
                <a:gd name="connsiteY460" fmla="*/ 1294864 h 2708746"/>
                <a:gd name="connsiteX461" fmla="*/ 438642 w 5428023"/>
                <a:gd name="connsiteY461" fmla="*/ 1294864 h 2708746"/>
                <a:gd name="connsiteX462" fmla="*/ 438642 w 5428023"/>
                <a:gd name="connsiteY462" fmla="*/ 1300574 h 2708746"/>
                <a:gd name="connsiteX463" fmla="*/ 437120 w 5428023"/>
                <a:gd name="connsiteY463" fmla="*/ 1299432 h 2708746"/>
                <a:gd name="connsiteX464" fmla="*/ 442449 w 5428023"/>
                <a:gd name="connsiteY464" fmla="*/ 1299432 h 2708746"/>
                <a:gd name="connsiteX465" fmla="*/ 442449 w 5428023"/>
                <a:gd name="connsiteY465" fmla="*/ 1319226 h 2708746"/>
                <a:gd name="connsiteX466" fmla="*/ 440926 w 5428023"/>
                <a:gd name="connsiteY466" fmla="*/ 1318211 h 2708746"/>
                <a:gd name="connsiteX467" fmla="*/ 444479 w 5428023"/>
                <a:gd name="connsiteY467" fmla="*/ 1318211 h 2708746"/>
                <a:gd name="connsiteX468" fmla="*/ 444479 w 5428023"/>
                <a:gd name="connsiteY468" fmla="*/ 1323921 h 2708746"/>
                <a:gd name="connsiteX469" fmla="*/ 442956 w 5428023"/>
                <a:gd name="connsiteY469" fmla="*/ 1322779 h 2708746"/>
                <a:gd name="connsiteX470" fmla="*/ 446382 w 5428023"/>
                <a:gd name="connsiteY470" fmla="*/ 1322779 h 2708746"/>
                <a:gd name="connsiteX471" fmla="*/ 446382 w 5428023"/>
                <a:gd name="connsiteY471" fmla="*/ 1328615 h 2708746"/>
                <a:gd name="connsiteX472" fmla="*/ 444860 w 5428023"/>
                <a:gd name="connsiteY472" fmla="*/ 1327474 h 2708746"/>
                <a:gd name="connsiteX473" fmla="*/ 448286 w 5428023"/>
                <a:gd name="connsiteY473" fmla="*/ 1327474 h 2708746"/>
                <a:gd name="connsiteX474" fmla="*/ 448286 w 5428023"/>
                <a:gd name="connsiteY474" fmla="*/ 1342573 h 2708746"/>
                <a:gd name="connsiteX475" fmla="*/ 446763 w 5428023"/>
                <a:gd name="connsiteY475" fmla="*/ 1341558 h 2708746"/>
                <a:gd name="connsiteX476" fmla="*/ 450570 w 5428023"/>
                <a:gd name="connsiteY476" fmla="*/ 1341558 h 2708746"/>
                <a:gd name="connsiteX477" fmla="*/ 456026 w 5428023"/>
                <a:gd name="connsiteY477" fmla="*/ 1341558 h 2708746"/>
                <a:gd name="connsiteX478" fmla="*/ 456026 w 5428023"/>
                <a:gd name="connsiteY478" fmla="*/ 1347268 h 2708746"/>
                <a:gd name="connsiteX479" fmla="*/ 454503 w 5428023"/>
                <a:gd name="connsiteY479" fmla="*/ 1346126 h 2708746"/>
                <a:gd name="connsiteX480" fmla="*/ 457929 w 5428023"/>
                <a:gd name="connsiteY480" fmla="*/ 1346126 h 2708746"/>
                <a:gd name="connsiteX481" fmla="*/ 457929 w 5428023"/>
                <a:gd name="connsiteY481" fmla="*/ 1356784 h 2708746"/>
                <a:gd name="connsiteX482" fmla="*/ 456406 w 5428023"/>
                <a:gd name="connsiteY482" fmla="*/ 1355642 h 2708746"/>
                <a:gd name="connsiteX483" fmla="*/ 459832 w 5428023"/>
                <a:gd name="connsiteY483" fmla="*/ 1355642 h 2708746"/>
                <a:gd name="connsiteX484" fmla="*/ 459832 w 5428023"/>
                <a:gd name="connsiteY484" fmla="*/ 1366047 h 2708746"/>
                <a:gd name="connsiteX485" fmla="*/ 458310 w 5428023"/>
                <a:gd name="connsiteY485" fmla="*/ 1364905 h 2708746"/>
                <a:gd name="connsiteX486" fmla="*/ 463766 w 5428023"/>
                <a:gd name="connsiteY486" fmla="*/ 1364905 h 2708746"/>
                <a:gd name="connsiteX487" fmla="*/ 463766 w 5428023"/>
                <a:gd name="connsiteY487" fmla="*/ 1380131 h 2708746"/>
                <a:gd name="connsiteX488" fmla="*/ 462243 w 5428023"/>
                <a:gd name="connsiteY488" fmla="*/ 1378989 h 2708746"/>
                <a:gd name="connsiteX489" fmla="*/ 465669 w 5428023"/>
                <a:gd name="connsiteY489" fmla="*/ 1378989 h 2708746"/>
                <a:gd name="connsiteX490" fmla="*/ 465669 w 5428023"/>
                <a:gd name="connsiteY490" fmla="*/ 1384826 h 2708746"/>
                <a:gd name="connsiteX491" fmla="*/ 464146 w 5428023"/>
                <a:gd name="connsiteY491" fmla="*/ 1383684 h 2708746"/>
                <a:gd name="connsiteX492" fmla="*/ 469475 w 5428023"/>
                <a:gd name="connsiteY492" fmla="*/ 1383684 h 2708746"/>
                <a:gd name="connsiteX493" fmla="*/ 469475 w 5428023"/>
                <a:gd name="connsiteY493" fmla="*/ 1389520 h 2708746"/>
                <a:gd name="connsiteX494" fmla="*/ 467953 w 5428023"/>
                <a:gd name="connsiteY494" fmla="*/ 1388378 h 2708746"/>
                <a:gd name="connsiteX495" fmla="*/ 471506 w 5428023"/>
                <a:gd name="connsiteY495" fmla="*/ 1388378 h 2708746"/>
                <a:gd name="connsiteX496" fmla="*/ 471506 w 5428023"/>
                <a:gd name="connsiteY496" fmla="*/ 1394215 h 2708746"/>
                <a:gd name="connsiteX497" fmla="*/ 469983 w 5428023"/>
                <a:gd name="connsiteY497" fmla="*/ 1393073 h 2708746"/>
                <a:gd name="connsiteX498" fmla="*/ 473409 w 5428023"/>
                <a:gd name="connsiteY498" fmla="*/ 1393073 h 2708746"/>
                <a:gd name="connsiteX499" fmla="*/ 473409 w 5428023"/>
                <a:gd name="connsiteY499" fmla="*/ 1403605 h 2708746"/>
                <a:gd name="connsiteX500" fmla="*/ 471886 w 5428023"/>
                <a:gd name="connsiteY500" fmla="*/ 1402463 h 2708746"/>
                <a:gd name="connsiteX501" fmla="*/ 475439 w 5428023"/>
                <a:gd name="connsiteY501" fmla="*/ 1402463 h 2708746"/>
                <a:gd name="connsiteX502" fmla="*/ 475439 w 5428023"/>
                <a:gd name="connsiteY502" fmla="*/ 1427078 h 2708746"/>
                <a:gd name="connsiteX503" fmla="*/ 473916 w 5428023"/>
                <a:gd name="connsiteY503" fmla="*/ 1425936 h 2708746"/>
                <a:gd name="connsiteX504" fmla="*/ 477342 w 5428023"/>
                <a:gd name="connsiteY504" fmla="*/ 1425936 h 2708746"/>
                <a:gd name="connsiteX505" fmla="*/ 477342 w 5428023"/>
                <a:gd name="connsiteY505" fmla="*/ 1431646 h 2708746"/>
                <a:gd name="connsiteX506" fmla="*/ 475820 w 5428023"/>
                <a:gd name="connsiteY506" fmla="*/ 1430631 h 2708746"/>
                <a:gd name="connsiteX507" fmla="*/ 479246 w 5428023"/>
                <a:gd name="connsiteY507" fmla="*/ 1430631 h 2708746"/>
                <a:gd name="connsiteX508" fmla="*/ 479246 w 5428023"/>
                <a:gd name="connsiteY508" fmla="*/ 1441163 h 2708746"/>
                <a:gd name="connsiteX509" fmla="*/ 477723 w 5428023"/>
                <a:gd name="connsiteY509" fmla="*/ 1440021 h 2708746"/>
                <a:gd name="connsiteX510" fmla="*/ 483179 w 5428023"/>
                <a:gd name="connsiteY510" fmla="*/ 1440021 h 2708746"/>
                <a:gd name="connsiteX511" fmla="*/ 483179 w 5428023"/>
                <a:gd name="connsiteY511" fmla="*/ 1450425 h 2708746"/>
                <a:gd name="connsiteX512" fmla="*/ 481656 w 5428023"/>
                <a:gd name="connsiteY512" fmla="*/ 1449410 h 2708746"/>
                <a:gd name="connsiteX513" fmla="*/ 485082 w 5428023"/>
                <a:gd name="connsiteY513" fmla="*/ 1449410 h 2708746"/>
                <a:gd name="connsiteX514" fmla="*/ 485082 w 5428023"/>
                <a:gd name="connsiteY514" fmla="*/ 1455120 h 2708746"/>
                <a:gd name="connsiteX515" fmla="*/ 483560 w 5428023"/>
                <a:gd name="connsiteY515" fmla="*/ 1453978 h 2708746"/>
                <a:gd name="connsiteX516" fmla="*/ 486986 w 5428023"/>
                <a:gd name="connsiteY516" fmla="*/ 1453978 h 2708746"/>
                <a:gd name="connsiteX517" fmla="*/ 486986 w 5428023"/>
                <a:gd name="connsiteY517" fmla="*/ 1459815 h 2708746"/>
                <a:gd name="connsiteX518" fmla="*/ 485463 w 5428023"/>
                <a:gd name="connsiteY518" fmla="*/ 1458673 h 2708746"/>
                <a:gd name="connsiteX519" fmla="*/ 488889 w 5428023"/>
                <a:gd name="connsiteY519" fmla="*/ 1458673 h 2708746"/>
                <a:gd name="connsiteX520" fmla="*/ 488889 w 5428023"/>
                <a:gd name="connsiteY520" fmla="*/ 1469204 h 2708746"/>
                <a:gd name="connsiteX521" fmla="*/ 487366 w 5428023"/>
                <a:gd name="connsiteY521" fmla="*/ 1468189 h 2708746"/>
                <a:gd name="connsiteX522" fmla="*/ 490919 w 5428023"/>
                <a:gd name="connsiteY522" fmla="*/ 1468189 h 2708746"/>
                <a:gd name="connsiteX523" fmla="*/ 490919 w 5428023"/>
                <a:gd name="connsiteY523" fmla="*/ 1473899 h 2708746"/>
                <a:gd name="connsiteX524" fmla="*/ 489396 w 5428023"/>
                <a:gd name="connsiteY524" fmla="*/ 1472757 h 2708746"/>
                <a:gd name="connsiteX525" fmla="*/ 492822 w 5428023"/>
                <a:gd name="connsiteY525" fmla="*/ 1472757 h 2708746"/>
                <a:gd name="connsiteX526" fmla="*/ 492822 w 5428023"/>
                <a:gd name="connsiteY526" fmla="*/ 1478594 h 2708746"/>
                <a:gd name="connsiteX527" fmla="*/ 491300 w 5428023"/>
                <a:gd name="connsiteY527" fmla="*/ 1477452 h 2708746"/>
                <a:gd name="connsiteX528" fmla="*/ 494726 w 5428023"/>
                <a:gd name="connsiteY528" fmla="*/ 1477452 h 2708746"/>
                <a:gd name="connsiteX529" fmla="*/ 494726 w 5428023"/>
                <a:gd name="connsiteY529" fmla="*/ 1487983 h 2708746"/>
                <a:gd name="connsiteX530" fmla="*/ 493203 w 5428023"/>
                <a:gd name="connsiteY530" fmla="*/ 1486841 h 2708746"/>
                <a:gd name="connsiteX531" fmla="*/ 499040 w 5428023"/>
                <a:gd name="connsiteY531" fmla="*/ 1486841 h 2708746"/>
                <a:gd name="connsiteX532" fmla="*/ 504369 w 5428023"/>
                <a:gd name="connsiteY532" fmla="*/ 1486841 h 2708746"/>
                <a:gd name="connsiteX533" fmla="*/ 504369 w 5428023"/>
                <a:gd name="connsiteY533" fmla="*/ 1492678 h 2708746"/>
                <a:gd name="connsiteX534" fmla="*/ 502846 w 5428023"/>
                <a:gd name="connsiteY534" fmla="*/ 1491536 h 2708746"/>
                <a:gd name="connsiteX535" fmla="*/ 506272 w 5428023"/>
                <a:gd name="connsiteY535" fmla="*/ 1491536 h 2708746"/>
                <a:gd name="connsiteX536" fmla="*/ 506272 w 5428023"/>
                <a:gd name="connsiteY536" fmla="*/ 1497500 h 2708746"/>
                <a:gd name="connsiteX537" fmla="*/ 504750 w 5428023"/>
                <a:gd name="connsiteY537" fmla="*/ 1496358 h 2708746"/>
                <a:gd name="connsiteX538" fmla="*/ 514012 w 5428023"/>
                <a:gd name="connsiteY538" fmla="*/ 1496358 h 2708746"/>
                <a:gd name="connsiteX539" fmla="*/ 514012 w 5428023"/>
                <a:gd name="connsiteY539" fmla="*/ 1502068 h 2708746"/>
                <a:gd name="connsiteX540" fmla="*/ 512490 w 5428023"/>
                <a:gd name="connsiteY540" fmla="*/ 1501053 h 2708746"/>
                <a:gd name="connsiteX541" fmla="*/ 517819 w 5428023"/>
                <a:gd name="connsiteY541" fmla="*/ 1501053 h 2708746"/>
                <a:gd name="connsiteX542" fmla="*/ 517819 w 5428023"/>
                <a:gd name="connsiteY542" fmla="*/ 1506889 h 2708746"/>
                <a:gd name="connsiteX543" fmla="*/ 516296 w 5428023"/>
                <a:gd name="connsiteY543" fmla="*/ 1505747 h 2708746"/>
                <a:gd name="connsiteX544" fmla="*/ 525686 w 5428023"/>
                <a:gd name="connsiteY544" fmla="*/ 1505747 h 2708746"/>
                <a:gd name="connsiteX545" fmla="*/ 525686 w 5428023"/>
                <a:gd name="connsiteY545" fmla="*/ 1520974 h 2708746"/>
                <a:gd name="connsiteX546" fmla="*/ 524163 w 5428023"/>
                <a:gd name="connsiteY546" fmla="*/ 1519832 h 2708746"/>
                <a:gd name="connsiteX547" fmla="*/ 527716 w 5428023"/>
                <a:gd name="connsiteY547" fmla="*/ 1519832 h 2708746"/>
                <a:gd name="connsiteX548" fmla="*/ 527716 w 5428023"/>
                <a:gd name="connsiteY548" fmla="*/ 1525795 h 2708746"/>
                <a:gd name="connsiteX549" fmla="*/ 526193 w 5428023"/>
                <a:gd name="connsiteY549" fmla="*/ 1524653 h 2708746"/>
                <a:gd name="connsiteX550" fmla="*/ 530000 w 5428023"/>
                <a:gd name="connsiteY550" fmla="*/ 1524653 h 2708746"/>
                <a:gd name="connsiteX551" fmla="*/ 535329 w 5428023"/>
                <a:gd name="connsiteY551" fmla="*/ 1524653 h 2708746"/>
                <a:gd name="connsiteX552" fmla="*/ 535329 w 5428023"/>
                <a:gd name="connsiteY552" fmla="*/ 1530490 h 2708746"/>
                <a:gd name="connsiteX553" fmla="*/ 533806 w 5428023"/>
                <a:gd name="connsiteY553" fmla="*/ 1529348 h 2708746"/>
                <a:gd name="connsiteX554" fmla="*/ 541166 w 5428023"/>
                <a:gd name="connsiteY554" fmla="*/ 1529348 h 2708746"/>
                <a:gd name="connsiteX555" fmla="*/ 541166 w 5428023"/>
                <a:gd name="connsiteY555" fmla="*/ 1535185 h 2708746"/>
                <a:gd name="connsiteX556" fmla="*/ 539643 w 5428023"/>
                <a:gd name="connsiteY556" fmla="*/ 1534043 h 2708746"/>
                <a:gd name="connsiteX557" fmla="*/ 543069 w 5428023"/>
                <a:gd name="connsiteY557" fmla="*/ 1534043 h 2708746"/>
                <a:gd name="connsiteX558" fmla="*/ 543069 w 5428023"/>
                <a:gd name="connsiteY558" fmla="*/ 1539879 h 2708746"/>
                <a:gd name="connsiteX559" fmla="*/ 541546 w 5428023"/>
                <a:gd name="connsiteY559" fmla="*/ 1538864 h 2708746"/>
                <a:gd name="connsiteX560" fmla="*/ 544972 w 5428023"/>
                <a:gd name="connsiteY560" fmla="*/ 1538864 h 2708746"/>
                <a:gd name="connsiteX561" fmla="*/ 544972 w 5428023"/>
                <a:gd name="connsiteY561" fmla="*/ 1544701 h 2708746"/>
                <a:gd name="connsiteX562" fmla="*/ 543450 w 5428023"/>
                <a:gd name="connsiteY562" fmla="*/ 1543559 h 2708746"/>
                <a:gd name="connsiteX563" fmla="*/ 556646 w 5428023"/>
                <a:gd name="connsiteY563" fmla="*/ 1543559 h 2708746"/>
                <a:gd name="connsiteX564" fmla="*/ 556646 w 5428023"/>
                <a:gd name="connsiteY564" fmla="*/ 1549396 h 2708746"/>
                <a:gd name="connsiteX565" fmla="*/ 555123 w 5428023"/>
                <a:gd name="connsiteY565" fmla="*/ 1548254 h 2708746"/>
                <a:gd name="connsiteX566" fmla="*/ 558549 w 5428023"/>
                <a:gd name="connsiteY566" fmla="*/ 1548254 h 2708746"/>
                <a:gd name="connsiteX567" fmla="*/ 558549 w 5428023"/>
                <a:gd name="connsiteY567" fmla="*/ 1554091 h 2708746"/>
                <a:gd name="connsiteX568" fmla="*/ 557026 w 5428023"/>
                <a:gd name="connsiteY568" fmla="*/ 1552949 h 2708746"/>
                <a:gd name="connsiteX569" fmla="*/ 560452 w 5428023"/>
                <a:gd name="connsiteY569" fmla="*/ 1552949 h 2708746"/>
                <a:gd name="connsiteX570" fmla="*/ 560452 w 5428023"/>
                <a:gd name="connsiteY570" fmla="*/ 1558912 h 2708746"/>
                <a:gd name="connsiteX571" fmla="*/ 558930 w 5428023"/>
                <a:gd name="connsiteY571" fmla="*/ 1557770 h 2708746"/>
                <a:gd name="connsiteX572" fmla="*/ 566289 w 5428023"/>
                <a:gd name="connsiteY572" fmla="*/ 1557770 h 2708746"/>
                <a:gd name="connsiteX573" fmla="*/ 566289 w 5428023"/>
                <a:gd name="connsiteY573" fmla="*/ 1563607 h 2708746"/>
                <a:gd name="connsiteX574" fmla="*/ 564766 w 5428023"/>
                <a:gd name="connsiteY574" fmla="*/ 1562592 h 2708746"/>
                <a:gd name="connsiteX575" fmla="*/ 570222 w 5428023"/>
                <a:gd name="connsiteY575" fmla="*/ 1562592 h 2708746"/>
                <a:gd name="connsiteX576" fmla="*/ 570222 w 5428023"/>
                <a:gd name="connsiteY576" fmla="*/ 1568302 h 2708746"/>
                <a:gd name="connsiteX577" fmla="*/ 568573 w 5428023"/>
                <a:gd name="connsiteY577" fmla="*/ 1567160 h 2708746"/>
                <a:gd name="connsiteX578" fmla="*/ 572126 w 5428023"/>
                <a:gd name="connsiteY578" fmla="*/ 1567160 h 2708746"/>
                <a:gd name="connsiteX579" fmla="*/ 572126 w 5428023"/>
                <a:gd name="connsiteY579" fmla="*/ 1573123 h 2708746"/>
                <a:gd name="connsiteX580" fmla="*/ 570603 w 5428023"/>
                <a:gd name="connsiteY580" fmla="*/ 1571981 h 2708746"/>
                <a:gd name="connsiteX581" fmla="*/ 574029 w 5428023"/>
                <a:gd name="connsiteY581" fmla="*/ 1571981 h 2708746"/>
                <a:gd name="connsiteX582" fmla="*/ 574029 w 5428023"/>
                <a:gd name="connsiteY582" fmla="*/ 1582513 h 2708746"/>
                <a:gd name="connsiteX583" fmla="*/ 572506 w 5428023"/>
                <a:gd name="connsiteY583" fmla="*/ 1581371 h 2708746"/>
                <a:gd name="connsiteX584" fmla="*/ 576059 w 5428023"/>
                <a:gd name="connsiteY584" fmla="*/ 1581371 h 2708746"/>
                <a:gd name="connsiteX585" fmla="*/ 576059 w 5428023"/>
                <a:gd name="connsiteY585" fmla="*/ 1592029 h 2708746"/>
                <a:gd name="connsiteX586" fmla="*/ 574536 w 5428023"/>
                <a:gd name="connsiteY586" fmla="*/ 1590887 h 2708746"/>
                <a:gd name="connsiteX587" fmla="*/ 579866 w 5428023"/>
                <a:gd name="connsiteY587" fmla="*/ 1590887 h 2708746"/>
                <a:gd name="connsiteX588" fmla="*/ 579866 w 5428023"/>
                <a:gd name="connsiteY588" fmla="*/ 1596724 h 2708746"/>
                <a:gd name="connsiteX589" fmla="*/ 578343 w 5428023"/>
                <a:gd name="connsiteY589" fmla="*/ 1595582 h 2708746"/>
                <a:gd name="connsiteX590" fmla="*/ 585702 w 5428023"/>
                <a:gd name="connsiteY590" fmla="*/ 1595582 h 2708746"/>
                <a:gd name="connsiteX591" fmla="*/ 585702 w 5428023"/>
                <a:gd name="connsiteY591" fmla="*/ 1601419 h 2708746"/>
                <a:gd name="connsiteX592" fmla="*/ 584180 w 5428023"/>
                <a:gd name="connsiteY592" fmla="*/ 1600404 h 2708746"/>
                <a:gd name="connsiteX593" fmla="*/ 587606 w 5428023"/>
                <a:gd name="connsiteY593" fmla="*/ 1600404 h 2708746"/>
                <a:gd name="connsiteX594" fmla="*/ 587606 w 5428023"/>
                <a:gd name="connsiteY594" fmla="*/ 1606240 h 2708746"/>
                <a:gd name="connsiteX595" fmla="*/ 586083 w 5428023"/>
                <a:gd name="connsiteY595" fmla="*/ 1605099 h 2708746"/>
                <a:gd name="connsiteX596" fmla="*/ 589509 w 5428023"/>
                <a:gd name="connsiteY596" fmla="*/ 1605099 h 2708746"/>
                <a:gd name="connsiteX597" fmla="*/ 589509 w 5428023"/>
                <a:gd name="connsiteY597" fmla="*/ 1611062 h 2708746"/>
                <a:gd name="connsiteX598" fmla="*/ 587986 w 5428023"/>
                <a:gd name="connsiteY598" fmla="*/ 1609920 h 2708746"/>
                <a:gd name="connsiteX599" fmla="*/ 591412 w 5428023"/>
                <a:gd name="connsiteY599" fmla="*/ 1609920 h 2708746"/>
                <a:gd name="connsiteX600" fmla="*/ 591412 w 5428023"/>
                <a:gd name="connsiteY600" fmla="*/ 1615630 h 2708746"/>
                <a:gd name="connsiteX601" fmla="*/ 589890 w 5428023"/>
                <a:gd name="connsiteY601" fmla="*/ 1614488 h 2708746"/>
                <a:gd name="connsiteX602" fmla="*/ 595346 w 5428023"/>
                <a:gd name="connsiteY602" fmla="*/ 1614488 h 2708746"/>
                <a:gd name="connsiteX603" fmla="*/ 595346 w 5428023"/>
                <a:gd name="connsiteY603" fmla="*/ 1620452 h 2708746"/>
                <a:gd name="connsiteX604" fmla="*/ 593823 w 5428023"/>
                <a:gd name="connsiteY604" fmla="*/ 1619310 h 2708746"/>
                <a:gd name="connsiteX605" fmla="*/ 597249 w 5428023"/>
                <a:gd name="connsiteY605" fmla="*/ 1619310 h 2708746"/>
                <a:gd name="connsiteX606" fmla="*/ 597249 w 5428023"/>
                <a:gd name="connsiteY606" fmla="*/ 1629841 h 2708746"/>
                <a:gd name="connsiteX607" fmla="*/ 595726 w 5428023"/>
                <a:gd name="connsiteY607" fmla="*/ 1628699 h 2708746"/>
                <a:gd name="connsiteX608" fmla="*/ 599152 w 5428023"/>
                <a:gd name="connsiteY608" fmla="*/ 1628699 h 2708746"/>
                <a:gd name="connsiteX609" fmla="*/ 599152 w 5428023"/>
                <a:gd name="connsiteY609" fmla="*/ 1634663 h 2708746"/>
                <a:gd name="connsiteX610" fmla="*/ 597629 w 5428023"/>
                <a:gd name="connsiteY610" fmla="*/ 1633521 h 2708746"/>
                <a:gd name="connsiteX611" fmla="*/ 601055 w 5428023"/>
                <a:gd name="connsiteY611" fmla="*/ 1633521 h 2708746"/>
                <a:gd name="connsiteX612" fmla="*/ 601055 w 5428023"/>
                <a:gd name="connsiteY612" fmla="*/ 1639357 h 2708746"/>
                <a:gd name="connsiteX613" fmla="*/ 599533 w 5428023"/>
                <a:gd name="connsiteY613" fmla="*/ 1638215 h 2708746"/>
                <a:gd name="connsiteX614" fmla="*/ 603086 w 5428023"/>
                <a:gd name="connsiteY614" fmla="*/ 1638215 h 2708746"/>
                <a:gd name="connsiteX615" fmla="*/ 603086 w 5428023"/>
                <a:gd name="connsiteY615" fmla="*/ 1648874 h 2708746"/>
                <a:gd name="connsiteX616" fmla="*/ 601563 w 5428023"/>
                <a:gd name="connsiteY616" fmla="*/ 1647732 h 2708746"/>
                <a:gd name="connsiteX617" fmla="*/ 608795 w 5428023"/>
                <a:gd name="connsiteY617" fmla="*/ 1647732 h 2708746"/>
                <a:gd name="connsiteX618" fmla="*/ 608795 w 5428023"/>
                <a:gd name="connsiteY618" fmla="*/ 1653569 h 2708746"/>
                <a:gd name="connsiteX619" fmla="*/ 607273 w 5428023"/>
                <a:gd name="connsiteY619" fmla="*/ 1652427 h 2708746"/>
                <a:gd name="connsiteX620" fmla="*/ 612729 w 5428023"/>
                <a:gd name="connsiteY620" fmla="*/ 1652427 h 2708746"/>
                <a:gd name="connsiteX621" fmla="*/ 612729 w 5428023"/>
                <a:gd name="connsiteY621" fmla="*/ 1662958 h 2708746"/>
                <a:gd name="connsiteX622" fmla="*/ 611206 w 5428023"/>
                <a:gd name="connsiteY622" fmla="*/ 1661943 h 2708746"/>
                <a:gd name="connsiteX623" fmla="*/ 614632 w 5428023"/>
                <a:gd name="connsiteY623" fmla="*/ 1661943 h 2708746"/>
                <a:gd name="connsiteX624" fmla="*/ 614632 w 5428023"/>
                <a:gd name="connsiteY624" fmla="*/ 1667780 h 2708746"/>
                <a:gd name="connsiteX625" fmla="*/ 613109 w 5428023"/>
                <a:gd name="connsiteY625" fmla="*/ 1666638 h 2708746"/>
                <a:gd name="connsiteX626" fmla="*/ 624402 w 5428023"/>
                <a:gd name="connsiteY626" fmla="*/ 1666638 h 2708746"/>
                <a:gd name="connsiteX627" fmla="*/ 624402 w 5428023"/>
                <a:gd name="connsiteY627" fmla="*/ 1677169 h 2708746"/>
                <a:gd name="connsiteX628" fmla="*/ 622880 w 5428023"/>
                <a:gd name="connsiteY628" fmla="*/ 1676027 h 2708746"/>
                <a:gd name="connsiteX629" fmla="*/ 634046 w 5428023"/>
                <a:gd name="connsiteY629" fmla="*/ 1676027 h 2708746"/>
                <a:gd name="connsiteX630" fmla="*/ 634046 w 5428023"/>
                <a:gd name="connsiteY630" fmla="*/ 1686686 h 2708746"/>
                <a:gd name="connsiteX631" fmla="*/ 632523 w 5428023"/>
                <a:gd name="connsiteY631" fmla="*/ 1685671 h 2708746"/>
                <a:gd name="connsiteX632" fmla="*/ 637852 w 5428023"/>
                <a:gd name="connsiteY632" fmla="*/ 1685671 h 2708746"/>
                <a:gd name="connsiteX633" fmla="*/ 637852 w 5428023"/>
                <a:gd name="connsiteY633" fmla="*/ 1691507 h 2708746"/>
                <a:gd name="connsiteX634" fmla="*/ 636330 w 5428023"/>
                <a:gd name="connsiteY634" fmla="*/ 1690365 h 2708746"/>
                <a:gd name="connsiteX635" fmla="*/ 647495 w 5428023"/>
                <a:gd name="connsiteY635" fmla="*/ 1690365 h 2708746"/>
                <a:gd name="connsiteX636" fmla="*/ 647495 w 5428023"/>
                <a:gd name="connsiteY636" fmla="*/ 1696202 h 2708746"/>
                <a:gd name="connsiteX637" fmla="*/ 645973 w 5428023"/>
                <a:gd name="connsiteY637" fmla="*/ 1695187 h 2708746"/>
                <a:gd name="connsiteX638" fmla="*/ 649526 w 5428023"/>
                <a:gd name="connsiteY638" fmla="*/ 1695187 h 2708746"/>
                <a:gd name="connsiteX639" fmla="*/ 649526 w 5428023"/>
                <a:gd name="connsiteY639" fmla="*/ 1700897 h 2708746"/>
                <a:gd name="connsiteX640" fmla="*/ 648003 w 5428023"/>
                <a:gd name="connsiteY640" fmla="*/ 1699755 h 2708746"/>
                <a:gd name="connsiteX641" fmla="*/ 653332 w 5428023"/>
                <a:gd name="connsiteY641" fmla="*/ 1699755 h 2708746"/>
                <a:gd name="connsiteX642" fmla="*/ 653332 w 5428023"/>
                <a:gd name="connsiteY642" fmla="*/ 1715235 h 2708746"/>
                <a:gd name="connsiteX643" fmla="*/ 651810 w 5428023"/>
                <a:gd name="connsiteY643" fmla="*/ 1714093 h 2708746"/>
                <a:gd name="connsiteX644" fmla="*/ 655235 w 5428023"/>
                <a:gd name="connsiteY644" fmla="*/ 1714093 h 2708746"/>
                <a:gd name="connsiteX645" fmla="*/ 655235 w 5428023"/>
                <a:gd name="connsiteY645" fmla="*/ 1719930 h 2708746"/>
                <a:gd name="connsiteX646" fmla="*/ 653713 w 5428023"/>
                <a:gd name="connsiteY646" fmla="*/ 1718914 h 2708746"/>
                <a:gd name="connsiteX647" fmla="*/ 661072 w 5428023"/>
                <a:gd name="connsiteY647" fmla="*/ 1718914 h 2708746"/>
                <a:gd name="connsiteX648" fmla="*/ 661072 w 5428023"/>
                <a:gd name="connsiteY648" fmla="*/ 1724751 h 2708746"/>
                <a:gd name="connsiteX649" fmla="*/ 659550 w 5428023"/>
                <a:gd name="connsiteY649" fmla="*/ 1723609 h 2708746"/>
                <a:gd name="connsiteX650" fmla="*/ 665259 w 5428023"/>
                <a:gd name="connsiteY650" fmla="*/ 1723609 h 2708746"/>
                <a:gd name="connsiteX651" fmla="*/ 668939 w 5428023"/>
                <a:gd name="connsiteY651" fmla="*/ 1723609 h 2708746"/>
                <a:gd name="connsiteX652" fmla="*/ 668939 w 5428023"/>
                <a:gd name="connsiteY652" fmla="*/ 1729573 h 2708746"/>
                <a:gd name="connsiteX653" fmla="*/ 667416 w 5428023"/>
                <a:gd name="connsiteY653" fmla="*/ 1728431 h 2708746"/>
                <a:gd name="connsiteX654" fmla="*/ 670842 w 5428023"/>
                <a:gd name="connsiteY654" fmla="*/ 1728431 h 2708746"/>
                <a:gd name="connsiteX655" fmla="*/ 670842 w 5428023"/>
                <a:gd name="connsiteY655" fmla="*/ 1743911 h 2708746"/>
                <a:gd name="connsiteX656" fmla="*/ 669320 w 5428023"/>
                <a:gd name="connsiteY656" fmla="*/ 1742769 h 2708746"/>
                <a:gd name="connsiteX657" fmla="*/ 672746 w 5428023"/>
                <a:gd name="connsiteY657" fmla="*/ 1742769 h 2708746"/>
                <a:gd name="connsiteX658" fmla="*/ 672746 w 5428023"/>
                <a:gd name="connsiteY658" fmla="*/ 1753554 h 2708746"/>
                <a:gd name="connsiteX659" fmla="*/ 671223 w 5428023"/>
                <a:gd name="connsiteY659" fmla="*/ 1752412 h 2708746"/>
                <a:gd name="connsiteX660" fmla="*/ 676552 w 5428023"/>
                <a:gd name="connsiteY660" fmla="*/ 1752412 h 2708746"/>
                <a:gd name="connsiteX661" fmla="*/ 676552 w 5428023"/>
                <a:gd name="connsiteY661" fmla="*/ 1758249 h 2708746"/>
                <a:gd name="connsiteX662" fmla="*/ 675030 w 5428023"/>
                <a:gd name="connsiteY662" fmla="*/ 1757107 h 2708746"/>
                <a:gd name="connsiteX663" fmla="*/ 678582 w 5428023"/>
                <a:gd name="connsiteY663" fmla="*/ 1757107 h 2708746"/>
                <a:gd name="connsiteX664" fmla="*/ 678582 w 5428023"/>
                <a:gd name="connsiteY664" fmla="*/ 1763071 h 2708746"/>
                <a:gd name="connsiteX665" fmla="*/ 677060 w 5428023"/>
                <a:gd name="connsiteY665" fmla="*/ 1762056 h 2708746"/>
                <a:gd name="connsiteX666" fmla="*/ 688226 w 5428023"/>
                <a:gd name="connsiteY666" fmla="*/ 1762056 h 2708746"/>
                <a:gd name="connsiteX667" fmla="*/ 688226 w 5428023"/>
                <a:gd name="connsiteY667" fmla="*/ 1767892 h 2708746"/>
                <a:gd name="connsiteX668" fmla="*/ 686703 w 5428023"/>
                <a:gd name="connsiteY668" fmla="*/ 1766750 h 2708746"/>
                <a:gd name="connsiteX669" fmla="*/ 697869 w 5428023"/>
                <a:gd name="connsiteY669" fmla="*/ 1766750 h 2708746"/>
                <a:gd name="connsiteX670" fmla="*/ 697869 w 5428023"/>
                <a:gd name="connsiteY670" fmla="*/ 1772587 h 2708746"/>
                <a:gd name="connsiteX671" fmla="*/ 696346 w 5428023"/>
                <a:gd name="connsiteY671" fmla="*/ 1771572 h 2708746"/>
                <a:gd name="connsiteX672" fmla="*/ 707512 w 5428023"/>
                <a:gd name="connsiteY672" fmla="*/ 1771572 h 2708746"/>
                <a:gd name="connsiteX673" fmla="*/ 707512 w 5428023"/>
                <a:gd name="connsiteY673" fmla="*/ 1777409 h 2708746"/>
                <a:gd name="connsiteX674" fmla="*/ 705989 w 5428023"/>
                <a:gd name="connsiteY674" fmla="*/ 1776267 h 2708746"/>
                <a:gd name="connsiteX675" fmla="*/ 709415 w 5428023"/>
                <a:gd name="connsiteY675" fmla="*/ 1776267 h 2708746"/>
                <a:gd name="connsiteX676" fmla="*/ 709415 w 5428023"/>
                <a:gd name="connsiteY676" fmla="*/ 1787052 h 2708746"/>
                <a:gd name="connsiteX677" fmla="*/ 707893 w 5428023"/>
                <a:gd name="connsiteY677" fmla="*/ 1785910 h 2708746"/>
                <a:gd name="connsiteX678" fmla="*/ 715379 w 5428023"/>
                <a:gd name="connsiteY678" fmla="*/ 1785910 h 2708746"/>
                <a:gd name="connsiteX679" fmla="*/ 715379 w 5428023"/>
                <a:gd name="connsiteY679" fmla="*/ 1791873 h 2708746"/>
                <a:gd name="connsiteX680" fmla="*/ 713729 w 5428023"/>
                <a:gd name="connsiteY680" fmla="*/ 1790731 h 2708746"/>
                <a:gd name="connsiteX681" fmla="*/ 725022 w 5428023"/>
                <a:gd name="connsiteY681" fmla="*/ 1790731 h 2708746"/>
                <a:gd name="connsiteX682" fmla="*/ 725022 w 5428023"/>
                <a:gd name="connsiteY682" fmla="*/ 1796695 h 2708746"/>
                <a:gd name="connsiteX683" fmla="*/ 723500 w 5428023"/>
                <a:gd name="connsiteY683" fmla="*/ 1795553 h 2708746"/>
                <a:gd name="connsiteX684" fmla="*/ 728829 w 5428023"/>
                <a:gd name="connsiteY684" fmla="*/ 1795553 h 2708746"/>
                <a:gd name="connsiteX685" fmla="*/ 728829 w 5428023"/>
                <a:gd name="connsiteY685" fmla="*/ 1801644 h 2708746"/>
                <a:gd name="connsiteX686" fmla="*/ 727306 w 5428023"/>
                <a:gd name="connsiteY686" fmla="*/ 1800502 h 2708746"/>
                <a:gd name="connsiteX687" fmla="*/ 730732 w 5428023"/>
                <a:gd name="connsiteY687" fmla="*/ 1800502 h 2708746"/>
                <a:gd name="connsiteX688" fmla="*/ 730732 w 5428023"/>
                <a:gd name="connsiteY688" fmla="*/ 1806465 h 2708746"/>
                <a:gd name="connsiteX689" fmla="*/ 729210 w 5428023"/>
                <a:gd name="connsiteY689" fmla="*/ 1805323 h 2708746"/>
                <a:gd name="connsiteX690" fmla="*/ 732635 w 5428023"/>
                <a:gd name="connsiteY690" fmla="*/ 1805323 h 2708746"/>
                <a:gd name="connsiteX691" fmla="*/ 732635 w 5428023"/>
                <a:gd name="connsiteY691" fmla="*/ 1811287 h 2708746"/>
                <a:gd name="connsiteX692" fmla="*/ 731113 w 5428023"/>
                <a:gd name="connsiteY692" fmla="*/ 1810145 h 2708746"/>
                <a:gd name="connsiteX693" fmla="*/ 740756 w 5428023"/>
                <a:gd name="connsiteY693" fmla="*/ 1810145 h 2708746"/>
                <a:gd name="connsiteX694" fmla="*/ 748115 w 5428023"/>
                <a:gd name="connsiteY694" fmla="*/ 1810145 h 2708746"/>
                <a:gd name="connsiteX695" fmla="*/ 748115 w 5428023"/>
                <a:gd name="connsiteY695" fmla="*/ 1816109 h 2708746"/>
                <a:gd name="connsiteX696" fmla="*/ 746593 w 5428023"/>
                <a:gd name="connsiteY696" fmla="*/ 1815093 h 2708746"/>
                <a:gd name="connsiteX697" fmla="*/ 750019 w 5428023"/>
                <a:gd name="connsiteY697" fmla="*/ 1815093 h 2708746"/>
                <a:gd name="connsiteX698" fmla="*/ 750019 w 5428023"/>
                <a:gd name="connsiteY698" fmla="*/ 1821057 h 2708746"/>
                <a:gd name="connsiteX699" fmla="*/ 748496 w 5428023"/>
                <a:gd name="connsiteY699" fmla="*/ 1819915 h 2708746"/>
                <a:gd name="connsiteX700" fmla="*/ 755855 w 5428023"/>
                <a:gd name="connsiteY700" fmla="*/ 1819915 h 2708746"/>
                <a:gd name="connsiteX701" fmla="*/ 755855 w 5428023"/>
                <a:gd name="connsiteY701" fmla="*/ 1825879 h 2708746"/>
                <a:gd name="connsiteX702" fmla="*/ 754333 w 5428023"/>
                <a:gd name="connsiteY702" fmla="*/ 1824737 h 2708746"/>
                <a:gd name="connsiteX703" fmla="*/ 759662 w 5428023"/>
                <a:gd name="connsiteY703" fmla="*/ 1824737 h 2708746"/>
                <a:gd name="connsiteX704" fmla="*/ 759662 w 5428023"/>
                <a:gd name="connsiteY704" fmla="*/ 1830700 h 2708746"/>
                <a:gd name="connsiteX705" fmla="*/ 758139 w 5428023"/>
                <a:gd name="connsiteY705" fmla="*/ 1829558 h 2708746"/>
                <a:gd name="connsiteX706" fmla="*/ 761565 w 5428023"/>
                <a:gd name="connsiteY706" fmla="*/ 1829558 h 2708746"/>
                <a:gd name="connsiteX707" fmla="*/ 761565 w 5428023"/>
                <a:gd name="connsiteY707" fmla="*/ 1835649 h 2708746"/>
                <a:gd name="connsiteX708" fmla="*/ 760043 w 5428023"/>
                <a:gd name="connsiteY708" fmla="*/ 1834507 h 2708746"/>
                <a:gd name="connsiteX709" fmla="*/ 764103 w 5428023"/>
                <a:gd name="connsiteY709" fmla="*/ 1834507 h 2708746"/>
                <a:gd name="connsiteX710" fmla="*/ 773746 w 5428023"/>
                <a:gd name="connsiteY710" fmla="*/ 1834507 h 2708746"/>
                <a:gd name="connsiteX711" fmla="*/ 781106 w 5428023"/>
                <a:gd name="connsiteY711" fmla="*/ 1834507 h 2708746"/>
                <a:gd name="connsiteX712" fmla="*/ 781106 w 5428023"/>
                <a:gd name="connsiteY712" fmla="*/ 1840597 h 2708746"/>
                <a:gd name="connsiteX713" fmla="*/ 779583 w 5428023"/>
                <a:gd name="connsiteY713" fmla="*/ 1839455 h 2708746"/>
                <a:gd name="connsiteX714" fmla="*/ 783390 w 5428023"/>
                <a:gd name="connsiteY714" fmla="*/ 1839455 h 2708746"/>
                <a:gd name="connsiteX715" fmla="*/ 786815 w 5428023"/>
                <a:gd name="connsiteY715" fmla="*/ 1839455 h 2708746"/>
                <a:gd name="connsiteX716" fmla="*/ 786815 w 5428023"/>
                <a:gd name="connsiteY716" fmla="*/ 1845546 h 2708746"/>
                <a:gd name="connsiteX717" fmla="*/ 785293 w 5428023"/>
                <a:gd name="connsiteY717" fmla="*/ 1844404 h 2708746"/>
                <a:gd name="connsiteX718" fmla="*/ 790749 w 5428023"/>
                <a:gd name="connsiteY718" fmla="*/ 1844404 h 2708746"/>
                <a:gd name="connsiteX719" fmla="*/ 790749 w 5428023"/>
                <a:gd name="connsiteY719" fmla="*/ 1850495 h 2708746"/>
                <a:gd name="connsiteX720" fmla="*/ 789226 w 5428023"/>
                <a:gd name="connsiteY720" fmla="*/ 1849353 h 2708746"/>
                <a:gd name="connsiteX721" fmla="*/ 793033 w 5428023"/>
                <a:gd name="connsiteY721" fmla="*/ 1849353 h 2708746"/>
                <a:gd name="connsiteX722" fmla="*/ 794936 w 5428023"/>
                <a:gd name="connsiteY722" fmla="*/ 1849353 h 2708746"/>
                <a:gd name="connsiteX723" fmla="*/ 800392 w 5428023"/>
                <a:gd name="connsiteY723" fmla="*/ 1849353 h 2708746"/>
                <a:gd name="connsiteX724" fmla="*/ 800392 w 5428023"/>
                <a:gd name="connsiteY724" fmla="*/ 1855570 h 2708746"/>
                <a:gd name="connsiteX725" fmla="*/ 798869 w 5428023"/>
                <a:gd name="connsiteY725" fmla="*/ 1854428 h 2708746"/>
                <a:gd name="connsiteX726" fmla="*/ 802295 w 5428023"/>
                <a:gd name="connsiteY726" fmla="*/ 1854428 h 2708746"/>
                <a:gd name="connsiteX727" fmla="*/ 802295 w 5428023"/>
                <a:gd name="connsiteY727" fmla="*/ 1865594 h 2708746"/>
                <a:gd name="connsiteX728" fmla="*/ 800773 w 5428023"/>
                <a:gd name="connsiteY728" fmla="*/ 1864579 h 2708746"/>
                <a:gd name="connsiteX729" fmla="*/ 808513 w 5428023"/>
                <a:gd name="connsiteY729" fmla="*/ 1864579 h 2708746"/>
                <a:gd name="connsiteX730" fmla="*/ 815872 w 5428023"/>
                <a:gd name="connsiteY730" fmla="*/ 1864579 h 2708746"/>
                <a:gd name="connsiteX731" fmla="*/ 815872 w 5428023"/>
                <a:gd name="connsiteY731" fmla="*/ 1870796 h 2708746"/>
                <a:gd name="connsiteX732" fmla="*/ 814349 w 5428023"/>
                <a:gd name="connsiteY732" fmla="*/ 1869654 h 2708746"/>
                <a:gd name="connsiteX733" fmla="*/ 827419 w 5428023"/>
                <a:gd name="connsiteY733" fmla="*/ 1869654 h 2708746"/>
                <a:gd name="connsiteX734" fmla="*/ 827419 w 5428023"/>
                <a:gd name="connsiteY734" fmla="*/ 1886149 h 2708746"/>
                <a:gd name="connsiteX735" fmla="*/ 825896 w 5428023"/>
                <a:gd name="connsiteY735" fmla="*/ 1885007 h 2708746"/>
                <a:gd name="connsiteX736" fmla="*/ 829449 w 5428023"/>
                <a:gd name="connsiteY736" fmla="*/ 1885007 h 2708746"/>
                <a:gd name="connsiteX737" fmla="*/ 829449 w 5428023"/>
                <a:gd name="connsiteY737" fmla="*/ 1891225 h 2708746"/>
                <a:gd name="connsiteX738" fmla="*/ 827926 w 5428023"/>
                <a:gd name="connsiteY738" fmla="*/ 1890083 h 2708746"/>
                <a:gd name="connsiteX739" fmla="*/ 840995 w 5428023"/>
                <a:gd name="connsiteY739" fmla="*/ 1890083 h 2708746"/>
                <a:gd name="connsiteX740" fmla="*/ 840995 w 5428023"/>
                <a:gd name="connsiteY740" fmla="*/ 1901502 h 2708746"/>
                <a:gd name="connsiteX741" fmla="*/ 839473 w 5428023"/>
                <a:gd name="connsiteY741" fmla="*/ 1900360 h 2708746"/>
                <a:gd name="connsiteX742" fmla="*/ 848735 w 5428023"/>
                <a:gd name="connsiteY742" fmla="*/ 1900360 h 2708746"/>
                <a:gd name="connsiteX743" fmla="*/ 848735 w 5428023"/>
                <a:gd name="connsiteY743" fmla="*/ 1906705 h 2708746"/>
                <a:gd name="connsiteX744" fmla="*/ 847213 w 5428023"/>
                <a:gd name="connsiteY744" fmla="*/ 1905563 h 2708746"/>
                <a:gd name="connsiteX745" fmla="*/ 850639 w 5428023"/>
                <a:gd name="connsiteY745" fmla="*/ 1905563 h 2708746"/>
                <a:gd name="connsiteX746" fmla="*/ 850639 w 5428023"/>
                <a:gd name="connsiteY746" fmla="*/ 1911653 h 2708746"/>
                <a:gd name="connsiteX747" fmla="*/ 849116 w 5428023"/>
                <a:gd name="connsiteY747" fmla="*/ 1910511 h 2708746"/>
                <a:gd name="connsiteX748" fmla="*/ 852542 w 5428023"/>
                <a:gd name="connsiteY748" fmla="*/ 1910511 h 2708746"/>
                <a:gd name="connsiteX749" fmla="*/ 852542 w 5428023"/>
                <a:gd name="connsiteY749" fmla="*/ 1921931 h 2708746"/>
                <a:gd name="connsiteX750" fmla="*/ 851019 w 5428023"/>
                <a:gd name="connsiteY750" fmla="*/ 1920789 h 2708746"/>
                <a:gd name="connsiteX751" fmla="*/ 854953 w 5428023"/>
                <a:gd name="connsiteY751" fmla="*/ 1920789 h 2708746"/>
                <a:gd name="connsiteX752" fmla="*/ 864215 w 5428023"/>
                <a:gd name="connsiteY752" fmla="*/ 1920789 h 2708746"/>
                <a:gd name="connsiteX753" fmla="*/ 864215 w 5428023"/>
                <a:gd name="connsiteY753" fmla="*/ 1927133 h 2708746"/>
                <a:gd name="connsiteX754" fmla="*/ 862693 w 5428023"/>
                <a:gd name="connsiteY754" fmla="*/ 1925991 h 2708746"/>
                <a:gd name="connsiteX755" fmla="*/ 870052 w 5428023"/>
                <a:gd name="connsiteY755" fmla="*/ 1925991 h 2708746"/>
                <a:gd name="connsiteX756" fmla="*/ 870052 w 5428023"/>
                <a:gd name="connsiteY756" fmla="*/ 1932209 h 2708746"/>
                <a:gd name="connsiteX757" fmla="*/ 868530 w 5428023"/>
                <a:gd name="connsiteY757" fmla="*/ 1931067 h 2708746"/>
                <a:gd name="connsiteX758" fmla="*/ 871955 w 5428023"/>
                <a:gd name="connsiteY758" fmla="*/ 1931067 h 2708746"/>
                <a:gd name="connsiteX759" fmla="*/ 871955 w 5428023"/>
                <a:gd name="connsiteY759" fmla="*/ 1937411 h 2708746"/>
                <a:gd name="connsiteX760" fmla="*/ 870433 w 5428023"/>
                <a:gd name="connsiteY760" fmla="*/ 1936269 h 2708746"/>
                <a:gd name="connsiteX761" fmla="*/ 880076 w 5428023"/>
                <a:gd name="connsiteY761" fmla="*/ 1936269 h 2708746"/>
                <a:gd name="connsiteX762" fmla="*/ 885532 w 5428023"/>
                <a:gd name="connsiteY762" fmla="*/ 1936269 h 2708746"/>
                <a:gd name="connsiteX763" fmla="*/ 885532 w 5428023"/>
                <a:gd name="connsiteY763" fmla="*/ 1947815 h 2708746"/>
                <a:gd name="connsiteX764" fmla="*/ 884010 w 5428023"/>
                <a:gd name="connsiteY764" fmla="*/ 1946674 h 2708746"/>
                <a:gd name="connsiteX765" fmla="*/ 887816 w 5428023"/>
                <a:gd name="connsiteY765" fmla="*/ 1946674 h 2708746"/>
                <a:gd name="connsiteX766" fmla="*/ 897079 w 5428023"/>
                <a:gd name="connsiteY766" fmla="*/ 1946674 h 2708746"/>
                <a:gd name="connsiteX767" fmla="*/ 897079 w 5428023"/>
                <a:gd name="connsiteY767" fmla="*/ 1953018 h 2708746"/>
                <a:gd name="connsiteX768" fmla="*/ 895556 w 5428023"/>
                <a:gd name="connsiteY768" fmla="*/ 1951876 h 2708746"/>
                <a:gd name="connsiteX769" fmla="*/ 901266 w 5428023"/>
                <a:gd name="connsiteY769" fmla="*/ 1951876 h 2708746"/>
                <a:gd name="connsiteX770" fmla="*/ 904819 w 5428023"/>
                <a:gd name="connsiteY770" fmla="*/ 1951876 h 2708746"/>
                <a:gd name="connsiteX771" fmla="*/ 904819 w 5428023"/>
                <a:gd name="connsiteY771" fmla="*/ 1958220 h 2708746"/>
                <a:gd name="connsiteX772" fmla="*/ 903296 w 5428023"/>
                <a:gd name="connsiteY772" fmla="*/ 1957205 h 2708746"/>
                <a:gd name="connsiteX773" fmla="*/ 905199 w 5428023"/>
                <a:gd name="connsiteY773" fmla="*/ 1957205 h 2708746"/>
                <a:gd name="connsiteX774" fmla="*/ 908752 w 5428023"/>
                <a:gd name="connsiteY774" fmla="*/ 1957205 h 2708746"/>
                <a:gd name="connsiteX775" fmla="*/ 908752 w 5428023"/>
                <a:gd name="connsiteY775" fmla="*/ 1963549 h 2708746"/>
                <a:gd name="connsiteX776" fmla="*/ 907229 w 5428023"/>
                <a:gd name="connsiteY776" fmla="*/ 1962407 h 2708746"/>
                <a:gd name="connsiteX777" fmla="*/ 912686 w 5428023"/>
                <a:gd name="connsiteY777" fmla="*/ 1962407 h 2708746"/>
                <a:gd name="connsiteX778" fmla="*/ 912686 w 5428023"/>
                <a:gd name="connsiteY778" fmla="*/ 1968878 h 2708746"/>
                <a:gd name="connsiteX779" fmla="*/ 911163 w 5428023"/>
                <a:gd name="connsiteY779" fmla="*/ 1967736 h 2708746"/>
                <a:gd name="connsiteX780" fmla="*/ 918776 w 5428023"/>
                <a:gd name="connsiteY780" fmla="*/ 1967736 h 2708746"/>
                <a:gd name="connsiteX781" fmla="*/ 926516 w 5428023"/>
                <a:gd name="connsiteY781" fmla="*/ 1967736 h 2708746"/>
                <a:gd name="connsiteX782" fmla="*/ 935779 w 5428023"/>
                <a:gd name="connsiteY782" fmla="*/ 1967736 h 2708746"/>
                <a:gd name="connsiteX783" fmla="*/ 935779 w 5428023"/>
                <a:gd name="connsiteY783" fmla="*/ 1974208 h 2708746"/>
                <a:gd name="connsiteX784" fmla="*/ 934256 w 5428023"/>
                <a:gd name="connsiteY784" fmla="*/ 1973066 h 2708746"/>
                <a:gd name="connsiteX785" fmla="*/ 939585 w 5428023"/>
                <a:gd name="connsiteY785" fmla="*/ 1973066 h 2708746"/>
                <a:gd name="connsiteX786" fmla="*/ 939585 w 5428023"/>
                <a:gd name="connsiteY786" fmla="*/ 1984866 h 2708746"/>
                <a:gd name="connsiteX787" fmla="*/ 938063 w 5428023"/>
                <a:gd name="connsiteY787" fmla="*/ 1983724 h 2708746"/>
                <a:gd name="connsiteX788" fmla="*/ 949229 w 5428023"/>
                <a:gd name="connsiteY788" fmla="*/ 1983724 h 2708746"/>
                <a:gd name="connsiteX789" fmla="*/ 949229 w 5428023"/>
                <a:gd name="connsiteY789" fmla="*/ 1990322 h 2708746"/>
                <a:gd name="connsiteX790" fmla="*/ 947706 w 5428023"/>
                <a:gd name="connsiteY790" fmla="*/ 1989180 h 2708746"/>
                <a:gd name="connsiteX791" fmla="*/ 970672 w 5428023"/>
                <a:gd name="connsiteY791" fmla="*/ 1989180 h 2708746"/>
                <a:gd name="connsiteX792" fmla="*/ 970672 w 5428023"/>
                <a:gd name="connsiteY792" fmla="*/ 1995778 h 2708746"/>
                <a:gd name="connsiteX793" fmla="*/ 969150 w 5428023"/>
                <a:gd name="connsiteY793" fmla="*/ 1994636 h 2708746"/>
                <a:gd name="connsiteX794" fmla="*/ 974479 w 5428023"/>
                <a:gd name="connsiteY794" fmla="*/ 1994636 h 2708746"/>
                <a:gd name="connsiteX795" fmla="*/ 974479 w 5428023"/>
                <a:gd name="connsiteY795" fmla="*/ 2001107 h 2708746"/>
                <a:gd name="connsiteX796" fmla="*/ 972956 w 5428023"/>
                <a:gd name="connsiteY796" fmla="*/ 1999965 h 2708746"/>
                <a:gd name="connsiteX797" fmla="*/ 974859 w 5428023"/>
                <a:gd name="connsiteY797" fmla="*/ 1999965 h 2708746"/>
                <a:gd name="connsiteX798" fmla="*/ 980315 w 5428023"/>
                <a:gd name="connsiteY798" fmla="*/ 1999965 h 2708746"/>
                <a:gd name="connsiteX799" fmla="*/ 980315 w 5428023"/>
                <a:gd name="connsiteY799" fmla="*/ 2006563 h 2708746"/>
                <a:gd name="connsiteX800" fmla="*/ 978793 w 5428023"/>
                <a:gd name="connsiteY800" fmla="*/ 2005421 h 2708746"/>
                <a:gd name="connsiteX801" fmla="*/ 988055 w 5428023"/>
                <a:gd name="connsiteY801" fmla="*/ 2005421 h 2708746"/>
                <a:gd name="connsiteX802" fmla="*/ 988055 w 5428023"/>
                <a:gd name="connsiteY802" fmla="*/ 2012019 h 2708746"/>
                <a:gd name="connsiteX803" fmla="*/ 986533 w 5428023"/>
                <a:gd name="connsiteY803" fmla="*/ 2010877 h 2708746"/>
                <a:gd name="connsiteX804" fmla="*/ 993765 w 5428023"/>
                <a:gd name="connsiteY804" fmla="*/ 2010877 h 2708746"/>
                <a:gd name="connsiteX805" fmla="*/ 993765 w 5428023"/>
                <a:gd name="connsiteY805" fmla="*/ 2017349 h 2708746"/>
                <a:gd name="connsiteX806" fmla="*/ 992243 w 5428023"/>
                <a:gd name="connsiteY806" fmla="*/ 2016333 h 2708746"/>
                <a:gd name="connsiteX807" fmla="*/ 994146 w 5428023"/>
                <a:gd name="connsiteY807" fmla="*/ 2016333 h 2708746"/>
                <a:gd name="connsiteX808" fmla="*/ 996176 w 5428023"/>
                <a:gd name="connsiteY808" fmla="*/ 2016333 h 2708746"/>
                <a:gd name="connsiteX809" fmla="*/ 998079 w 5428023"/>
                <a:gd name="connsiteY809" fmla="*/ 2016333 h 2708746"/>
                <a:gd name="connsiteX810" fmla="*/ 1011275 w 5428023"/>
                <a:gd name="connsiteY810" fmla="*/ 2016333 h 2708746"/>
                <a:gd name="connsiteX811" fmla="*/ 1011275 w 5428023"/>
                <a:gd name="connsiteY811" fmla="*/ 2022932 h 2708746"/>
                <a:gd name="connsiteX812" fmla="*/ 1009753 w 5428023"/>
                <a:gd name="connsiteY812" fmla="*/ 2021790 h 2708746"/>
                <a:gd name="connsiteX813" fmla="*/ 1015589 w 5428023"/>
                <a:gd name="connsiteY813" fmla="*/ 2021790 h 2708746"/>
                <a:gd name="connsiteX814" fmla="*/ 1026755 w 5428023"/>
                <a:gd name="connsiteY814" fmla="*/ 2021790 h 2708746"/>
                <a:gd name="connsiteX815" fmla="*/ 1026755 w 5428023"/>
                <a:gd name="connsiteY815" fmla="*/ 2028515 h 2708746"/>
                <a:gd name="connsiteX816" fmla="*/ 1025233 w 5428023"/>
                <a:gd name="connsiteY816" fmla="*/ 2027373 h 2708746"/>
                <a:gd name="connsiteX817" fmla="*/ 1032465 w 5428023"/>
                <a:gd name="connsiteY817" fmla="*/ 2027373 h 2708746"/>
                <a:gd name="connsiteX818" fmla="*/ 1032465 w 5428023"/>
                <a:gd name="connsiteY818" fmla="*/ 2033970 h 2708746"/>
                <a:gd name="connsiteX819" fmla="*/ 1030943 w 5428023"/>
                <a:gd name="connsiteY819" fmla="*/ 2032955 h 2708746"/>
                <a:gd name="connsiteX820" fmla="*/ 1036399 w 5428023"/>
                <a:gd name="connsiteY820" fmla="*/ 2032955 h 2708746"/>
                <a:gd name="connsiteX821" fmla="*/ 1036399 w 5428023"/>
                <a:gd name="connsiteY821" fmla="*/ 2045136 h 2708746"/>
                <a:gd name="connsiteX822" fmla="*/ 1034876 w 5428023"/>
                <a:gd name="connsiteY822" fmla="*/ 2043995 h 2708746"/>
                <a:gd name="connsiteX823" fmla="*/ 1036779 w 5428023"/>
                <a:gd name="connsiteY823" fmla="*/ 2043995 h 2708746"/>
                <a:gd name="connsiteX824" fmla="*/ 1050229 w 5428023"/>
                <a:gd name="connsiteY824" fmla="*/ 2043995 h 2708746"/>
                <a:gd name="connsiteX825" fmla="*/ 1057715 w 5428023"/>
                <a:gd name="connsiteY825" fmla="*/ 2043995 h 2708746"/>
                <a:gd name="connsiteX826" fmla="*/ 1057715 w 5428023"/>
                <a:gd name="connsiteY826" fmla="*/ 2050719 h 2708746"/>
                <a:gd name="connsiteX827" fmla="*/ 1056193 w 5428023"/>
                <a:gd name="connsiteY827" fmla="*/ 2049578 h 2708746"/>
                <a:gd name="connsiteX828" fmla="*/ 1058096 w 5428023"/>
                <a:gd name="connsiteY828" fmla="*/ 2049578 h 2708746"/>
                <a:gd name="connsiteX829" fmla="*/ 1063552 w 5428023"/>
                <a:gd name="connsiteY829" fmla="*/ 2049578 h 2708746"/>
                <a:gd name="connsiteX830" fmla="*/ 1063552 w 5428023"/>
                <a:gd name="connsiteY830" fmla="*/ 2056429 h 2708746"/>
                <a:gd name="connsiteX831" fmla="*/ 1062030 w 5428023"/>
                <a:gd name="connsiteY831" fmla="*/ 2055287 h 2708746"/>
                <a:gd name="connsiteX832" fmla="*/ 1065455 w 5428023"/>
                <a:gd name="connsiteY832" fmla="*/ 2055287 h 2708746"/>
                <a:gd name="connsiteX833" fmla="*/ 1065455 w 5428023"/>
                <a:gd name="connsiteY833" fmla="*/ 2062139 h 2708746"/>
                <a:gd name="connsiteX834" fmla="*/ 1063933 w 5428023"/>
                <a:gd name="connsiteY834" fmla="*/ 2060997 h 2708746"/>
                <a:gd name="connsiteX835" fmla="*/ 1094385 w 5428023"/>
                <a:gd name="connsiteY835" fmla="*/ 2060997 h 2708746"/>
                <a:gd name="connsiteX836" fmla="*/ 1094385 w 5428023"/>
                <a:gd name="connsiteY836" fmla="*/ 2067722 h 2708746"/>
                <a:gd name="connsiteX837" fmla="*/ 1092863 w 5428023"/>
                <a:gd name="connsiteY837" fmla="*/ 2066580 h 2708746"/>
                <a:gd name="connsiteX838" fmla="*/ 1096289 w 5428023"/>
                <a:gd name="connsiteY838" fmla="*/ 2066580 h 2708746"/>
                <a:gd name="connsiteX839" fmla="*/ 1096289 w 5428023"/>
                <a:gd name="connsiteY839" fmla="*/ 2073432 h 2708746"/>
                <a:gd name="connsiteX840" fmla="*/ 1094766 w 5428023"/>
                <a:gd name="connsiteY840" fmla="*/ 2072290 h 2708746"/>
                <a:gd name="connsiteX841" fmla="*/ 1096669 w 5428023"/>
                <a:gd name="connsiteY841" fmla="*/ 2072290 h 2708746"/>
                <a:gd name="connsiteX842" fmla="*/ 1098572 w 5428023"/>
                <a:gd name="connsiteY842" fmla="*/ 2072290 h 2708746"/>
                <a:gd name="connsiteX843" fmla="*/ 1106059 w 5428023"/>
                <a:gd name="connsiteY843" fmla="*/ 2072290 h 2708746"/>
                <a:gd name="connsiteX844" fmla="*/ 1106059 w 5428023"/>
                <a:gd name="connsiteY844" fmla="*/ 2079142 h 2708746"/>
                <a:gd name="connsiteX845" fmla="*/ 1104536 w 5428023"/>
                <a:gd name="connsiteY845" fmla="*/ 2078000 h 2708746"/>
                <a:gd name="connsiteX846" fmla="*/ 1133085 w 5428023"/>
                <a:gd name="connsiteY846" fmla="*/ 2078000 h 2708746"/>
                <a:gd name="connsiteX847" fmla="*/ 1133085 w 5428023"/>
                <a:gd name="connsiteY847" fmla="*/ 2084852 h 2708746"/>
                <a:gd name="connsiteX848" fmla="*/ 1131563 w 5428023"/>
                <a:gd name="connsiteY848" fmla="*/ 2083836 h 2708746"/>
                <a:gd name="connsiteX849" fmla="*/ 1140825 w 5428023"/>
                <a:gd name="connsiteY849" fmla="*/ 2083836 h 2708746"/>
                <a:gd name="connsiteX850" fmla="*/ 1140825 w 5428023"/>
                <a:gd name="connsiteY850" fmla="*/ 2096398 h 2708746"/>
                <a:gd name="connsiteX851" fmla="*/ 1139303 w 5428023"/>
                <a:gd name="connsiteY851" fmla="*/ 2095256 h 2708746"/>
                <a:gd name="connsiteX852" fmla="*/ 1141206 w 5428023"/>
                <a:gd name="connsiteY852" fmla="*/ 2095256 h 2708746"/>
                <a:gd name="connsiteX853" fmla="*/ 1152879 w 5428023"/>
                <a:gd name="connsiteY853" fmla="*/ 2095256 h 2708746"/>
                <a:gd name="connsiteX854" fmla="*/ 1165949 w 5428023"/>
                <a:gd name="connsiteY854" fmla="*/ 2095256 h 2708746"/>
                <a:gd name="connsiteX855" fmla="*/ 1165949 w 5428023"/>
                <a:gd name="connsiteY855" fmla="*/ 2102235 h 2708746"/>
                <a:gd name="connsiteX856" fmla="*/ 1164426 w 5428023"/>
                <a:gd name="connsiteY856" fmla="*/ 2101093 h 2708746"/>
                <a:gd name="connsiteX857" fmla="*/ 1181429 w 5428023"/>
                <a:gd name="connsiteY857" fmla="*/ 2101093 h 2708746"/>
                <a:gd name="connsiteX858" fmla="*/ 1181429 w 5428023"/>
                <a:gd name="connsiteY858" fmla="*/ 2107945 h 2708746"/>
                <a:gd name="connsiteX859" fmla="*/ 1179906 w 5428023"/>
                <a:gd name="connsiteY859" fmla="*/ 2106803 h 2708746"/>
                <a:gd name="connsiteX860" fmla="*/ 1183332 w 5428023"/>
                <a:gd name="connsiteY860" fmla="*/ 2106803 h 2708746"/>
                <a:gd name="connsiteX861" fmla="*/ 1183332 w 5428023"/>
                <a:gd name="connsiteY861" fmla="*/ 2113781 h 2708746"/>
                <a:gd name="connsiteX862" fmla="*/ 1181809 w 5428023"/>
                <a:gd name="connsiteY862" fmla="*/ 2112640 h 2708746"/>
                <a:gd name="connsiteX863" fmla="*/ 1195005 w 5428023"/>
                <a:gd name="connsiteY863" fmla="*/ 2112640 h 2708746"/>
                <a:gd name="connsiteX864" fmla="*/ 1195005 w 5428023"/>
                <a:gd name="connsiteY864" fmla="*/ 2119618 h 2708746"/>
                <a:gd name="connsiteX865" fmla="*/ 1193483 w 5428023"/>
                <a:gd name="connsiteY865" fmla="*/ 2118476 h 2708746"/>
                <a:gd name="connsiteX866" fmla="*/ 1198939 w 5428023"/>
                <a:gd name="connsiteY866" fmla="*/ 2118476 h 2708746"/>
                <a:gd name="connsiteX867" fmla="*/ 1198939 w 5428023"/>
                <a:gd name="connsiteY867" fmla="*/ 2125582 h 2708746"/>
                <a:gd name="connsiteX868" fmla="*/ 1197416 w 5428023"/>
                <a:gd name="connsiteY868" fmla="*/ 2124440 h 2708746"/>
                <a:gd name="connsiteX869" fmla="*/ 1212389 w 5428023"/>
                <a:gd name="connsiteY869" fmla="*/ 2124440 h 2708746"/>
                <a:gd name="connsiteX870" fmla="*/ 1212389 w 5428023"/>
                <a:gd name="connsiteY870" fmla="*/ 2131292 h 2708746"/>
                <a:gd name="connsiteX871" fmla="*/ 1210866 w 5428023"/>
                <a:gd name="connsiteY871" fmla="*/ 2130150 h 2708746"/>
                <a:gd name="connsiteX872" fmla="*/ 1220129 w 5428023"/>
                <a:gd name="connsiteY872" fmla="*/ 2130150 h 2708746"/>
                <a:gd name="connsiteX873" fmla="*/ 1220129 w 5428023"/>
                <a:gd name="connsiteY873" fmla="*/ 2137255 h 2708746"/>
                <a:gd name="connsiteX874" fmla="*/ 1218606 w 5428023"/>
                <a:gd name="connsiteY874" fmla="*/ 2136113 h 2708746"/>
                <a:gd name="connsiteX875" fmla="*/ 1230153 w 5428023"/>
                <a:gd name="connsiteY875" fmla="*/ 2136113 h 2708746"/>
                <a:gd name="connsiteX876" fmla="*/ 1233705 w 5428023"/>
                <a:gd name="connsiteY876" fmla="*/ 2136113 h 2708746"/>
                <a:gd name="connsiteX877" fmla="*/ 1233705 w 5428023"/>
                <a:gd name="connsiteY877" fmla="*/ 2143219 h 2708746"/>
                <a:gd name="connsiteX878" fmla="*/ 1232183 w 5428023"/>
                <a:gd name="connsiteY878" fmla="*/ 2142077 h 2708746"/>
                <a:gd name="connsiteX879" fmla="*/ 1245379 w 5428023"/>
                <a:gd name="connsiteY879" fmla="*/ 2142077 h 2708746"/>
                <a:gd name="connsiteX880" fmla="*/ 1245379 w 5428023"/>
                <a:gd name="connsiteY880" fmla="*/ 2149056 h 2708746"/>
                <a:gd name="connsiteX881" fmla="*/ 1243729 w 5428023"/>
                <a:gd name="connsiteY881" fmla="*/ 2147914 h 2708746"/>
                <a:gd name="connsiteX882" fmla="*/ 1249185 w 5428023"/>
                <a:gd name="connsiteY882" fmla="*/ 2147914 h 2708746"/>
                <a:gd name="connsiteX883" fmla="*/ 1249185 w 5428023"/>
                <a:gd name="connsiteY883" fmla="*/ 2155019 h 2708746"/>
                <a:gd name="connsiteX884" fmla="*/ 1247663 w 5428023"/>
                <a:gd name="connsiteY884" fmla="*/ 2153877 h 2708746"/>
                <a:gd name="connsiteX885" fmla="*/ 1257306 w 5428023"/>
                <a:gd name="connsiteY885" fmla="*/ 2153877 h 2708746"/>
                <a:gd name="connsiteX886" fmla="*/ 1272786 w 5428023"/>
                <a:gd name="connsiteY886" fmla="*/ 2153877 h 2708746"/>
                <a:gd name="connsiteX887" fmla="*/ 1303365 w 5428023"/>
                <a:gd name="connsiteY887" fmla="*/ 2153877 h 2708746"/>
                <a:gd name="connsiteX888" fmla="*/ 1303365 w 5428023"/>
                <a:gd name="connsiteY888" fmla="*/ 2161110 h 2708746"/>
                <a:gd name="connsiteX889" fmla="*/ 1301843 w 5428023"/>
                <a:gd name="connsiteY889" fmla="*/ 2159968 h 2708746"/>
                <a:gd name="connsiteX890" fmla="*/ 1317323 w 5428023"/>
                <a:gd name="connsiteY890" fmla="*/ 2159968 h 2708746"/>
                <a:gd name="connsiteX891" fmla="*/ 1330392 w 5428023"/>
                <a:gd name="connsiteY891" fmla="*/ 2159968 h 2708746"/>
                <a:gd name="connsiteX892" fmla="*/ 1330392 w 5428023"/>
                <a:gd name="connsiteY892" fmla="*/ 2167327 h 2708746"/>
                <a:gd name="connsiteX893" fmla="*/ 1328869 w 5428023"/>
                <a:gd name="connsiteY893" fmla="*/ 2166185 h 2708746"/>
                <a:gd name="connsiteX894" fmla="*/ 1336229 w 5428023"/>
                <a:gd name="connsiteY894" fmla="*/ 2166185 h 2708746"/>
                <a:gd name="connsiteX895" fmla="*/ 1336229 w 5428023"/>
                <a:gd name="connsiteY895" fmla="*/ 2173418 h 2708746"/>
                <a:gd name="connsiteX896" fmla="*/ 1334706 w 5428023"/>
                <a:gd name="connsiteY896" fmla="*/ 2172276 h 2708746"/>
                <a:gd name="connsiteX897" fmla="*/ 1350186 w 5428023"/>
                <a:gd name="connsiteY897" fmla="*/ 2172276 h 2708746"/>
                <a:gd name="connsiteX898" fmla="*/ 1361352 w 5428023"/>
                <a:gd name="connsiteY898" fmla="*/ 2172276 h 2708746"/>
                <a:gd name="connsiteX899" fmla="*/ 1361352 w 5428023"/>
                <a:gd name="connsiteY899" fmla="*/ 2179635 h 2708746"/>
                <a:gd name="connsiteX900" fmla="*/ 1359829 w 5428023"/>
                <a:gd name="connsiteY900" fmla="*/ 2178620 h 2708746"/>
                <a:gd name="connsiteX901" fmla="*/ 1411725 w 5428023"/>
                <a:gd name="connsiteY901" fmla="*/ 2178620 h 2708746"/>
                <a:gd name="connsiteX902" fmla="*/ 1411725 w 5428023"/>
                <a:gd name="connsiteY902" fmla="*/ 2185852 h 2708746"/>
                <a:gd name="connsiteX903" fmla="*/ 1410203 w 5428023"/>
                <a:gd name="connsiteY903" fmla="*/ 2184710 h 2708746"/>
                <a:gd name="connsiteX904" fmla="*/ 1421749 w 5428023"/>
                <a:gd name="connsiteY904" fmla="*/ 2184710 h 2708746"/>
                <a:gd name="connsiteX905" fmla="*/ 1423653 w 5428023"/>
                <a:gd name="connsiteY905" fmla="*/ 2184710 h 2708746"/>
                <a:gd name="connsiteX906" fmla="*/ 1431393 w 5428023"/>
                <a:gd name="connsiteY906" fmla="*/ 2184710 h 2708746"/>
                <a:gd name="connsiteX907" fmla="*/ 1439259 w 5428023"/>
                <a:gd name="connsiteY907" fmla="*/ 2184710 h 2708746"/>
                <a:gd name="connsiteX908" fmla="*/ 1444969 w 5428023"/>
                <a:gd name="connsiteY908" fmla="*/ 2184710 h 2708746"/>
                <a:gd name="connsiteX909" fmla="*/ 1448522 w 5428023"/>
                <a:gd name="connsiteY909" fmla="*/ 2184710 h 2708746"/>
                <a:gd name="connsiteX910" fmla="*/ 1448522 w 5428023"/>
                <a:gd name="connsiteY910" fmla="*/ 2192450 h 2708746"/>
                <a:gd name="connsiteX911" fmla="*/ 1446999 w 5428023"/>
                <a:gd name="connsiteY911" fmla="*/ 2191308 h 2708746"/>
                <a:gd name="connsiteX912" fmla="*/ 1452328 w 5428023"/>
                <a:gd name="connsiteY912" fmla="*/ 2191308 h 2708746"/>
                <a:gd name="connsiteX913" fmla="*/ 1452328 w 5428023"/>
                <a:gd name="connsiteY913" fmla="*/ 2199048 h 2708746"/>
                <a:gd name="connsiteX914" fmla="*/ 1450806 w 5428023"/>
                <a:gd name="connsiteY914" fmla="*/ 2197906 h 2708746"/>
                <a:gd name="connsiteX915" fmla="*/ 1461972 w 5428023"/>
                <a:gd name="connsiteY915" fmla="*/ 2197906 h 2708746"/>
                <a:gd name="connsiteX916" fmla="*/ 1461972 w 5428023"/>
                <a:gd name="connsiteY916" fmla="*/ 2205646 h 2708746"/>
                <a:gd name="connsiteX917" fmla="*/ 1460449 w 5428023"/>
                <a:gd name="connsiteY917" fmla="*/ 2204504 h 2708746"/>
                <a:gd name="connsiteX918" fmla="*/ 1467809 w 5428023"/>
                <a:gd name="connsiteY918" fmla="*/ 2204504 h 2708746"/>
                <a:gd name="connsiteX919" fmla="*/ 1467809 w 5428023"/>
                <a:gd name="connsiteY919" fmla="*/ 2212244 h 2708746"/>
                <a:gd name="connsiteX920" fmla="*/ 1466286 w 5428023"/>
                <a:gd name="connsiteY920" fmla="*/ 2211102 h 2708746"/>
                <a:gd name="connsiteX921" fmla="*/ 1475422 w 5428023"/>
                <a:gd name="connsiteY921" fmla="*/ 2211102 h 2708746"/>
                <a:gd name="connsiteX922" fmla="*/ 1475422 w 5428023"/>
                <a:gd name="connsiteY922" fmla="*/ 2218842 h 2708746"/>
                <a:gd name="connsiteX923" fmla="*/ 1473899 w 5428023"/>
                <a:gd name="connsiteY923" fmla="*/ 2217701 h 2708746"/>
                <a:gd name="connsiteX924" fmla="*/ 1502575 w 5428023"/>
                <a:gd name="connsiteY924" fmla="*/ 2217701 h 2708746"/>
                <a:gd name="connsiteX925" fmla="*/ 1502575 w 5428023"/>
                <a:gd name="connsiteY925" fmla="*/ 2225441 h 2708746"/>
                <a:gd name="connsiteX926" fmla="*/ 1501052 w 5428023"/>
                <a:gd name="connsiteY926" fmla="*/ 2224298 h 2708746"/>
                <a:gd name="connsiteX927" fmla="*/ 1514629 w 5428023"/>
                <a:gd name="connsiteY927" fmla="*/ 2224298 h 2708746"/>
                <a:gd name="connsiteX928" fmla="*/ 1518055 w 5428023"/>
                <a:gd name="connsiteY928" fmla="*/ 2224298 h 2708746"/>
                <a:gd name="connsiteX929" fmla="*/ 1518055 w 5428023"/>
                <a:gd name="connsiteY929" fmla="*/ 2232038 h 2708746"/>
                <a:gd name="connsiteX930" fmla="*/ 1516532 w 5428023"/>
                <a:gd name="connsiteY930" fmla="*/ 2230897 h 2708746"/>
                <a:gd name="connsiteX931" fmla="*/ 1525795 w 5428023"/>
                <a:gd name="connsiteY931" fmla="*/ 2230897 h 2708746"/>
                <a:gd name="connsiteX932" fmla="*/ 1525795 w 5428023"/>
                <a:gd name="connsiteY932" fmla="*/ 2238763 h 2708746"/>
                <a:gd name="connsiteX933" fmla="*/ 1524272 w 5428023"/>
                <a:gd name="connsiteY933" fmla="*/ 2237621 h 2708746"/>
                <a:gd name="connsiteX934" fmla="*/ 1541783 w 5428023"/>
                <a:gd name="connsiteY934" fmla="*/ 2237621 h 2708746"/>
                <a:gd name="connsiteX935" fmla="*/ 1547112 w 5428023"/>
                <a:gd name="connsiteY935" fmla="*/ 2237621 h 2708746"/>
                <a:gd name="connsiteX936" fmla="*/ 1547112 w 5428023"/>
                <a:gd name="connsiteY936" fmla="*/ 2245488 h 2708746"/>
                <a:gd name="connsiteX937" fmla="*/ 1545589 w 5428023"/>
                <a:gd name="connsiteY937" fmla="*/ 2244346 h 2708746"/>
                <a:gd name="connsiteX938" fmla="*/ 1556755 w 5428023"/>
                <a:gd name="connsiteY938" fmla="*/ 2244346 h 2708746"/>
                <a:gd name="connsiteX939" fmla="*/ 1556755 w 5428023"/>
                <a:gd name="connsiteY939" fmla="*/ 2252213 h 2708746"/>
                <a:gd name="connsiteX940" fmla="*/ 1555232 w 5428023"/>
                <a:gd name="connsiteY940" fmla="*/ 2251071 h 2708746"/>
                <a:gd name="connsiteX941" fmla="*/ 1564876 w 5428023"/>
                <a:gd name="connsiteY941" fmla="*/ 2251071 h 2708746"/>
                <a:gd name="connsiteX942" fmla="*/ 1591648 w 5428023"/>
                <a:gd name="connsiteY942" fmla="*/ 2251071 h 2708746"/>
                <a:gd name="connsiteX943" fmla="*/ 1591648 w 5428023"/>
                <a:gd name="connsiteY943" fmla="*/ 2258938 h 2708746"/>
                <a:gd name="connsiteX944" fmla="*/ 1590126 w 5428023"/>
                <a:gd name="connsiteY944" fmla="*/ 2257796 h 2708746"/>
                <a:gd name="connsiteX945" fmla="*/ 1593932 w 5428023"/>
                <a:gd name="connsiteY945" fmla="*/ 2257796 h 2708746"/>
                <a:gd name="connsiteX946" fmla="*/ 1628318 w 5428023"/>
                <a:gd name="connsiteY946" fmla="*/ 2257796 h 2708746"/>
                <a:gd name="connsiteX947" fmla="*/ 1628318 w 5428023"/>
                <a:gd name="connsiteY947" fmla="*/ 2265790 h 2708746"/>
                <a:gd name="connsiteX948" fmla="*/ 1626796 w 5428023"/>
                <a:gd name="connsiteY948" fmla="*/ 2264648 h 2708746"/>
                <a:gd name="connsiteX949" fmla="*/ 1630348 w 5428023"/>
                <a:gd name="connsiteY949" fmla="*/ 2264648 h 2708746"/>
                <a:gd name="connsiteX950" fmla="*/ 1630348 w 5428023"/>
                <a:gd name="connsiteY950" fmla="*/ 2272642 h 2708746"/>
                <a:gd name="connsiteX951" fmla="*/ 1628699 w 5428023"/>
                <a:gd name="connsiteY951" fmla="*/ 2271627 h 2708746"/>
                <a:gd name="connsiteX952" fmla="*/ 1630729 w 5428023"/>
                <a:gd name="connsiteY952" fmla="*/ 2271627 h 2708746"/>
                <a:gd name="connsiteX953" fmla="*/ 1636185 w 5428023"/>
                <a:gd name="connsiteY953" fmla="*/ 2271627 h 2708746"/>
                <a:gd name="connsiteX954" fmla="*/ 1636185 w 5428023"/>
                <a:gd name="connsiteY954" fmla="*/ 2279620 h 2708746"/>
                <a:gd name="connsiteX955" fmla="*/ 1634663 w 5428023"/>
                <a:gd name="connsiteY955" fmla="*/ 2278478 h 2708746"/>
                <a:gd name="connsiteX956" fmla="*/ 1646209 w 5428023"/>
                <a:gd name="connsiteY956" fmla="*/ 2278478 h 2708746"/>
                <a:gd name="connsiteX957" fmla="*/ 1650016 w 5428023"/>
                <a:gd name="connsiteY957" fmla="*/ 2278478 h 2708746"/>
                <a:gd name="connsiteX958" fmla="*/ 1653442 w 5428023"/>
                <a:gd name="connsiteY958" fmla="*/ 2278478 h 2708746"/>
                <a:gd name="connsiteX959" fmla="*/ 1653442 w 5428023"/>
                <a:gd name="connsiteY959" fmla="*/ 2286599 h 2708746"/>
                <a:gd name="connsiteX960" fmla="*/ 1651919 w 5428023"/>
                <a:gd name="connsiteY960" fmla="*/ 2285457 h 2708746"/>
                <a:gd name="connsiteX961" fmla="*/ 1663593 w 5428023"/>
                <a:gd name="connsiteY961" fmla="*/ 2285457 h 2708746"/>
                <a:gd name="connsiteX962" fmla="*/ 1679073 w 5428023"/>
                <a:gd name="connsiteY962" fmla="*/ 2285457 h 2708746"/>
                <a:gd name="connsiteX963" fmla="*/ 1686812 w 5428023"/>
                <a:gd name="connsiteY963" fmla="*/ 2285457 h 2708746"/>
                <a:gd name="connsiteX964" fmla="*/ 1713458 w 5428023"/>
                <a:gd name="connsiteY964" fmla="*/ 2285457 h 2708746"/>
                <a:gd name="connsiteX965" fmla="*/ 1713458 w 5428023"/>
                <a:gd name="connsiteY965" fmla="*/ 2293958 h 2708746"/>
                <a:gd name="connsiteX966" fmla="*/ 1711936 w 5428023"/>
                <a:gd name="connsiteY966" fmla="*/ 2292817 h 2708746"/>
                <a:gd name="connsiteX967" fmla="*/ 1744799 w 5428023"/>
                <a:gd name="connsiteY967" fmla="*/ 2292817 h 2708746"/>
                <a:gd name="connsiteX968" fmla="*/ 1765608 w 5428023"/>
                <a:gd name="connsiteY968" fmla="*/ 2292817 h 2708746"/>
                <a:gd name="connsiteX969" fmla="*/ 1765608 w 5428023"/>
                <a:gd name="connsiteY969" fmla="*/ 2301318 h 2708746"/>
                <a:gd name="connsiteX970" fmla="*/ 1764086 w 5428023"/>
                <a:gd name="connsiteY970" fmla="*/ 2300303 h 2708746"/>
                <a:gd name="connsiteX971" fmla="*/ 1783118 w 5428023"/>
                <a:gd name="connsiteY971" fmla="*/ 2300303 h 2708746"/>
                <a:gd name="connsiteX972" fmla="*/ 1783118 w 5428023"/>
                <a:gd name="connsiteY972" fmla="*/ 2316163 h 2708746"/>
                <a:gd name="connsiteX973" fmla="*/ 1781596 w 5428023"/>
                <a:gd name="connsiteY973" fmla="*/ 2315021 h 2708746"/>
                <a:gd name="connsiteX974" fmla="*/ 1812429 w 5428023"/>
                <a:gd name="connsiteY974" fmla="*/ 2315021 h 2708746"/>
                <a:gd name="connsiteX975" fmla="*/ 1814459 w 5428023"/>
                <a:gd name="connsiteY975" fmla="*/ 2315021 h 2708746"/>
                <a:gd name="connsiteX976" fmla="*/ 1826133 w 5428023"/>
                <a:gd name="connsiteY976" fmla="*/ 2315021 h 2708746"/>
                <a:gd name="connsiteX977" fmla="*/ 1845038 w 5428023"/>
                <a:gd name="connsiteY977" fmla="*/ 2315021 h 2708746"/>
                <a:gd name="connsiteX978" fmla="*/ 1845038 w 5428023"/>
                <a:gd name="connsiteY978" fmla="*/ 2323777 h 2708746"/>
                <a:gd name="connsiteX979" fmla="*/ 1843516 w 5428023"/>
                <a:gd name="connsiteY979" fmla="*/ 2322634 h 2708746"/>
                <a:gd name="connsiteX980" fmla="*/ 1854682 w 5428023"/>
                <a:gd name="connsiteY980" fmla="*/ 2322634 h 2708746"/>
                <a:gd name="connsiteX981" fmla="*/ 1854682 w 5428023"/>
                <a:gd name="connsiteY981" fmla="*/ 2331390 h 2708746"/>
                <a:gd name="connsiteX982" fmla="*/ 1853159 w 5428023"/>
                <a:gd name="connsiteY982" fmla="*/ 2330248 h 2708746"/>
                <a:gd name="connsiteX983" fmla="*/ 1855062 w 5428023"/>
                <a:gd name="connsiteY983" fmla="*/ 2330248 h 2708746"/>
                <a:gd name="connsiteX984" fmla="*/ 1856966 w 5428023"/>
                <a:gd name="connsiteY984" fmla="*/ 2330248 h 2708746"/>
                <a:gd name="connsiteX985" fmla="*/ 1858869 w 5428023"/>
                <a:gd name="connsiteY985" fmla="*/ 2330248 h 2708746"/>
                <a:gd name="connsiteX986" fmla="*/ 1864325 w 5428023"/>
                <a:gd name="connsiteY986" fmla="*/ 2330248 h 2708746"/>
                <a:gd name="connsiteX987" fmla="*/ 1864325 w 5428023"/>
                <a:gd name="connsiteY987" fmla="*/ 2339510 h 2708746"/>
                <a:gd name="connsiteX988" fmla="*/ 1862802 w 5428023"/>
                <a:gd name="connsiteY988" fmla="*/ 2338495 h 2708746"/>
                <a:gd name="connsiteX989" fmla="*/ 1872573 w 5428023"/>
                <a:gd name="connsiteY989" fmla="*/ 2338495 h 2708746"/>
                <a:gd name="connsiteX990" fmla="*/ 1928656 w 5428023"/>
                <a:gd name="connsiteY990" fmla="*/ 2338495 h 2708746"/>
                <a:gd name="connsiteX991" fmla="*/ 1939822 w 5428023"/>
                <a:gd name="connsiteY991" fmla="*/ 2338495 h 2708746"/>
                <a:gd name="connsiteX992" fmla="*/ 1939822 w 5428023"/>
                <a:gd name="connsiteY992" fmla="*/ 2347885 h 2708746"/>
                <a:gd name="connsiteX993" fmla="*/ 1938299 w 5428023"/>
                <a:gd name="connsiteY993" fmla="*/ 2346743 h 2708746"/>
                <a:gd name="connsiteX994" fmla="*/ 1957205 w 5428023"/>
                <a:gd name="connsiteY994" fmla="*/ 2346743 h 2708746"/>
                <a:gd name="connsiteX995" fmla="*/ 1957205 w 5428023"/>
                <a:gd name="connsiteY995" fmla="*/ 2356259 h 2708746"/>
                <a:gd name="connsiteX996" fmla="*/ 1955682 w 5428023"/>
                <a:gd name="connsiteY996" fmla="*/ 2355117 h 2708746"/>
                <a:gd name="connsiteX997" fmla="*/ 1970782 w 5428023"/>
                <a:gd name="connsiteY997" fmla="*/ 2355117 h 2708746"/>
                <a:gd name="connsiteX998" fmla="*/ 1970782 w 5428023"/>
                <a:gd name="connsiteY998" fmla="*/ 2364633 h 2708746"/>
                <a:gd name="connsiteX999" fmla="*/ 1969259 w 5428023"/>
                <a:gd name="connsiteY999" fmla="*/ 2363492 h 2708746"/>
                <a:gd name="connsiteX1000" fmla="*/ 2055795 w 5428023"/>
                <a:gd name="connsiteY1000" fmla="*/ 2363492 h 2708746"/>
                <a:gd name="connsiteX1001" fmla="*/ 2055795 w 5428023"/>
                <a:gd name="connsiteY1001" fmla="*/ 2373008 h 2708746"/>
                <a:gd name="connsiteX1002" fmla="*/ 2054272 w 5428023"/>
                <a:gd name="connsiteY1002" fmla="*/ 2371866 h 2708746"/>
                <a:gd name="connsiteX1003" fmla="*/ 2069498 w 5428023"/>
                <a:gd name="connsiteY1003" fmla="*/ 2371866 h 2708746"/>
                <a:gd name="connsiteX1004" fmla="*/ 2069498 w 5428023"/>
                <a:gd name="connsiteY1004" fmla="*/ 2381382 h 2708746"/>
                <a:gd name="connsiteX1005" fmla="*/ 2067976 w 5428023"/>
                <a:gd name="connsiteY1005" fmla="*/ 2380240 h 2708746"/>
                <a:gd name="connsiteX1006" fmla="*/ 2081045 w 5428023"/>
                <a:gd name="connsiteY1006" fmla="*/ 2380240 h 2708746"/>
                <a:gd name="connsiteX1007" fmla="*/ 2081045 w 5428023"/>
                <a:gd name="connsiteY1007" fmla="*/ 2389757 h 2708746"/>
                <a:gd name="connsiteX1008" fmla="*/ 2079522 w 5428023"/>
                <a:gd name="connsiteY1008" fmla="*/ 2388615 h 2708746"/>
                <a:gd name="connsiteX1009" fmla="*/ 2091069 w 5428023"/>
                <a:gd name="connsiteY1009" fmla="*/ 2388615 h 2708746"/>
                <a:gd name="connsiteX1010" fmla="*/ 2117842 w 5428023"/>
                <a:gd name="connsiteY1010" fmla="*/ 2388615 h 2708746"/>
                <a:gd name="connsiteX1011" fmla="*/ 2117842 w 5428023"/>
                <a:gd name="connsiteY1011" fmla="*/ 2398258 h 2708746"/>
                <a:gd name="connsiteX1012" fmla="*/ 2116319 w 5428023"/>
                <a:gd name="connsiteY1012" fmla="*/ 2397116 h 2708746"/>
                <a:gd name="connsiteX1013" fmla="*/ 2195115 w 5428023"/>
                <a:gd name="connsiteY1013" fmla="*/ 2397116 h 2708746"/>
                <a:gd name="connsiteX1014" fmla="*/ 2195115 w 5428023"/>
                <a:gd name="connsiteY1014" fmla="*/ 2406759 h 2708746"/>
                <a:gd name="connsiteX1015" fmla="*/ 2193592 w 5428023"/>
                <a:gd name="connsiteY1015" fmla="*/ 2405618 h 2708746"/>
                <a:gd name="connsiteX1016" fmla="*/ 2198921 w 5428023"/>
                <a:gd name="connsiteY1016" fmla="*/ 2405618 h 2708746"/>
                <a:gd name="connsiteX1017" fmla="*/ 2198921 w 5428023"/>
                <a:gd name="connsiteY1017" fmla="*/ 2415261 h 2708746"/>
                <a:gd name="connsiteX1018" fmla="*/ 2197399 w 5428023"/>
                <a:gd name="connsiteY1018" fmla="*/ 2414119 h 2708746"/>
                <a:gd name="connsiteX1019" fmla="*/ 2208691 w 5428023"/>
                <a:gd name="connsiteY1019" fmla="*/ 2414119 h 2708746"/>
                <a:gd name="connsiteX1020" fmla="*/ 2208691 w 5428023"/>
                <a:gd name="connsiteY1020" fmla="*/ 2423762 h 2708746"/>
                <a:gd name="connsiteX1021" fmla="*/ 2207042 w 5428023"/>
                <a:gd name="connsiteY1021" fmla="*/ 2422620 h 2708746"/>
                <a:gd name="connsiteX1022" fmla="*/ 2216431 w 5428023"/>
                <a:gd name="connsiteY1022" fmla="*/ 2422620 h 2708746"/>
                <a:gd name="connsiteX1023" fmla="*/ 2216431 w 5428023"/>
                <a:gd name="connsiteY1023" fmla="*/ 2432263 h 2708746"/>
                <a:gd name="connsiteX1024" fmla="*/ 2214909 w 5428023"/>
                <a:gd name="connsiteY1024" fmla="*/ 2431121 h 2708746"/>
                <a:gd name="connsiteX1025" fmla="*/ 2226582 w 5428023"/>
                <a:gd name="connsiteY1025" fmla="*/ 2431121 h 2708746"/>
                <a:gd name="connsiteX1026" fmla="*/ 2249675 w 5428023"/>
                <a:gd name="connsiteY1026" fmla="*/ 2431121 h 2708746"/>
                <a:gd name="connsiteX1027" fmla="*/ 2267186 w 5428023"/>
                <a:gd name="connsiteY1027" fmla="*/ 2431121 h 2708746"/>
                <a:gd name="connsiteX1028" fmla="*/ 2270992 w 5428023"/>
                <a:gd name="connsiteY1028" fmla="*/ 2431121 h 2708746"/>
                <a:gd name="connsiteX1029" fmla="*/ 2282666 w 5428023"/>
                <a:gd name="connsiteY1029" fmla="*/ 2431121 h 2708746"/>
                <a:gd name="connsiteX1030" fmla="*/ 2289898 w 5428023"/>
                <a:gd name="connsiteY1030" fmla="*/ 2431121 h 2708746"/>
                <a:gd name="connsiteX1031" fmla="*/ 2289898 w 5428023"/>
                <a:gd name="connsiteY1031" fmla="*/ 2441526 h 2708746"/>
                <a:gd name="connsiteX1032" fmla="*/ 2288375 w 5428023"/>
                <a:gd name="connsiteY1032" fmla="*/ 2440384 h 2708746"/>
                <a:gd name="connsiteX1033" fmla="*/ 2295735 w 5428023"/>
                <a:gd name="connsiteY1033" fmla="*/ 2440384 h 2708746"/>
                <a:gd name="connsiteX1034" fmla="*/ 2295735 w 5428023"/>
                <a:gd name="connsiteY1034" fmla="*/ 2450789 h 2708746"/>
                <a:gd name="connsiteX1035" fmla="*/ 2294212 w 5428023"/>
                <a:gd name="connsiteY1035" fmla="*/ 2449647 h 2708746"/>
                <a:gd name="connsiteX1036" fmla="*/ 2307789 w 5428023"/>
                <a:gd name="connsiteY1036" fmla="*/ 2449647 h 2708746"/>
                <a:gd name="connsiteX1037" fmla="*/ 2313626 w 5428023"/>
                <a:gd name="connsiteY1037" fmla="*/ 2449647 h 2708746"/>
                <a:gd name="connsiteX1038" fmla="*/ 2328979 w 5428023"/>
                <a:gd name="connsiteY1038" fmla="*/ 2449647 h 2708746"/>
                <a:gd name="connsiteX1039" fmla="*/ 2344459 w 5428023"/>
                <a:gd name="connsiteY1039" fmla="*/ 2449647 h 2708746"/>
                <a:gd name="connsiteX1040" fmla="*/ 2355751 w 5428023"/>
                <a:gd name="connsiteY1040" fmla="*/ 2449647 h 2708746"/>
                <a:gd name="connsiteX1041" fmla="*/ 2355751 w 5428023"/>
                <a:gd name="connsiteY1041" fmla="*/ 2460813 h 2708746"/>
                <a:gd name="connsiteX1042" fmla="*/ 2354229 w 5428023"/>
                <a:gd name="connsiteY1042" fmla="*/ 2459671 h 2708746"/>
                <a:gd name="connsiteX1043" fmla="*/ 2361588 w 5428023"/>
                <a:gd name="connsiteY1043" fmla="*/ 2459671 h 2708746"/>
                <a:gd name="connsiteX1044" fmla="*/ 2361588 w 5428023"/>
                <a:gd name="connsiteY1044" fmla="*/ 2470710 h 2708746"/>
                <a:gd name="connsiteX1045" fmla="*/ 2360066 w 5428023"/>
                <a:gd name="connsiteY1045" fmla="*/ 2469695 h 2708746"/>
                <a:gd name="connsiteX1046" fmla="*/ 2390899 w 5428023"/>
                <a:gd name="connsiteY1046" fmla="*/ 2469695 h 2708746"/>
                <a:gd name="connsiteX1047" fmla="*/ 2412216 w 5428023"/>
                <a:gd name="connsiteY1047" fmla="*/ 2469695 h 2708746"/>
                <a:gd name="connsiteX1048" fmla="*/ 2423889 w 5428023"/>
                <a:gd name="connsiteY1048" fmla="*/ 2469695 h 2708746"/>
                <a:gd name="connsiteX1049" fmla="*/ 2433025 w 5428023"/>
                <a:gd name="connsiteY1049" fmla="*/ 2469695 h 2708746"/>
                <a:gd name="connsiteX1050" fmla="*/ 2433025 w 5428023"/>
                <a:gd name="connsiteY1050" fmla="*/ 2481495 h 2708746"/>
                <a:gd name="connsiteX1051" fmla="*/ 2431502 w 5428023"/>
                <a:gd name="connsiteY1051" fmla="*/ 2480353 h 2708746"/>
                <a:gd name="connsiteX1052" fmla="*/ 2494945 w 5428023"/>
                <a:gd name="connsiteY1052" fmla="*/ 2480353 h 2708746"/>
                <a:gd name="connsiteX1053" fmla="*/ 2494945 w 5428023"/>
                <a:gd name="connsiteY1053" fmla="*/ 2492153 h 2708746"/>
                <a:gd name="connsiteX1054" fmla="*/ 2493422 w 5428023"/>
                <a:gd name="connsiteY1054" fmla="*/ 2491011 h 2708746"/>
                <a:gd name="connsiteX1055" fmla="*/ 2553439 w 5428023"/>
                <a:gd name="connsiteY1055" fmla="*/ 2491011 h 2708746"/>
                <a:gd name="connsiteX1056" fmla="*/ 2590108 w 5428023"/>
                <a:gd name="connsiteY1056" fmla="*/ 2491011 h 2708746"/>
                <a:gd name="connsiteX1057" fmla="*/ 2597976 w 5428023"/>
                <a:gd name="connsiteY1057" fmla="*/ 2491011 h 2708746"/>
                <a:gd name="connsiteX1058" fmla="*/ 2617262 w 5428023"/>
                <a:gd name="connsiteY1058" fmla="*/ 2491011 h 2708746"/>
                <a:gd name="connsiteX1059" fmla="*/ 2648222 w 5428023"/>
                <a:gd name="connsiteY1059" fmla="*/ 2491011 h 2708746"/>
                <a:gd name="connsiteX1060" fmla="*/ 2654059 w 5428023"/>
                <a:gd name="connsiteY1060" fmla="*/ 2491011 h 2708746"/>
                <a:gd name="connsiteX1061" fmla="*/ 2806829 w 5428023"/>
                <a:gd name="connsiteY1061" fmla="*/ 2491011 h 2708746"/>
                <a:gd name="connsiteX1062" fmla="*/ 2812285 w 5428023"/>
                <a:gd name="connsiteY1062" fmla="*/ 2491011 h 2708746"/>
                <a:gd name="connsiteX1063" fmla="*/ 2812285 w 5428023"/>
                <a:gd name="connsiteY1063" fmla="*/ 2505222 h 2708746"/>
                <a:gd name="connsiteX1064" fmla="*/ 2810762 w 5428023"/>
                <a:gd name="connsiteY1064" fmla="*/ 2504080 h 2708746"/>
                <a:gd name="connsiteX1065" fmla="*/ 2835885 w 5428023"/>
                <a:gd name="connsiteY1065" fmla="*/ 2504080 h 2708746"/>
                <a:gd name="connsiteX1066" fmla="*/ 2845529 w 5428023"/>
                <a:gd name="connsiteY1066" fmla="*/ 2504080 h 2708746"/>
                <a:gd name="connsiteX1067" fmla="*/ 2946148 w 5428023"/>
                <a:gd name="connsiteY1067" fmla="*/ 2504080 h 2708746"/>
                <a:gd name="connsiteX1068" fmla="*/ 2950082 w 5428023"/>
                <a:gd name="connsiteY1068" fmla="*/ 2504080 h 2708746"/>
                <a:gd name="connsiteX1069" fmla="*/ 2998045 w 5428023"/>
                <a:gd name="connsiteY1069" fmla="*/ 2504080 h 2708746"/>
                <a:gd name="connsiteX1070" fmla="*/ 2998045 w 5428023"/>
                <a:gd name="connsiteY1070" fmla="*/ 2520068 h 2708746"/>
                <a:gd name="connsiteX1071" fmla="*/ 2996522 w 5428023"/>
                <a:gd name="connsiteY1071" fmla="*/ 2518926 h 2708746"/>
                <a:gd name="connsiteX1072" fmla="*/ 3056031 w 5428023"/>
                <a:gd name="connsiteY1072" fmla="*/ 2518926 h 2708746"/>
                <a:gd name="connsiteX1073" fmla="*/ 3056031 w 5428023"/>
                <a:gd name="connsiteY1073" fmla="*/ 2534914 h 2708746"/>
                <a:gd name="connsiteX1074" fmla="*/ 3054509 w 5428023"/>
                <a:gd name="connsiteY1074" fmla="*/ 2533772 h 2708746"/>
                <a:gd name="connsiteX1075" fmla="*/ 3079632 w 5428023"/>
                <a:gd name="connsiteY1075" fmla="*/ 2533772 h 2708746"/>
                <a:gd name="connsiteX1076" fmla="*/ 3089275 w 5428023"/>
                <a:gd name="connsiteY1076" fmla="*/ 2533772 h 2708746"/>
                <a:gd name="connsiteX1077" fmla="*/ 3206898 w 5428023"/>
                <a:gd name="connsiteY1077" fmla="*/ 2533772 h 2708746"/>
                <a:gd name="connsiteX1078" fmla="*/ 3206898 w 5428023"/>
                <a:gd name="connsiteY1078" fmla="*/ 2551028 h 2708746"/>
                <a:gd name="connsiteX1079" fmla="*/ 3205375 w 5428023"/>
                <a:gd name="connsiteY1079" fmla="*/ 2549886 h 2708746"/>
                <a:gd name="connsiteX1080" fmla="*/ 3208801 w 5428023"/>
                <a:gd name="connsiteY1080" fmla="*/ 2549886 h 2708746"/>
                <a:gd name="connsiteX1081" fmla="*/ 3208801 w 5428023"/>
                <a:gd name="connsiteY1081" fmla="*/ 2566889 h 2708746"/>
                <a:gd name="connsiteX1082" fmla="*/ 3207278 w 5428023"/>
                <a:gd name="connsiteY1082" fmla="*/ 2565873 h 2708746"/>
                <a:gd name="connsiteX1083" fmla="*/ 3224789 w 5428023"/>
                <a:gd name="connsiteY1083" fmla="*/ 2565873 h 2708746"/>
                <a:gd name="connsiteX1084" fmla="*/ 3226692 w 5428023"/>
                <a:gd name="connsiteY1084" fmla="*/ 2565873 h 2708746"/>
                <a:gd name="connsiteX1085" fmla="*/ 3307898 w 5428023"/>
                <a:gd name="connsiteY1085" fmla="*/ 2565873 h 2708746"/>
                <a:gd name="connsiteX1086" fmla="*/ 3335052 w 5428023"/>
                <a:gd name="connsiteY1086" fmla="*/ 2565873 h 2708746"/>
                <a:gd name="connsiteX1087" fmla="*/ 3483508 w 5428023"/>
                <a:gd name="connsiteY1087" fmla="*/ 2565873 h 2708746"/>
                <a:gd name="connsiteX1088" fmla="*/ 3483508 w 5428023"/>
                <a:gd name="connsiteY1088" fmla="*/ 2586048 h 2708746"/>
                <a:gd name="connsiteX1089" fmla="*/ 3481985 w 5428023"/>
                <a:gd name="connsiteY1089" fmla="*/ 2584906 h 2708746"/>
                <a:gd name="connsiteX1090" fmla="*/ 3495562 w 5428023"/>
                <a:gd name="connsiteY1090" fmla="*/ 2584906 h 2708746"/>
                <a:gd name="connsiteX1091" fmla="*/ 3509012 w 5428023"/>
                <a:gd name="connsiteY1091" fmla="*/ 2584906 h 2708746"/>
                <a:gd name="connsiteX1092" fmla="*/ 3530328 w 5428023"/>
                <a:gd name="connsiteY1092" fmla="*/ 2584906 h 2708746"/>
                <a:gd name="connsiteX1093" fmla="*/ 3582605 w 5428023"/>
                <a:gd name="connsiteY1093" fmla="*/ 2584906 h 2708746"/>
                <a:gd name="connsiteX1094" fmla="*/ 3617498 w 5428023"/>
                <a:gd name="connsiteY1094" fmla="*/ 2584906 h 2708746"/>
                <a:gd name="connsiteX1095" fmla="*/ 3660005 w 5428023"/>
                <a:gd name="connsiteY1095" fmla="*/ 2584906 h 2708746"/>
                <a:gd name="connsiteX1096" fmla="*/ 3698578 w 5428023"/>
                <a:gd name="connsiteY1096" fmla="*/ 2584906 h 2708746"/>
                <a:gd name="connsiteX1097" fmla="*/ 3723828 w 5428023"/>
                <a:gd name="connsiteY1097" fmla="*/ 2584906 h 2708746"/>
                <a:gd name="connsiteX1098" fmla="*/ 3948288 w 5428023"/>
                <a:gd name="connsiteY1098" fmla="*/ 2584906 h 2708746"/>
                <a:gd name="connsiteX1099" fmla="*/ 4010081 w 5428023"/>
                <a:gd name="connsiteY1099" fmla="*/ 2584906 h 2708746"/>
                <a:gd name="connsiteX1100" fmla="*/ 4033301 w 5428023"/>
                <a:gd name="connsiteY1100" fmla="*/ 2584906 h 2708746"/>
                <a:gd name="connsiteX1101" fmla="*/ 4118441 w 5428023"/>
                <a:gd name="connsiteY1101" fmla="*/ 2584906 h 2708746"/>
                <a:gd name="connsiteX1102" fmla="*/ 4319555 w 5428023"/>
                <a:gd name="connsiteY1102" fmla="*/ 2584906 h 2708746"/>
                <a:gd name="connsiteX1103" fmla="*/ 4335161 w 5428023"/>
                <a:gd name="connsiteY1103" fmla="*/ 2584906 h 2708746"/>
                <a:gd name="connsiteX1104" fmla="*/ 4393148 w 5428023"/>
                <a:gd name="connsiteY1104" fmla="*/ 2584906 h 2708746"/>
                <a:gd name="connsiteX1105" fmla="*/ 4431848 w 5428023"/>
                <a:gd name="connsiteY1105" fmla="*/ 2584906 h 2708746"/>
                <a:gd name="connsiteX1106" fmla="*/ 4464330 w 5428023"/>
                <a:gd name="connsiteY1106" fmla="*/ 2584906 h 2708746"/>
                <a:gd name="connsiteX1107" fmla="*/ 4464330 w 5428023"/>
                <a:gd name="connsiteY1107" fmla="*/ 2707731 h 2708746"/>
                <a:gd name="connsiteX1108" fmla="*/ 4462808 w 5428023"/>
                <a:gd name="connsiteY1108" fmla="*/ 2706589 h 2708746"/>
                <a:gd name="connsiteX1109" fmla="*/ 4691075 w 5428023"/>
                <a:gd name="connsiteY1109" fmla="*/ 2706589 h 2708746"/>
                <a:gd name="connsiteX1110" fmla="*/ 5428024 w 5428023"/>
                <a:gd name="connsiteY1110" fmla="*/ 2706589 h 2708746"/>
                <a:gd name="connsiteX1111" fmla="*/ 5428024 w 5428023"/>
                <a:gd name="connsiteY1111" fmla="*/ 2708746 h 2708746"/>
                <a:gd name="connsiteX1112" fmla="*/ 4691075 w 5428023"/>
                <a:gd name="connsiteY1112" fmla="*/ 2708746 h 2708746"/>
                <a:gd name="connsiteX1113" fmla="*/ 4461285 w 5428023"/>
                <a:gd name="connsiteY1113" fmla="*/ 2708746 h 2708746"/>
                <a:gd name="connsiteX1114" fmla="*/ 4461285 w 5428023"/>
                <a:gd name="connsiteY1114" fmla="*/ 2586048 h 2708746"/>
                <a:gd name="connsiteX1115" fmla="*/ 4462808 w 5428023"/>
                <a:gd name="connsiteY1115" fmla="*/ 2587190 h 2708746"/>
                <a:gd name="connsiteX1116" fmla="*/ 4431848 w 5428023"/>
                <a:gd name="connsiteY1116" fmla="*/ 2587190 h 2708746"/>
                <a:gd name="connsiteX1117" fmla="*/ 4393148 w 5428023"/>
                <a:gd name="connsiteY1117" fmla="*/ 2587190 h 2708746"/>
                <a:gd name="connsiteX1118" fmla="*/ 4335161 w 5428023"/>
                <a:gd name="connsiteY1118" fmla="*/ 2587190 h 2708746"/>
                <a:gd name="connsiteX1119" fmla="*/ 4319555 w 5428023"/>
                <a:gd name="connsiteY1119" fmla="*/ 2587190 h 2708746"/>
                <a:gd name="connsiteX1120" fmla="*/ 4118441 w 5428023"/>
                <a:gd name="connsiteY1120" fmla="*/ 2587190 h 2708746"/>
                <a:gd name="connsiteX1121" fmla="*/ 4033301 w 5428023"/>
                <a:gd name="connsiteY1121" fmla="*/ 2587190 h 2708746"/>
                <a:gd name="connsiteX1122" fmla="*/ 4010081 w 5428023"/>
                <a:gd name="connsiteY1122" fmla="*/ 2587190 h 2708746"/>
                <a:gd name="connsiteX1123" fmla="*/ 3948288 w 5428023"/>
                <a:gd name="connsiteY1123" fmla="*/ 2587190 h 2708746"/>
                <a:gd name="connsiteX1124" fmla="*/ 3723828 w 5428023"/>
                <a:gd name="connsiteY1124" fmla="*/ 2587190 h 2708746"/>
                <a:gd name="connsiteX1125" fmla="*/ 3698578 w 5428023"/>
                <a:gd name="connsiteY1125" fmla="*/ 2587190 h 2708746"/>
                <a:gd name="connsiteX1126" fmla="*/ 3660005 w 5428023"/>
                <a:gd name="connsiteY1126" fmla="*/ 2587190 h 2708746"/>
                <a:gd name="connsiteX1127" fmla="*/ 3617498 w 5428023"/>
                <a:gd name="connsiteY1127" fmla="*/ 2587190 h 2708746"/>
                <a:gd name="connsiteX1128" fmla="*/ 3582605 w 5428023"/>
                <a:gd name="connsiteY1128" fmla="*/ 2587190 h 2708746"/>
                <a:gd name="connsiteX1129" fmla="*/ 3530328 w 5428023"/>
                <a:gd name="connsiteY1129" fmla="*/ 2587190 h 2708746"/>
                <a:gd name="connsiteX1130" fmla="*/ 3509012 w 5428023"/>
                <a:gd name="connsiteY1130" fmla="*/ 2587190 h 2708746"/>
                <a:gd name="connsiteX1131" fmla="*/ 3495562 w 5428023"/>
                <a:gd name="connsiteY1131" fmla="*/ 2587190 h 2708746"/>
                <a:gd name="connsiteX1132" fmla="*/ 3480462 w 5428023"/>
                <a:gd name="connsiteY1132" fmla="*/ 2587190 h 2708746"/>
                <a:gd name="connsiteX1133" fmla="*/ 3480462 w 5428023"/>
                <a:gd name="connsiteY1133" fmla="*/ 2566889 h 2708746"/>
                <a:gd name="connsiteX1134" fmla="*/ 3481985 w 5428023"/>
                <a:gd name="connsiteY1134" fmla="*/ 2568031 h 2708746"/>
                <a:gd name="connsiteX1135" fmla="*/ 3335052 w 5428023"/>
                <a:gd name="connsiteY1135" fmla="*/ 2568031 h 2708746"/>
                <a:gd name="connsiteX1136" fmla="*/ 3307898 w 5428023"/>
                <a:gd name="connsiteY1136" fmla="*/ 2568031 h 2708746"/>
                <a:gd name="connsiteX1137" fmla="*/ 3226692 w 5428023"/>
                <a:gd name="connsiteY1137" fmla="*/ 2568031 h 2708746"/>
                <a:gd name="connsiteX1138" fmla="*/ 3224789 w 5428023"/>
                <a:gd name="connsiteY1138" fmla="*/ 2568031 h 2708746"/>
                <a:gd name="connsiteX1139" fmla="*/ 3205756 w 5428023"/>
                <a:gd name="connsiteY1139" fmla="*/ 2568031 h 2708746"/>
                <a:gd name="connsiteX1140" fmla="*/ 3205756 w 5428023"/>
                <a:gd name="connsiteY1140" fmla="*/ 2551028 h 2708746"/>
                <a:gd name="connsiteX1141" fmla="*/ 3207278 w 5428023"/>
                <a:gd name="connsiteY1141" fmla="*/ 2552043 h 2708746"/>
                <a:gd name="connsiteX1142" fmla="*/ 3203852 w 5428023"/>
                <a:gd name="connsiteY1142" fmla="*/ 2552043 h 2708746"/>
                <a:gd name="connsiteX1143" fmla="*/ 3203852 w 5428023"/>
                <a:gd name="connsiteY1143" fmla="*/ 2534914 h 2708746"/>
                <a:gd name="connsiteX1144" fmla="*/ 3205375 w 5428023"/>
                <a:gd name="connsiteY1144" fmla="*/ 2536056 h 2708746"/>
                <a:gd name="connsiteX1145" fmla="*/ 3089275 w 5428023"/>
                <a:gd name="connsiteY1145" fmla="*/ 2536056 h 2708746"/>
                <a:gd name="connsiteX1146" fmla="*/ 3079632 w 5428023"/>
                <a:gd name="connsiteY1146" fmla="*/ 2536056 h 2708746"/>
                <a:gd name="connsiteX1147" fmla="*/ 3052986 w 5428023"/>
                <a:gd name="connsiteY1147" fmla="*/ 2536056 h 2708746"/>
                <a:gd name="connsiteX1148" fmla="*/ 3052986 w 5428023"/>
                <a:gd name="connsiteY1148" fmla="*/ 2520068 h 2708746"/>
                <a:gd name="connsiteX1149" fmla="*/ 3054509 w 5428023"/>
                <a:gd name="connsiteY1149" fmla="*/ 2521210 h 2708746"/>
                <a:gd name="connsiteX1150" fmla="*/ 2994999 w 5428023"/>
                <a:gd name="connsiteY1150" fmla="*/ 2521210 h 2708746"/>
                <a:gd name="connsiteX1151" fmla="*/ 2994999 w 5428023"/>
                <a:gd name="connsiteY1151" fmla="*/ 2505222 h 2708746"/>
                <a:gd name="connsiteX1152" fmla="*/ 2996522 w 5428023"/>
                <a:gd name="connsiteY1152" fmla="*/ 2506364 h 2708746"/>
                <a:gd name="connsiteX1153" fmla="*/ 2950082 w 5428023"/>
                <a:gd name="connsiteY1153" fmla="*/ 2506364 h 2708746"/>
                <a:gd name="connsiteX1154" fmla="*/ 2946148 w 5428023"/>
                <a:gd name="connsiteY1154" fmla="*/ 2506364 h 2708746"/>
                <a:gd name="connsiteX1155" fmla="*/ 2845529 w 5428023"/>
                <a:gd name="connsiteY1155" fmla="*/ 2506364 h 2708746"/>
                <a:gd name="connsiteX1156" fmla="*/ 2835885 w 5428023"/>
                <a:gd name="connsiteY1156" fmla="*/ 2506364 h 2708746"/>
                <a:gd name="connsiteX1157" fmla="*/ 2809239 w 5428023"/>
                <a:gd name="connsiteY1157" fmla="*/ 2506364 h 2708746"/>
                <a:gd name="connsiteX1158" fmla="*/ 2809239 w 5428023"/>
                <a:gd name="connsiteY1158" fmla="*/ 2492153 h 2708746"/>
                <a:gd name="connsiteX1159" fmla="*/ 2810762 w 5428023"/>
                <a:gd name="connsiteY1159" fmla="*/ 2493295 h 2708746"/>
                <a:gd name="connsiteX1160" fmla="*/ 2806829 w 5428023"/>
                <a:gd name="connsiteY1160" fmla="*/ 2493295 h 2708746"/>
                <a:gd name="connsiteX1161" fmla="*/ 2654059 w 5428023"/>
                <a:gd name="connsiteY1161" fmla="*/ 2493295 h 2708746"/>
                <a:gd name="connsiteX1162" fmla="*/ 2648222 w 5428023"/>
                <a:gd name="connsiteY1162" fmla="*/ 2493295 h 2708746"/>
                <a:gd name="connsiteX1163" fmla="*/ 2617262 w 5428023"/>
                <a:gd name="connsiteY1163" fmla="*/ 2493295 h 2708746"/>
                <a:gd name="connsiteX1164" fmla="*/ 2597976 w 5428023"/>
                <a:gd name="connsiteY1164" fmla="*/ 2493295 h 2708746"/>
                <a:gd name="connsiteX1165" fmla="*/ 2590108 w 5428023"/>
                <a:gd name="connsiteY1165" fmla="*/ 2493295 h 2708746"/>
                <a:gd name="connsiteX1166" fmla="*/ 2553439 w 5428023"/>
                <a:gd name="connsiteY1166" fmla="*/ 2493295 h 2708746"/>
                <a:gd name="connsiteX1167" fmla="*/ 2491899 w 5428023"/>
                <a:gd name="connsiteY1167" fmla="*/ 2493295 h 2708746"/>
                <a:gd name="connsiteX1168" fmla="*/ 2491899 w 5428023"/>
                <a:gd name="connsiteY1168" fmla="*/ 2481495 h 2708746"/>
                <a:gd name="connsiteX1169" fmla="*/ 2493422 w 5428023"/>
                <a:gd name="connsiteY1169" fmla="*/ 2482637 h 2708746"/>
                <a:gd name="connsiteX1170" fmla="*/ 2429979 w 5428023"/>
                <a:gd name="connsiteY1170" fmla="*/ 2482637 h 2708746"/>
                <a:gd name="connsiteX1171" fmla="*/ 2429979 w 5428023"/>
                <a:gd name="connsiteY1171" fmla="*/ 2470710 h 2708746"/>
                <a:gd name="connsiteX1172" fmla="*/ 2431502 w 5428023"/>
                <a:gd name="connsiteY1172" fmla="*/ 2471852 h 2708746"/>
                <a:gd name="connsiteX1173" fmla="*/ 2423889 w 5428023"/>
                <a:gd name="connsiteY1173" fmla="*/ 2471852 h 2708746"/>
                <a:gd name="connsiteX1174" fmla="*/ 2412216 w 5428023"/>
                <a:gd name="connsiteY1174" fmla="*/ 2471852 h 2708746"/>
                <a:gd name="connsiteX1175" fmla="*/ 2390899 w 5428023"/>
                <a:gd name="connsiteY1175" fmla="*/ 2471852 h 2708746"/>
                <a:gd name="connsiteX1176" fmla="*/ 2358543 w 5428023"/>
                <a:gd name="connsiteY1176" fmla="*/ 2471852 h 2708746"/>
                <a:gd name="connsiteX1177" fmla="*/ 2358543 w 5428023"/>
                <a:gd name="connsiteY1177" fmla="*/ 2460813 h 2708746"/>
                <a:gd name="connsiteX1178" fmla="*/ 2360066 w 5428023"/>
                <a:gd name="connsiteY1178" fmla="*/ 2461828 h 2708746"/>
                <a:gd name="connsiteX1179" fmla="*/ 2352579 w 5428023"/>
                <a:gd name="connsiteY1179" fmla="*/ 2461828 h 2708746"/>
                <a:gd name="connsiteX1180" fmla="*/ 2352579 w 5428023"/>
                <a:gd name="connsiteY1180" fmla="*/ 2450789 h 2708746"/>
                <a:gd name="connsiteX1181" fmla="*/ 2354229 w 5428023"/>
                <a:gd name="connsiteY1181" fmla="*/ 2451931 h 2708746"/>
                <a:gd name="connsiteX1182" fmla="*/ 2344459 w 5428023"/>
                <a:gd name="connsiteY1182" fmla="*/ 2451931 h 2708746"/>
                <a:gd name="connsiteX1183" fmla="*/ 2328979 w 5428023"/>
                <a:gd name="connsiteY1183" fmla="*/ 2451931 h 2708746"/>
                <a:gd name="connsiteX1184" fmla="*/ 2313626 w 5428023"/>
                <a:gd name="connsiteY1184" fmla="*/ 2451931 h 2708746"/>
                <a:gd name="connsiteX1185" fmla="*/ 2307789 w 5428023"/>
                <a:gd name="connsiteY1185" fmla="*/ 2451931 h 2708746"/>
                <a:gd name="connsiteX1186" fmla="*/ 2292689 w 5428023"/>
                <a:gd name="connsiteY1186" fmla="*/ 2451931 h 2708746"/>
                <a:gd name="connsiteX1187" fmla="*/ 2292689 w 5428023"/>
                <a:gd name="connsiteY1187" fmla="*/ 2441526 h 2708746"/>
                <a:gd name="connsiteX1188" fmla="*/ 2294212 w 5428023"/>
                <a:gd name="connsiteY1188" fmla="*/ 2442668 h 2708746"/>
                <a:gd name="connsiteX1189" fmla="*/ 2286853 w 5428023"/>
                <a:gd name="connsiteY1189" fmla="*/ 2442668 h 2708746"/>
                <a:gd name="connsiteX1190" fmla="*/ 2286853 w 5428023"/>
                <a:gd name="connsiteY1190" fmla="*/ 2432263 h 2708746"/>
                <a:gd name="connsiteX1191" fmla="*/ 2288375 w 5428023"/>
                <a:gd name="connsiteY1191" fmla="*/ 2433405 h 2708746"/>
                <a:gd name="connsiteX1192" fmla="*/ 2282666 w 5428023"/>
                <a:gd name="connsiteY1192" fmla="*/ 2433405 h 2708746"/>
                <a:gd name="connsiteX1193" fmla="*/ 2270992 w 5428023"/>
                <a:gd name="connsiteY1193" fmla="*/ 2433405 h 2708746"/>
                <a:gd name="connsiteX1194" fmla="*/ 2267186 w 5428023"/>
                <a:gd name="connsiteY1194" fmla="*/ 2433405 h 2708746"/>
                <a:gd name="connsiteX1195" fmla="*/ 2249675 w 5428023"/>
                <a:gd name="connsiteY1195" fmla="*/ 2433405 h 2708746"/>
                <a:gd name="connsiteX1196" fmla="*/ 2226582 w 5428023"/>
                <a:gd name="connsiteY1196" fmla="*/ 2433405 h 2708746"/>
                <a:gd name="connsiteX1197" fmla="*/ 2213386 w 5428023"/>
                <a:gd name="connsiteY1197" fmla="*/ 2433405 h 2708746"/>
                <a:gd name="connsiteX1198" fmla="*/ 2213386 w 5428023"/>
                <a:gd name="connsiteY1198" fmla="*/ 2423762 h 2708746"/>
                <a:gd name="connsiteX1199" fmla="*/ 2214909 w 5428023"/>
                <a:gd name="connsiteY1199" fmla="*/ 2424904 h 2708746"/>
                <a:gd name="connsiteX1200" fmla="*/ 2205519 w 5428023"/>
                <a:gd name="connsiteY1200" fmla="*/ 2424904 h 2708746"/>
                <a:gd name="connsiteX1201" fmla="*/ 2205519 w 5428023"/>
                <a:gd name="connsiteY1201" fmla="*/ 2415261 h 2708746"/>
                <a:gd name="connsiteX1202" fmla="*/ 2207042 w 5428023"/>
                <a:gd name="connsiteY1202" fmla="*/ 2416403 h 2708746"/>
                <a:gd name="connsiteX1203" fmla="*/ 2195876 w 5428023"/>
                <a:gd name="connsiteY1203" fmla="*/ 2416403 h 2708746"/>
                <a:gd name="connsiteX1204" fmla="*/ 2195876 w 5428023"/>
                <a:gd name="connsiteY1204" fmla="*/ 2406759 h 2708746"/>
                <a:gd name="connsiteX1205" fmla="*/ 2197399 w 5428023"/>
                <a:gd name="connsiteY1205" fmla="*/ 2407901 h 2708746"/>
                <a:gd name="connsiteX1206" fmla="*/ 2192070 w 5428023"/>
                <a:gd name="connsiteY1206" fmla="*/ 2407901 h 2708746"/>
                <a:gd name="connsiteX1207" fmla="*/ 2192070 w 5428023"/>
                <a:gd name="connsiteY1207" fmla="*/ 2398258 h 2708746"/>
                <a:gd name="connsiteX1208" fmla="*/ 2193592 w 5428023"/>
                <a:gd name="connsiteY1208" fmla="*/ 2399400 h 2708746"/>
                <a:gd name="connsiteX1209" fmla="*/ 2114796 w 5428023"/>
                <a:gd name="connsiteY1209" fmla="*/ 2399400 h 2708746"/>
                <a:gd name="connsiteX1210" fmla="*/ 2114796 w 5428023"/>
                <a:gd name="connsiteY1210" fmla="*/ 2389757 h 2708746"/>
                <a:gd name="connsiteX1211" fmla="*/ 2116319 w 5428023"/>
                <a:gd name="connsiteY1211" fmla="*/ 2390899 h 2708746"/>
                <a:gd name="connsiteX1212" fmla="*/ 2091069 w 5428023"/>
                <a:gd name="connsiteY1212" fmla="*/ 2390899 h 2708746"/>
                <a:gd name="connsiteX1213" fmla="*/ 2078000 w 5428023"/>
                <a:gd name="connsiteY1213" fmla="*/ 2390899 h 2708746"/>
                <a:gd name="connsiteX1214" fmla="*/ 2078000 w 5428023"/>
                <a:gd name="connsiteY1214" fmla="*/ 2381382 h 2708746"/>
                <a:gd name="connsiteX1215" fmla="*/ 2079522 w 5428023"/>
                <a:gd name="connsiteY1215" fmla="*/ 2382524 h 2708746"/>
                <a:gd name="connsiteX1216" fmla="*/ 2066453 w 5428023"/>
                <a:gd name="connsiteY1216" fmla="*/ 2382524 h 2708746"/>
                <a:gd name="connsiteX1217" fmla="*/ 2066453 w 5428023"/>
                <a:gd name="connsiteY1217" fmla="*/ 2373008 h 2708746"/>
                <a:gd name="connsiteX1218" fmla="*/ 2067976 w 5428023"/>
                <a:gd name="connsiteY1218" fmla="*/ 2374150 h 2708746"/>
                <a:gd name="connsiteX1219" fmla="*/ 2052750 w 5428023"/>
                <a:gd name="connsiteY1219" fmla="*/ 2374150 h 2708746"/>
                <a:gd name="connsiteX1220" fmla="*/ 2052750 w 5428023"/>
                <a:gd name="connsiteY1220" fmla="*/ 2364633 h 2708746"/>
                <a:gd name="connsiteX1221" fmla="*/ 2054272 w 5428023"/>
                <a:gd name="connsiteY1221" fmla="*/ 2365776 h 2708746"/>
                <a:gd name="connsiteX1222" fmla="*/ 1967736 w 5428023"/>
                <a:gd name="connsiteY1222" fmla="*/ 2365776 h 2708746"/>
                <a:gd name="connsiteX1223" fmla="*/ 1967736 w 5428023"/>
                <a:gd name="connsiteY1223" fmla="*/ 2356259 h 2708746"/>
                <a:gd name="connsiteX1224" fmla="*/ 1969259 w 5428023"/>
                <a:gd name="connsiteY1224" fmla="*/ 2357401 h 2708746"/>
                <a:gd name="connsiteX1225" fmla="*/ 1954160 w 5428023"/>
                <a:gd name="connsiteY1225" fmla="*/ 2357401 h 2708746"/>
                <a:gd name="connsiteX1226" fmla="*/ 1954160 w 5428023"/>
                <a:gd name="connsiteY1226" fmla="*/ 2347885 h 2708746"/>
                <a:gd name="connsiteX1227" fmla="*/ 1955682 w 5428023"/>
                <a:gd name="connsiteY1227" fmla="*/ 2349027 h 2708746"/>
                <a:gd name="connsiteX1228" fmla="*/ 1936776 w 5428023"/>
                <a:gd name="connsiteY1228" fmla="*/ 2349027 h 2708746"/>
                <a:gd name="connsiteX1229" fmla="*/ 1936776 w 5428023"/>
                <a:gd name="connsiteY1229" fmla="*/ 2339510 h 2708746"/>
                <a:gd name="connsiteX1230" fmla="*/ 1938299 w 5428023"/>
                <a:gd name="connsiteY1230" fmla="*/ 2340652 h 2708746"/>
                <a:gd name="connsiteX1231" fmla="*/ 1928656 w 5428023"/>
                <a:gd name="connsiteY1231" fmla="*/ 2340652 h 2708746"/>
                <a:gd name="connsiteX1232" fmla="*/ 1872573 w 5428023"/>
                <a:gd name="connsiteY1232" fmla="*/ 2340652 h 2708746"/>
                <a:gd name="connsiteX1233" fmla="*/ 1861280 w 5428023"/>
                <a:gd name="connsiteY1233" fmla="*/ 2340652 h 2708746"/>
                <a:gd name="connsiteX1234" fmla="*/ 1861280 w 5428023"/>
                <a:gd name="connsiteY1234" fmla="*/ 2331390 h 2708746"/>
                <a:gd name="connsiteX1235" fmla="*/ 1862802 w 5428023"/>
                <a:gd name="connsiteY1235" fmla="*/ 2332532 h 2708746"/>
                <a:gd name="connsiteX1236" fmla="*/ 1858869 w 5428023"/>
                <a:gd name="connsiteY1236" fmla="*/ 2332532 h 2708746"/>
                <a:gd name="connsiteX1237" fmla="*/ 1856966 w 5428023"/>
                <a:gd name="connsiteY1237" fmla="*/ 2332532 h 2708746"/>
                <a:gd name="connsiteX1238" fmla="*/ 1855062 w 5428023"/>
                <a:gd name="connsiteY1238" fmla="*/ 2332532 h 2708746"/>
                <a:gd name="connsiteX1239" fmla="*/ 1851636 w 5428023"/>
                <a:gd name="connsiteY1239" fmla="*/ 2332532 h 2708746"/>
                <a:gd name="connsiteX1240" fmla="*/ 1851636 w 5428023"/>
                <a:gd name="connsiteY1240" fmla="*/ 2323777 h 2708746"/>
                <a:gd name="connsiteX1241" fmla="*/ 1853159 w 5428023"/>
                <a:gd name="connsiteY1241" fmla="*/ 2324919 h 2708746"/>
                <a:gd name="connsiteX1242" fmla="*/ 1841993 w 5428023"/>
                <a:gd name="connsiteY1242" fmla="*/ 2324919 h 2708746"/>
                <a:gd name="connsiteX1243" fmla="*/ 1841993 w 5428023"/>
                <a:gd name="connsiteY1243" fmla="*/ 2316163 h 2708746"/>
                <a:gd name="connsiteX1244" fmla="*/ 1843516 w 5428023"/>
                <a:gd name="connsiteY1244" fmla="*/ 2317179 h 2708746"/>
                <a:gd name="connsiteX1245" fmla="*/ 1826133 w 5428023"/>
                <a:gd name="connsiteY1245" fmla="*/ 2317179 h 2708746"/>
                <a:gd name="connsiteX1246" fmla="*/ 1814459 w 5428023"/>
                <a:gd name="connsiteY1246" fmla="*/ 2317179 h 2708746"/>
                <a:gd name="connsiteX1247" fmla="*/ 1812429 w 5428023"/>
                <a:gd name="connsiteY1247" fmla="*/ 2317179 h 2708746"/>
                <a:gd name="connsiteX1248" fmla="*/ 1780073 w 5428023"/>
                <a:gd name="connsiteY1248" fmla="*/ 2317179 h 2708746"/>
                <a:gd name="connsiteX1249" fmla="*/ 1780073 w 5428023"/>
                <a:gd name="connsiteY1249" fmla="*/ 2301318 h 2708746"/>
                <a:gd name="connsiteX1250" fmla="*/ 1781596 w 5428023"/>
                <a:gd name="connsiteY1250" fmla="*/ 2302460 h 2708746"/>
                <a:gd name="connsiteX1251" fmla="*/ 1762563 w 5428023"/>
                <a:gd name="connsiteY1251" fmla="*/ 2302460 h 2708746"/>
                <a:gd name="connsiteX1252" fmla="*/ 1762563 w 5428023"/>
                <a:gd name="connsiteY1252" fmla="*/ 2293958 h 2708746"/>
                <a:gd name="connsiteX1253" fmla="*/ 1764086 w 5428023"/>
                <a:gd name="connsiteY1253" fmla="*/ 2295100 h 2708746"/>
                <a:gd name="connsiteX1254" fmla="*/ 1744799 w 5428023"/>
                <a:gd name="connsiteY1254" fmla="*/ 2295100 h 2708746"/>
                <a:gd name="connsiteX1255" fmla="*/ 1710413 w 5428023"/>
                <a:gd name="connsiteY1255" fmla="*/ 2295100 h 2708746"/>
                <a:gd name="connsiteX1256" fmla="*/ 1710413 w 5428023"/>
                <a:gd name="connsiteY1256" fmla="*/ 2286599 h 2708746"/>
                <a:gd name="connsiteX1257" fmla="*/ 1711936 w 5428023"/>
                <a:gd name="connsiteY1257" fmla="*/ 2287741 h 2708746"/>
                <a:gd name="connsiteX1258" fmla="*/ 1686812 w 5428023"/>
                <a:gd name="connsiteY1258" fmla="*/ 2287741 h 2708746"/>
                <a:gd name="connsiteX1259" fmla="*/ 1679073 w 5428023"/>
                <a:gd name="connsiteY1259" fmla="*/ 2287741 h 2708746"/>
                <a:gd name="connsiteX1260" fmla="*/ 1663593 w 5428023"/>
                <a:gd name="connsiteY1260" fmla="*/ 2287741 h 2708746"/>
                <a:gd name="connsiteX1261" fmla="*/ 1650396 w 5428023"/>
                <a:gd name="connsiteY1261" fmla="*/ 2287741 h 2708746"/>
                <a:gd name="connsiteX1262" fmla="*/ 1650396 w 5428023"/>
                <a:gd name="connsiteY1262" fmla="*/ 2279620 h 2708746"/>
                <a:gd name="connsiteX1263" fmla="*/ 1651919 w 5428023"/>
                <a:gd name="connsiteY1263" fmla="*/ 2280763 h 2708746"/>
                <a:gd name="connsiteX1264" fmla="*/ 1650016 w 5428023"/>
                <a:gd name="connsiteY1264" fmla="*/ 2280763 h 2708746"/>
                <a:gd name="connsiteX1265" fmla="*/ 1646209 w 5428023"/>
                <a:gd name="connsiteY1265" fmla="*/ 2280763 h 2708746"/>
                <a:gd name="connsiteX1266" fmla="*/ 1633140 w 5428023"/>
                <a:gd name="connsiteY1266" fmla="*/ 2280763 h 2708746"/>
                <a:gd name="connsiteX1267" fmla="*/ 1633140 w 5428023"/>
                <a:gd name="connsiteY1267" fmla="*/ 2272642 h 2708746"/>
                <a:gd name="connsiteX1268" fmla="*/ 1634663 w 5428023"/>
                <a:gd name="connsiteY1268" fmla="*/ 2273784 h 2708746"/>
                <a:gd name="connsiteX1269" fmla="*/ 1630729 w 5428023"/>
                <a:gd name="connsiteY1269" fmla="*/ 2273784 h 2708746"/>
                <a:gd name="connsiteX1270" fmla="*/ 1627176 w 5428023"/>
                <a:gd name="connsiteY1270" fmla="*/ 2273784 h 2708746"/>
                <a:gd name="connsiteX1271" fmla="*/ 1627176 w 5428023"/>
                <a:gd name="connsiteY1271" fmla="*/ 2265790 h 2708746"/>
                <a:gd name="connsiteX1272" fmla="*/ 1628699 w 5428023"/>
                <a:gd name="connsiteY1272" fmla="*/ 2266932 h 2708746"/>
                <a:gd name="connsiteX1273" fmla="*/ 1625273 w 5428023"/>
                <a:gd name="connsiteY1273" fmla="*/ 2266932 h 2708746"/>
                <a:gd name="connsiteX1274" fmla="*/ 1625273 w 5428023"/>
                <a:gd name="connsiteY1274" fmla="*/ 2258938 h 2708746"/>
                <a:gd name="connsiteX1275" fmla="*/ 1626796 w 5428023"/>
                <a:gd name="connsiteY1275" fmla="*/ 2260080 h 2708746"/>
                <a:gd name="connsiteX1276" fmla="*/ 1593932 w 5428023"/>
                <a:gd name="connsiteY1276" fmla="*/ 2260080 h 2708746"/>
                <a:gd name="connsiteX1277" fmla="*/ 1588603 w 5428023"/>
                <a:gd name="connsiteY1277" fmla="*/ 2260080 h 2708746"/>
                <a:gd name="connsiteX1278" fmla="*/ 1588603 w 5428023"/>
                <a:gd name="connsiteY1278" fmla="*/ 2252213 h 2708746"/>
                <a:gd name="connsiteX1279" fmla="*/ 1590126 w 5428023"/>
                <a:gd name="connsiteY1279" fmla="*/ 2253228 h 2708746"/>
                <a:gd name="connsiteX1280" fmla="*/ 1564876 w 5428023"/>
                <a:gd name="connsiteY1280" fmla="*/ 2253228 h 2708746"/>
                <a:gd name="connsiteX1281" fmla="*/ 1553710 w 5428023"/>
                <a:gd name="connsiteY1281" fmla="*/ 2253228 h 2708746"/>
                <a:gd name="connsiteX1282" fmla="*/ 1553710 w 5428023"/>
                <a:gd name="connsiteY1282" fmla="*/ 2245488 h 2708746"/>
                <a:gd name="connsiteX1283" fmla="*/ 1555232 w 5428023"/>
                <a:gd name="connsiteY1283" fmla="*/ 2246503 h 2708746"/>
                <a:gd name="connsiteX1284" fmla="*/ 1544066 w 5428023"/>
                <a:gd name="connsiteY1284" fmla="*/ 2246503 h 2708746"/>
                <a:gd name="connsiteX1285" fmla="*/ 1544066 w 5428023"/>
                <a:gd name="connsiteY1285" fmla="*/ 2238763 h 2708746"/>
                <a:gd name="connsiteX1286" fmla="*/ 1545589 w 5428023"/>
                <a:gd name="connsiteY1286" fmla="*/ 2239778 h 2708746"/>
                <a:gd name="connsiteX1287" fmla="*/ 1541783 w 5428023"/>
                <a:gd name="connsiteY1287" fmla="*/ 2239778 h 2708746"/>
                <a:gd name="connsiteX1288" fmla="*/ 1522750 w 5428023"/>
                <a:gd name="connsiteY1288" fmla="*/ 2239778 h 2708746"/>
                <a:gd name="connsiteX1289" fmla="*/ 1522750 w 5428023"/>
                <a:gd name="connsiteY1289" fmla="*/ 2232038 h 2708746"/>
                <a:gd name="connsiteX1290" fmla="*/ 1524272 w 5428023"/>
                <a:gd name="connsiteY1290" fmla="*/ 2233181 h 2708746"/>
                <a:gd name="connsiteX1291" fmla="*/ 1515010 w 5428023"/>
                <a:gd name="connsiteY1291" fmla="*/ 2233181 h 2708746"/>
                <a:gd name="connsiteX1292" fmla="*/ 1515010 w 5428023"/>
                <a:gd name="connsiteY1292" fmla="*/ 2225441 h 2708746"/>
                <a:gd name="connsiteX1293" fmla="*/ 1516532 w 5428023"/>
                <a:gd name="connsiteY1293" fmla="*/ 2226582 h 2708746"/>
                <a:gd name="connsiteX1294" fmla="*/ 1514629 w 5428023"/>
                <a:gd name="connsiteY1294" fmla="*/ 2226582 h 2708746"/>
                <a:gd name="connsiteX1295" fmla="*/ 1499530 w 5428023"/>
                <a:gd name="connsiteY1295" fmla="*/ 2226582 h 2708746"/>
                <a:gd name="connsiteX1296" fmla="*/ 1499530 w 5428023"/>
                <a:gd name="connsiteY1296" fmla="*/ 2218842 h 2708746"/>
                <a:gd name="connsiteX1297" fmla="*/ 1501052 w 5428023"/>
                <a:gd name="connsiteY1297" fmla="*/ 2219984 h 2708746"/>
                <a:gd name="connsiteX1298" fmla="*/ 1472376 w 5428023"/>
                <a:gd name="connsiteY1298" fmla="*/ 2219984 h 2708746"/>
                <a:gd name="connsiteX1299" fmla="*/ 1472376 w 5428023"/>
                <a:gd name="connsiteY1299" fmla="*/ 2212244 h 2708746"/>
                <a:gd name="connsiteX1300" fmla="*/ 1473899 w 5428023"/>
                <a:gd name="connsiteY1300" fmla="*/ 2213386 h 2708746"/>
                <a:gd name="connsiteX1301" fmla="*/ 1464763 w 5428023"/>
                <a:gd name="connsiteY1301" fmla="*/ 2213386 h 2708746"/>
                <a:gd name="connsiteX1302" fmla="*/ 1464763 w 5428023"/>
                <a:gd name="connsiteY1302" fmla="*/ 2205646 h 2708746"/>
                <a:gd name="connsiteX1303" fmla="*/ 1466286 w 5428023"/>
                <a:gd name="connsiteY1303" fmla="*/ 2206788 h 2708746"/>
                <a:gd name="connsiteX1304" fmla="*/ 1458927 w 5428023"/>
                <a:gd name="connsiteY1304" fmla="*/ 2206788 h 2708746"/>
                <a:gd name="connsiteX1305" fmla="*/ 1458927 w 5428023"/>
                <a:gd name="connsiteY1305" fmla="*/ 2199048 h 2708746"/>
                <a:gd name="connsiteX1306" fmla="*/ 1460449 w 5428023"/>
                <a:gd name="connsiteY1306" fmla="*/ 2200190 h 2708746"/>
                <a:gd name="connsiteX1307" fmla="*/ 1449283 w 5428023"/>
                <a:gd name="connsiteY1307" fmla="*/ 2200190 h 2708746"/>
                <a:gd name="connsiteX1308" fmla="*/ 1449283 w 5428023"/>
                <a:gd name="connsiteY1308" fmla="*/ 2192450 h 2708746"/>
                <a:gd name="connsiteX1309" fmla="*/ 1450806 w 5428023"/>
                <a:gd name="connsiteY1309" fmla="*/ 2193592 h 2708746"/>
                <a:gd name="connsiteX1310" fmla="*/ 1445477 w 5428023"/>
                <a:gd name="connsiteY1310" fmla="*/ 2193592 h 2708746"/>
                <a:gd name="connsiteX1311" fmla="*/ 1445477 w 5428023"/>
                <a:gd name="connsiteY1311" fmla="*/ 2185852 h 2708746"/>
                <a:gd name="connsiteX1312" fmla="*/ 1446999 w 5428023"/>
                <a:gd name="connsiteY1312" fmla="*/ 2186994 h 2708746"/>
                <a:gd name="connsiteX1313" fmla="*/ 1444969 w 5428023"/>
                <a:gd name="connsiteY1313" fmla="*/ 2186994 h 2708746"/>
                <a:gd name="connsiteX1314" fmla="*/ 1439259 w 5428023"/>
                <a:gd name="connsiteY1314" fmla="*/ 2186994 h 2708746"/>
                <a:gd name="connsiteX1315" fmla="*/ 1431393 w 5428023"/>
                <a:gd name="connsiteY1315" fmla="*/ 2186994 h 2708746"/>
                <a:gd name="connsiteX1316" fmla="*/ 1423653 w 5428023"/>
                <a:gd name="connsiteY1316" fmla="*/ 2186994 h 2708746"/>
                <a:gd name="connsiteX1317" fmla="*/ 1421749 w 5428023"/>
                <a:gd name="connsiteY1317" fmla="*/ 2186994 h 2708746"/>
                <a:gd name="connsiteX1318" fmla="*/ 1408680 w 5428023"/>
                <a:gd name="connsiteY1318" fmla="*/ 2186994 h 2708746"/>
                <a:gd name="connsiteX1319" fmla="*/ 1408680 w 5428023"/>
                <a:gd name="connsiteY1319" fmla="*/ 2179635 h 2708746"/>
                <a:gd name="connsiteX1320" fmla="*/ 1410203 w 5428023"/>
                <a:gd name="connsiteY1320" fmla="*/ 2180777 h 2708746"/>
                <a:gd name="connsiteX1321" fmla="*/ 1358307 w 5428023"/>
                <a:gd name="connsiteY1321" fmla="*/ 2180777 h 2708746"/>
                <a:gd name="connsiteX1322" fmla="*/ 1358307 w 5428023"/>
                <a:gd name="connsiteY1322" fmla="*/ 2173418 h 2708746"/>
                <a:gd name="connsiteX1323" fmla="*/ 1359829 w 5428023"/>
                <a:gd name="connsiteY1323" fmla="*/ 2174559 h 2708746"/>
                <a:gd name="connsiteX1324" fmla="*/ 1350186 w 5428023"/>
                <a:gd name="connsiteY1324" fmla="*/ 2174559 h 2708746"/>
                <a:gd name="connsiteX1325" fmla="*/ 1333183 w 5428023"/>
                <a:gd name="connsiteY1325" fmla="*/ 2174559 h 2708746"/>
                <a:gd name="connsiteX1326" fmla="*/ 1333183 w 5428023"/>
                <a:gd name="connsiteY1326" fmla="*/ 2167327 h 2708746"/>
                <a:gd name="connsiteX1327" fmla="*/ 1334706 w 5428023"/>
                <a:gd name="connsiteY1327" fmla="*/ 2168342 h 2708746"/>
                <a:gd name="connsiteX1328" fmla="*/ 1327347 w 5428023"/>
                <a:gd name="connsiteY1328" fmla="*/ 2168342 h 2708746"/>
                <a:gd name="connsiteX1329" fmla="*/ 1327347 w 5428023"/>
                <a:gd name="connsiteY1329" fmla="*/ 2161110 h 2708746"/>
                <a:gd name="connsiteX1330" fmla="*/ 1328869 w 5428023"/>
                <a:gd name="connsiteY1330" fmla="*/ 2162252 h 2708746"/>
                <a:gd name="connsiteX1331" fmla="*/ 1317323 w 5428023"/>
                <a:gd name="connsiteY1331" fmla="*/ 2162252 h 2708746"/>
                <a:gd name="connsiteX1332" fmla="*/ 1300320 w 5428023"/>
                <a:gd name="connsiteY1332" fmla="*/ 2162252 h 2708746"/>
                <a:gd name="connsiteX1333" fmla="*/ 1300320 w 5428023"/>
                <a:gd name="connsiteY1333" fmla="*/ 2155019 h 2708746"/>
                <a:gd name="connsiteX1334" fmla="*/ 1301843 w 5428023"/>
                <a:gd name="connsiteY1334" fmla="*/ 2156161 h 2708746"/>
                <a:gd name="connsiteX1335" fmla="*/ 1272786 w 5428023"/>
                <a:gd name="connsiteY1335" fmla="*/ 2156161 h 2708746"/>
                <a:gd name="connsiteX1336" fmla="*/ 1257306 w 5428023"/>
                <a:gd name="connsiteY1336" fmla="*/ 2156161 h 2708746"/>
                <a:gd name="connsiteX1337" fmla="*/ 1246140 w 5428023"/>
                <a:gd name="connsiteY1337" fmla="*/ 2156161 h 2708746"/>
                <a:gd name="connsiteX1338" fmla="*/ 1246140 w 5428023"/>
                <a:gd name="connsiteY1338" fmla="*/ 2149056 h 2708746"/>
                <a:gd name="connsiteX1339" fmla="*/ 1247663 w 5428023"/>
                <a:gd name="connsiteY1339" fmla="*/ 2150197 h 2708746"/>
                <a:gd name="connsiteX1340" fmla="*/ 1242207 w 5428023"/>
                <a:gd name="connsiteY1340" fmla="*/ 2150197 h 2708746"/>
                <a:gd name="connsiteX1341" fmla="*/ 1242207 w 5428023"/>
                <a:gd name="connsiteY1341" fmla="*/ 2143219 h 2708746"/>
                <a:gd name="connsiteX1342" fmla="*/ 1243729 w 5428023"/>
                <a:gd name="connsiteY1342" fmla="*/ 2144234 h 2708746"/>
                <a:gd name="connsiteX1343" fmla="*/ 1230660 w 5428023"/>
                <a:gd name="connsiteY1343" fmla="*/ 2144234 h 2708746"/>
                <a:gd name="connsiteX1344" fmla="*/ 1230660 w 5428023"/>
                <a:gd name="connsiteY1344" fmla="*/ 2137255 h 2708746"/>
                <a:gd name="connsiteX1345" fmla="*/ 1232183 w 5428023"/>
                <a:gd name="connsiteY1345" fmla="*/ 2138270 h 2708746"/>
                <a:gd name="connsiteX1346" fmla="*/ 1230153 w 5428023"/>
                <a:gd name="connsiteY1346" fmla="*/ 2138270 h 2708746"/>
                <a:gd name="connsiteX1347" fmla="*/ 1217083 w 5428023"/>
                <a:gd name="connsiteY1347" fmla="*/ 2138270 h 2708746"/>
                <a:gd name="connsiteX1348" fmla="*/ 1217083 w 5428023"/>
                <a:gd name="connsiteY1348" fmla="*/ 2131292 h 2708746"/>
                <a:gd name="connsiteX1349" fmla="*/ 1218606 w 5428023"/>
                <a:gd name="connsiteY1349" fmla="*/ 2132434 h 2708746"/>
                <a:gd name="connsiteX1350" fmla="*/ 1209343 w 5428023"/>
                <a:gd name="connsiteY1350" fmla="*/ 2132434 h 2708746"/>
                <a:gd name="connsiteX1351" fmla="*/ 1209343 w 5428023"/>
                <a:gd name="connsiteY1351" fmla="*/ 2125582 h 2708746"/>
                <a:gd name="connsiteX1352" fmla="*/ 1210866 w 5428023"/>
                <a:gd name="connsiteY1352" fmla="*/ 2126597 h 2708746"/>
                <a:gd name="connsiteX1353" fmla="*/ 1195767 w 5428023"/>
                <a:gd name="connsiteY1353" fmla="*/ 2126597 h 2708746"/>
                <a:gd name="connsiteX1354" fmla="*/ 1195767 w 5428023"/>
                <a:gd name="connsiteY1354" fmla="*/ 2119618 h 2708746"/>
                <a:gd name="connsiteX1355" fmla="*/ 1197416 w 5428023"/>
                <a:gd name="connsiteY1355" fmla="*/ 2120760 h 2708746"/>
                <a:gd name="connsiteX1356" fmla="*/ 1191960 w 5428023"/>
                <a:gd name="connsiteY1356" fmla="*/ 2120760 h 2708746"/>
                <a:gd name="connsiteX1357" fmla="*/ 1191960 w 5428023"/>
                <a:gd name="connsiteY1357" fmla="*/ 2113781 h 2708746"/>
                <a:gd name="connsiteX1358" fmla="*/ 1193483 w 5428023"/>
                <a:gd name="connsiteY1358" fmla="*/ 2114923 h 2708746"/>
                <a:gd name="connsiteX1359" fmla="*/ 1180287 w 5428023"/>
                <a:gd name="connsiteY1359" fmla="*/ 2114923 h 2708746"/>
                <a:gd name="connsiteX1360" fmla="*/ 1180287 w 5428023"/>
                <a:gd name="connsiteY1360" fmla="*/ 2107945 h 2708746"/>
                <a:gd name="connsiteX1361" fmla="*/ 1181809 w 5428023"/>
                <a:gd name="connsiteY1361" fmla="*/ 2109087 h 2708746"/>
                <a:gd name="connsiteX1362" fmla="*/ 1178383 w 5428023"/>
                <a:gd name="connsiteY1362" fmla="*/ 2109087 h 2708746"/>
                <a:gd name="connsiteX1363" fmla="*/ 1178383 w 5428023"/>
                <a:gd name="connsiteY1363" fmla="*/ 2102235 h 2708746"/>
                <a:gd name="connsiteX1364" fmla="*/ 1179906 w 5428023"/>
                <a:gd name="connsiteY1364" fmla="*/ 2103250 h 2708746"/>
                <a:gd name="connsiteX1365" fmla="*/ 1162903 w 5428023"/>
                <a:gd name="connsiteY1365" fmla="*/ 2103250 h 2708746"/>
                <a:gd name="connsiteX1366" fmla="*/ 1162903 w 5428023"/>
                <a:gd name="connsiteY1366" fmla="*/ 2096398 h 2708746"/>
                <a:gd name="connsiteX1367" fmla="*/ 1164426 w 5428023"/>
                <a:gd name="connsiteY1367" fmla="*/ 2097540 h 2708746"/>
                <a:gd name="connsiteX1368" fmla="*/ 1152879 w 5428023"/>
                <a:gd name="connsiteY1368" fmla="*/ 2097540 h 2708746"/>
                <a:gd name="connsiteX1369" fmla="*/ 1141206 w 5428023"/>
                <a:gd name="connsiteY1369" fmla="*/ 2097540 h 2708746"/>
                <a:gd name="connsiteX1370" fmla="*/ 1137780 w 5428023"/>
                <a:gd name="connsiteY1370" fmla="*/ 2097540 h 2708746"/>
                <a:gd name="connsiteX1371" fmla="*/ 1137780 w 5428023"/>
                <a:gd name="connsiteY1371" fmla="*/ 2084852 h 2708746"/>
                <a:gd name="connsiteX1372" fmla="*/ 1139303 w 5428023"/>
                <a:gd name="connsiteY1372" fmla="*/ 2085994 h 2708746"/>
                <a:gd name="connsiteX1373" fmla="*/ 1130040 w 5428023"/>
                <a:gd name="connsiteY1373" fmla="*/ 2085994 h 2708746"/>
                <a:gd name="connsiteX1374" fmla="*/ 1130040 w 5428023"/>
                <a:gd name="connsiteY1374" fmla="*/ 2079142 h 2708746"/>
                <a:gd name="connsiteX1375" fmla="*/ 1131563 w 5428023"/>
                <a:gd name="connsiteY1375" fmla="*/ 2080284 h 2708746"/>
                <a:gd name="connsiteX1376" fmla="*/ 1103013 w 5428023"/>
                <a:gd name="connsiteY1376" fmla="*/ 2080284 h 2708746"/>
                <a:gd name="connsiteX1377" fmla="*/ 1103013 w 5428023"/>
                <a:gd name="connsiteY1377" fmla="*/ 2073432 h 2708746"/>
                <a:gd name="connsiteX1378" fmla="*/ 1104536 w 5428023"/>
                <a:gd name="connsiteY1378" fmla="*/ 2074574 h 2708746"/>
                <a:gd name="connsiteX1379" fmla="*/ 1098572 w 5428023"/>
                <a:gd name="connsiteY1379" fmla="*/ 2074574 h 2708746"/>
                <a:gd name="connsiteX1380" fmla="*/ 1096669 w 5428023"/>
                <a:gd name="connsiteY1380" fmla="*/ 2074574 h 2708746"/>
                <a:gd name="connsiteX1381" fmla="*/ 1093243 w 5428023"/>
                <a:gd name="connsiteY1381" fmla="*/ 2074574 h 2708746"/>
                <a:gd name="connsiteX1382" fmla="*/ 1093243 w 5428023"/>
                <a:gd name="connsiteY1382" fmla="*/ 2067722 h 2708746"/>
                <a:gd name="connsiteX1383" fmla="*/ 1094766 w 5428023"/>
                <a:gd name="connsiteY1383" fmla="*/ 2068864 h 2708746"/>
                <a:gd name="connsiteX1384" fmla="*/ 1091340 w 5428023"/>
                <a:gd name="connsiteY1384" fmla="*/ 2068864 h 2708746"/>
                <a:gd name="connsiteX1385" fmla="*/ 1091340 w 5428023"/>
                <a:gd name="connsiteY1385" fmla="*/ 2062139 h 2708746"/>
                <a:gd name="connsiteX1386" fmla="*/ 1092863 w 5428023"/>
                <a:gd name="connsiteY1386" fmla="*/ 2063281 h 2708746"/>
                <a:gd name="connsiteX1387" fmla="*/ 1062410 w 5428023"/>
                <a:gd name="connsiteY1387" fmla="*/ 2063281 h 2708746"/>
                <a:gd name="connsiteX1388" fmla="*/ 1062410 w 5428023"/>
                <a:gd name="connsiteY1388" fmla="*/ 2056429 h 2708746"/>
                <a:gd name="connsiteX1389" fmla="*/ 1063933 w 5428023"/>
                <a:gd name="connsiteY1389" fmla="*/ 2057571 h 2708746"/>
                <a:gd name="connsiteX1390" fmla="*/ 1060507 w 5428023"/>
                <a:gd name="connsiteY1390" fmla="*/ 2057571 h 2708746"/>
                <a:gd name="connsiteX1391" fmla="*/ 1060507 w 5428023"/>
                <a:gd name="connsiteY1391" fmla="*/ 2050719 h 2708746"/>
                <a:gd name="connsiteX1392" fmla="*/ 1062030 w 5428023"/>
                <a:gd name="connsiteY1392" fmla="*/ 2051861 h 2708746"/>
                <a:gd name="connsiteX1393" fmla="*/ 1058096 w 5428023"/>
                <a:gd name="connsiteY1393" fmla="*/ 2051861 h 2708746"/>
                <a:gd name="connsiteX1394" fmla="*/ 1054670 w 5428023"/>
                <a:gd name="connsiteY1394" fmla="*/ 2051861 h 2708746"/>
                <a:gd name="connsiteX1395" fmla="*/ 1054670 w 5428023"/>
                <a:gd name="connsiteY1395" fmla="*/ 2045136 h 2708746"/>
                <a:gd name="connsiteX1396" fmla="*/ 1056193 w 5428023"/>
                <a:gd name="connsiteY1396" fmla="*/ 2046278 h 2708746"/>
                <a:gd name="connsiteX1397" fmla="*/ 1050229 w 5428023"/>
                <a:gd name="connsiteY1397" fmla="*/ 2046278 h 2708746"/>
                <a:gd name="connsiteX1398" fmla="*/ 1036779 w 5428023"/>
                <a:gd name="connsiteY1398" fmla="*/ 2046278 h 2708746"/>
                <a:gd name="connsiteX1399" fmla="*/ 1033353 w 5428023"/>
                <a:gd name="connsiteY1399" fmla="*/ 2046278 h 2708746"/>
                <a:gd name="connsiteX1400" fmla="*/ 1033353 w 5428023"/>
                <a:gd name="connsiteY1400" fmla="*/ 2033970 h 2708746"/>
                <a:gd name="connsiteX1401" fmla="*/ 1034876 w 5428023"/>
                <a:gd name="connsiteY1401" fmla="*/ 2035113 h 2708746"/>
                <a:gd name="connsiteX1402" fmla="*/ 1029420 w 5428023"/>
                <a:gd name="connsiteY1402" fmla="*/ 2035113 h 2708746"/>
                <a:gd name="connsiteX1403" fmla="*/ 1029420 w 5428023"/>
                <a:gd name="connsiteY1403" fmla="*/ 2028515 h 2708746"/>
                <a:gd name="connsiteX1404" fmla="*/ 1030943 w 5428023"/>
                <a:gd name="connsiteY1404" fmla="*/ 2029656 h 2708746"/>
                <a:gd name="connsiteX1405" fmla="*/ 1023710 w 5428023"/>
                <a:gd name="connsiteY1405" fmla="*/ 2029656 h 2708746"/>
                <a:gd name="connsiteX1406" fmla="*/ 1023710 w 5428023"/>
                <a:gd name="connsiteY1406" fmla="*/ 2022932 h 2708746"/>
                <a:gd name="connsiteX1407" fmla="*/ 1025233 w 5428023"/>
                <a:gd name="connsiteY1407" fmla="*/ 2024073 h 2708746"/>
                <a:gd name="connsiteX1408" fmla="*/ 1015589 w 5428023"/>
                <a:gd name="connsiteY1408" fmla="*/ 2024073 h 2708746"/>
                <a:gd name="connsiteX1409" fmla="*/ 1008230 w 5428023"/>
                <a:gd name="connsiteY1409" fmla="*/ 2024073 h 2708746"/>
                <a:gd name="connsiteX1410" fmla="*/ 1008230 w 5428023"/>
                <a:gd name="connsiteY1410" fmla="*/ 2017349 h 2708746"/>
                <a:gd name="connsiteX1411" fmla="*/ 1009753 w 5428023"/>
                <a:gd name="connsiteY1411" fmla="*/ 2018490 h 2708746"/>
                <a:gd name="connsiteX1412" fmla="*/ 998079 w 5428023"/>
                <a:gd name="connsiteY1412" fmla="*/ 2018490 h 2708746"/>
                <a:gd name="connsiteX1413" fmla="*/ 996176 w 5428023"/>
                <a:gd name="connsiteY1413" fmla="*/ 2018490 h 2708746"/>
                <a:gd name="connsiteX1414" fmla="*/ 994146 w 5428023"/>
                <a:gd name="connsiteY1414" fmla="*/ 2018490 h 2708746"/>
                <a:gd name="connsiteX1415" fmla="*/ 990720 w 5428023"/>
                <a:gd name="connsiteY1415" fmla="*/ 2018490 h 2708746"/>
                <a:gd name="connsiteX1416" fmla="*/ 990720 w 5428023"/>
                <a:gd name="connsiteY1416" fmla="*/ 2012019 h 2708746"/>
                <a:gd name="connsiteX1417" fmla="*/ 992243 w 5428023"/>
                <a:gd name="connsiteY1417" fmla="*/ 2013035 h 2708746"/>
                <a:gd name="connsiteX1418" fmla="*/ 985010 w 5428023"/>
                <a:gd name="connsiteY1418" fmla="*/ 2013035 h 2708746"/>
                <a:gd name="connsiteX1419" fmla="*/ 985010 w 5428023"/>
                <a:gd name="connsiteY1419" fmla="*/ 2006563 h 2708746"/>
                <a:gd name="connsiteX1420" fmla="*/ 986533 w 5428023"/>
                <a:gd name="connsiteY1420" fmla="*/ 2007705 h 2708746"/>
                <a:gd name="connsiteX1421" fmla="*/ 977270 w 5428023"/>
                <a:gd name="connsiteY1421" fmla="*/ 2007705 h 2708746"/>
                <a:gd name="connsiteX1422" fmla="*/ 977270 w 5428023"/>
                <a:gd name="connsiteY1422" fmla="*/ 2001107 h 2708746"/>
                <a:gd name="connsiteX1423" fmla="*/ 978793 w 5428023"/>
                <a:gd name="connsiteY1423" fmla="*/ 2002249 h 2708746"/>
                <a:gd name="connsiteX1424" fmla="*/ 974859 w 5428023"/>
                <a:gd name="connsiteY1424" fmla="*/ 2002249 h 2708746"/>
                <a:gd name="connsiteX1425" fmla="*/ 971433 w 5428023"/>
                <a:gd name="connsiteY1425" fmla="*/ 2002249 h 2708746"/>
                <a:gd name="connsiteX1426" fmla="*/ 971433 w 5428023"/>
                <a:gd name="connsiteY1426" fmla="*/ 1995778 h 2708746"/>
                <a:gd name="connsiteX1427" fmla="*/ 972956 w 5428023"/>
                <a:gd name="connsiteY1427" fmla="*/ 1996793 h 2708746"/>
                <a:gd name="connsiteX1428" fmla="*/ 967627 w 5428023"/>
                <a:gd name="connsiteY1428" fmla="*/ 1996793 h 2708746"/>
                <a:gd name="connsiteX1429" fmla="*/ 967627 w 5428023"/>
                <a:gd name="connsiteY1429" fmla="*/ 1990322 h 2708746"/>
                <a:gd name="connsiteX1430" fmla="*/ 969150 w 5428023"/>
                <a:gd name="connsiteY1430" fmla="*/ 1991464 h 2708746"/>
                <a:gd name="connsiteX1431" fmla="*/ 946183 w 5428023"/>
                <a:gd name="connsiteY1431" fmla="*/ 1991464 h 2708746"/>
                <a:gd name="connsiteX1432" fmla="*/ 946183 w 5428023"/>
                <a:gd name="connsiteY1432" fmla="*/ 1984866 h 2708746"/>
                <a:gd name="connsiteX1433" fmla="*/ 947706 w 5428023"/>
                <a:gd name="connsiteY1433" fmla="*/ 1986008 h 2708746"/>
                <a:gd name="connsiteX1434" fmla="*/ 936540 w 5428023"/>
                <a:gd name="connsiteY1434" fmla="*/ 1986008 h 2708746"/>
                <a:gd name="connsiteX1435" fmla="*/ 936540 w 5428023"/>
                <a:gd name="connsiteY1435" fmla="*/ 1974208 h 2708746"/>
                <a:gd name="connsiteX1436" fmla="*/ 938063 w 5428023"/>
                <a:gd name="connsiteY1436" fmla="*/ 1975223 h 2708746"/>
                <a:gd name="connsiteX1437" fmla="*/ 932733 w 5428023"/>
                <a:gd name="connsiteY1437" fmla="*/ 1975223 h 2708746"/>
                <a:gd name="connsiteX1438" fmla="*/ 932733 w 5428023"/>
                <a:gd name="connsiteY1438" fmla="*/ 1968878 h 2708746"/>
                <a:gd name="connsiteX1439" fmla="*/ 934256 w 5428023"/>
                <a:gd name="connsiteY1439" fmla="*/ 1969894 h 2708746"/>
                <a:gd name="connsiteX1440" fmla="*/ 926516 w 5428023"/>
                <a:gd name="connsiteY1440" fmla="*/ 1969894 h 2708746"/>
                <a:gd name="connsiteX1441" fmla="*/ 918776 w 5428023"/>
                <a:gd name="connsiteY1441" fmla="*/ 1969894 h 2708746"/>
                <a:gd name="connsiteX1442" fmla="*/ 909640 w 5428023"/>
                <a:gd name="connsiteY1442" fmla="*/ 1969894 h 2708746"/>
                <a:gd name="connsiteX1443" fmla="*/ 909640 w 5428023"/>
                <a:gd name="connsiteY1443" fmla="*/ 1963549 h 2708746"/>
                <a:gd name="connsiteX1444" fmla="*/ 911163 w 5428023"/>
                <a:gd name="connsiteY1444" fmla="*/ 1964691 h 2708746"/>
                <a:gd name="connsiteX1445" fmla="*/ 905580 w 5428023"/>
                <a:gd name="connsiteY1445" fmla="*/ 1964691 h 2708746"/>
                <a:gd name="connsiteX1446" fmla="*/ 905580 w 5428023"/>
                <a:gd name="connsiteY1446" fmla="*/ 1958220 h 2708746"/>
                <a:gd name="connsiteX1447" fmla="*/ 907229 w 5428023"/>
                <a:gd name="connsiteY1447" fmla="*/ 1959362 h 2708746"/>
                <a:gd name="connsiteX1448" fmla="*/ 905199 w 5428023"/>
                <a:gd name="connsiteY1448" fmla="*/ 1959362 h 2708746"/>
                <a:gd name="connsiteX1449" fmla="*/ 901773 w 5428023"/>
                <a:gd name="connsiteY1449" fmla="*/ 1959362 h 2708746"/>
                <a:gd name="connsiteX1450" fmla="*/ 901773 w 5428023"/>
                <a:gd name="connsiteY1450" fmla="*/ 1953018 h 2708746"/>
                <a:gd name="connsiteX1451" fmla="*/ 903296 w 5428023"/>
                <a:gd name="connsiteY1451" fmla="*/ 1954160 h 2708746"/>
                <a:gd name="connsiteX1452" fmla="*/ 901266 w 5428023"/>
                <a:gd name="connsiteY1452" fmla="*/ 1954160 h 2708746"/>
                <a:gd name="connsiteX1453" fmla="*/ 894033 w 5428023"/>
                <a:gd name="connsiteY1453" fmla="*/ 1954160 h 2708746"/>
                <a:gd name="connsiteX1454" fmla="*/ 894033 w 5428023"/>
                <a:gd name="connsiteY1454" fmla="*/ 1947815 h 2708746"/>
                <a:gd name="connsiteX1455" fmla="*/ 895556 w 5428023"/>
                <a:gd name="connsiteY1455" fmla="*/ 1948957 h 2708746"/>
                <a:gd name="connsiteX1456" fmla="*/ 887816 w 5428023"/>
                <a:gd name="connsiteY1456" fmla="*/ 1948957 h 2708746"/>
                <a:gd name="connsiteX1457" fmla="*/ 882487 w 5428023"/>
                <a:gd name="connsiteY1457" fmla="*/ 1948957 h 2708746"/>
                <a:gd name="connsiteX1458" fmla="*/ 882487 w 5428023"/>
                <a:gd name="connsiteY1458" fmla="*/ 1937411 h 2708746"/>
                <a:gd name="connsiteX1459" fmla="*/ 884010 w 5428023"/>
                <a:gd name="connsiteY1459" fmla="*/ 1938426 h 2708746"/>
                <a:gd name="connsiteX1460" fmla="*/ 880076 w 5428023"/>
                <a:gd name="connsiteY1460" fmla="*/ 1938426 h 2708746"/>
                <a:gd name="connsiteX1461" fmla="*/ 868910 w 5428023"/>
                <a:gd name="connsiteY1461" fmla="*/ 1938426 h 2708746"/>
                <a:gd name="connsiteX1462" fmla="*/ 868910 w 5428023"/>
                <a:gd name="connsiteY1462" fmla="*/ 1932209 h 2708746"/>
                <a:gd name="connsiteX1463" fmla="*/ 870433 w 5428023"/>
                <a:gd name="connsiteY1463" fmla="*/ 1933351 h 2708746"/>
                <a:gd name="connsiteX1464" fmla="*/ 867007 w 5428023"/>
                <a:gd name="connsiteY1464" fmla="*/ 1933351 h 2708746"/>
                <a:gd name="connsiteX1465" fmla="*/ 867007 w 5428023"/>
                <a:gd name="connsiteY1465" fmla="*/ 1927133 h 2708746"/>
                <a:gd name="connsiteX1466" fmla="*/ 868530 w 5428023"/>
                <a:gd name="connsiteY1466" fmla="*/ 1928275 h 2708746"/>
                <a:gd name="connsiteX1467" fmla="*/ 861170 w 5428023"/>
                <a:gd name="connsiteY1467" fmla="*/ 1928275 h 2708746"/>
                <a:gd name="connsiteX1468" fmla="*/ 861170 w 5428023"/>
                <a:gd name="connsiteY1468" fmla="*/ 1921931 h 2708746"/>
                <a:gd name="connsiteX1469" fmla="*/ 862693 w 5428023"/>
                <a:gd name="connsiteY1469" fmla="*/ 1923073 h 2708746"/>
                <a:gd name="connsiteX1470" fmla="*/ 854953 w 5428023"/>
                <a:gd name="connsiteY1470" fmla="*/ 1923073 h 2708746"/>
                <a:gd name="connsiteX1471" fmla="*/ 849497 w 5428023"/>
                <a:gd name="connsiteY1471" fmla="*/ 1923073 h 2708746"/>
                <a:gd name="connsiteX1472" fmla="*/ 849497 w 5428023"/>
                <a:gd name="connsiteY1472" fmla="*/ 1911653 h 2708746"/>
                <a:gd name="connsiteX1473" fmla="*/ 851019 w 5428023"/>
                <a:gd name="connsiteY1473" fmla="*/ 1912795 h 2708746"/>
                <a:gd name="connsiteX1474" fmla="*/ 847593 w 5428023"/>
                <a:gd name="connsiteY1474" fmla="*/ 1912795 h 2708746"/>
                <a:gd name="connsiteX1475" fmla="*/ 847593 w 5428023"/>
                <a:gd name="connsiteY1475" fmla="*/ 1906705 h 2708746"/>
                <a:gd name="connsiteX1476" fmla="*/ 849116 w 5428023"/>
                <a:gd name="connsiteY1476" fmla="*/ 1907720 h 2708746"/>
                <a:gd name="connsiteX1477" fmla="*/ 845690 w 5428023"/>
                <a:gd name="connsiteY1477" fmla="*/ 1907720 h 2708746"/>
                <a:gd name="connsiteX1478" fmla="*/ 845690 w 5428023"/>
                <a:gd name="connsiteY1478" fmla="*/ 1901502 h 2708746"/>
                <a:gd name="connsiteX1479" fmla="*/ 847213 w 5428023"/>
                <a:gd name="connsiteY1479" fmla="*/ 1902644 h 2708746"/>
                <a:gd name="connsiteX1480" fmla="*/ 837950 w 5428023"/>
                <a:gd name="connsiteY1480" fmla="*/ 1902644 h 2708746"/>
                <a:gd name="connsiteX1481" fmla="*/ 837950 w 5428023"/>
                <a:gd name="connsiteY1481" fmla="*/ 1891225 h 2708746"/>
                <a:gd name="connsiteX1482" fmla="*/ 839473 w 5428023"/>
                <a:gd name="connsiteY1482" fmla="*/ 1892367 h 2708746"/>
                <a:gd name="connsiteX1483" fmla="*/ 826404 w 5428023"/>
                <a:gd name="connsiteY1483" fmla="*/ 1892367 h 2708746"/>
                <a:gd name="connsiteX1484" fmla="*/ 826404 w 5428023"/>
                <a:gd name="connsiteY1484" fmla="*/ 1886149 h 2708746"/>
                <a:gd name="connsiteX1485" fmla="*/ 827926 w 5428023"/>
                <a:gd name="connsiteY1485" fmla="*/ 1887164 h 2708746"/>
                <a:gd name="connsiteX1486" fmla="*/ 824373 w 5428023"/>
                <a:gd name="connsiteY1486" fmla="*/ 1887164 h 2708746"/>
                <a:gd name="connsiteX1487" fmla="*/ 824373 w 5428023"/>
                <a:gd name="connsiteY1487" fmla="*/ 1870796 h 2708746"/>
                <a:gd name="connsiteX1488" fmla="*/ 825896 w 5428023"/>
                <a:gd name="connsiteY1488" fmla="*/ 1871938 h 2708746"/>
                <a:gd name="connsiteX1489" fmla="*/ 812827 w 5428023"/>
                <a:gd name="connsiteY1489" fmla="*/ 1871938 h 2708746"/>
                <a:gd name="connsiteX1490" fmla="*/ 812827 w 5428023"/>
                <a:gd name="connsiteY1490" fmla="*/ 1865594 h 2708746"/>
                <a:gd name="connsiteX1491" fmla="*/ 814349 w 5428023"/>
                <a:gd name="connsiteY1491" fmla="*/ 1866736 h 2708746"/>
                <a:gd name="connsiteX1492" fmla="*/ 808513 w 5428023"/>
                <a:gd name="connsiteY1492" fmla="*/ 1866736 h 2708746"/>
                <a:gd name="connsiteX1493" fmla="*/ 799250 w 5428023"/>
                <a:gd name="connsiteY1493" fmla="*/ 1866736 h 2708746"/>
                <a:gd name="connsiteX1494" fmla="*/ 799250 w 5428023"/>
                <a:gd name="connsiteY1494" fmla="*/ 1855570 h 2708746"/>
                <a:gd name="connsiteX1495" fmla="*/ 800773 w 5428023"/>
                <a:gd name="connsiteY1495" fmla="*/ 1856712 h 2708746"/>
                <a:gd name="connsiteX1496" fmla="*/ 797347 w 5428023"/>
                <a:gd name="connsiteY1496" fmla="*/ 1856712 h 2708746"/>
                <a:gd name="connsiteX1497" fmla="*/ 797347 w 5428023"/>
                <a:gd name="connsiteY1497" fmla="*/ 1850495 h 2708746"/>
                <a:gd name="connsiteX1498" fmla="*/ 798869 w 5428023"/>
                <a:gd name="connsiteY1498" fmla="*/ 1851636 h 2708746"/>
                <a:gd name="connsiteX1499" fmla="*/ 794936 w 5428023"/>
                <a:gd name="connsiteY1499" fmla="*/ 1851636 h 2708746"/>
                <a:gd name="connsiteX1500" fmla="*/ 793033 w 5428023"/>
                <a:gd name="connsiteY1500" fmla="*/ 1851636 h 2708746"/>
                <a:gd name="connsiteX1501" fmla="*/ 787704 w 5428023"/>
                <a:gd name="connsiteY1501" fmla="*/ 1851636 h 2708746"/>
                <a:gd name="connsiteX1502" fmla="*/ 787704 w 5428023"/>
                <a:gd name="connsiteY1502" fmla="*/ 1845546 h 2708746"/>
                <a:gd name="connsiteX1503" fmla="*/ 789226 w 5428023"/>
                <a:gd name="connsiteY1503" fmla="*/ 1846688 h 2708746"/>
                <a:gd name="connsiteX1504" fmla="*/ 783770 w 5428023"/>
                <a:gd name="connsiteY1504" fmla="*/ 1846688 h 2708746"/>
                <a:gd name="connsiteX1505" fmla="*/ 783770 w 5428023"/>
                <a:gd name="connsiteY1505" fmla="*/ 1840597 h 2708746"/>
                <a:gd name="connsiteX1506" fmla="*/ 785293 w 5428023"/>
                <a:gd name="connsiteY1506" fmla="*/ 1841739 h 2708746"/>
                <a:gd name="connsiteX1507" fmla="*/ 783390 w 5428023"/>
                <a:gd name="connsiteY1507" fmla="*/ 1841739 h 2708746"/>
                <a:gd name="connsiteX1508" fmla="*/ 778060 w 5428023"/>
                <a:gd name="connsiteY1508" fmla="*/ 1841739 h 2708746"/>
                <a:gd name="connsiteX1509" fmla="*/ 778060 w 5428023"/>
                <a:gd name="connsiteY1509" fmla="*/ 1835649 h 2708746"/>
                <a:gd name="connsiteX1510" fmla="*/ 779583 w 5428023"/>
                <a:gd name="connsiteY1510" fmla="*/ 1836791 h 2708746"/>
                <a:gd name="connsiteX1511" fmla="*/ 773746 w 5428023"/>
                <a:gd name="connsiteY1511" fmla="*/ 1836791 h 2708746"/>
                <a:gd name="connsiteX1512" fmla="*/ 764103 w 5428023"/>
                <a:gd name="connsiteY1512" fmla="*/ 1836791 h 2708746"/>
                <a:gd name="connsiteX1513" fmla="*/ 758520 w 5428023"/>
                <a:gd name="connsiteY1513" fmla="*/ 1836791 h 2708746"/>
                <a:gd name="connsiteX1514" fmla="*/ 758520 w 5428023"/>
                <a:gd name="connsiteY1514" fmla="*/ 1830700 h 2708746"/>
                <a:gd name="connsiteX1515" fmla="*/ 760043 w 5428023"/>
                <a:gd name="connsiteY1515" fmla="*/ 1831842 h 2708746"/>
                <a:gd name="connsiteX1516" fmla="*/ 756617 w 5428023"/>
                <a:gd name="connsiteY1516" fmla="*/ 1831842 h 2708746"/>
                <a:gd name="connsiteX1517" fmla="*/ 756617 w 5428023"/>
                <a:gd name="connsiteY1517" fmla="*/ 1825879 h 2708746"/>
                <a:gd name="connsiteX1518" fmla="*/ 758139 w 5428023"/>
                <a:gd name="connsiteY1518" fmla="*/ 1827021 h 2708746"/>
                <a:gd name="connsiteX1519" fmla="*/ 752810 w 5428023"/>
                <a:gd name="connsiteY1519" fmla="*/ 1827021 h 2708746"/>
                <a:gd name="connsiteX1520" fmla="*/ 752810 w 5428023"/>
                <a:gd name="connsiteY1520" fmla="*/ 1821057 h 2708746"/>
                <a:gd name="connsiteX1521" fmla="*/ 754333 w 5428023"/>
                <a:gd name="connsiteY1521" fmla="*/ 1822072 h 2708746"/>
                <a:gd name="connsiteX1522" fmla="*/ 746973 w 5428023"/>
                <a:gd name="connsiteY1522" fmla="*/ 1822072 h 2708746"/>
                <a:gd name="connsiteX1523" fmla="*/ 746973 w 5428023"/>
                <a:gd name="connsiteY1523" fmla="*/ 1816109 h 2708746"/>
                <a:gd name="connsiteX1524" fmla="*/ 748496 w 5428023"/>
                <a:gd name="connsiteY1524" fmla="*/ 1817250 h 2708746"/>
                <a:gd name="connsiteX1525" fmla="*/ 745070 w 5428023"/>
                <a:gd name="connsiteY1525" fmla="*/ 1817250 h 2708746"/>
                <a:gd name="connsiteX1526" fmla="*/ 745070 w 5428023"/>
                <a:gd name="connsiteY1526" fmla="*/ 1811287 h 2708746"/>
                <a:gd name="connsiteX1527" fmla="*/ 746593 w 5428023"/>
                <a:gd name="connsiteY1527" fmla="*/ 1812429 h 2708746"/>
                <a:gd name="connsiteX1528" fmla="*/ 740756 w 5428023"/>
                <a:gd name="connsiteY1528" fmla="*/ 1812429 h 2708746"/>
                <a:gd name="connsiteX1529" fmla="*/ 729590 w 5428023"/>
                <a:gd name="connsiteY1529" fmla="*/ 1812429 h 2708746"/>
                <a:gd name="connsiteX1530" fmla="*/ 729590 w 5428023"/>
                <a:gd name="connsiteY1530" fmla="*/ 1806465 h 2708746"/>
                <a:gd name="connsiteX1531" fmla="*/ 731113 w 5428023"/>
                <a:gd name="connsiteY1531" fmla="*/ 1807607 h 2708746"/>
                <a:gd name="connsiteX1532" fmla="*/ 727687 w 5428023"/>
                <a:gd name="connsiteY1532" fmla="*/ 1807607 h 2708746"/>
                <a:gd name="connsiteX1533" fmla="*/ 727687 w 5428023"/>
                <a:gd name="connsiteY1533" fmla="*/ 1801644 h 2708746"/>
                <a:gd name="connsiteX1534" fmla="*/ 729210 w 5428023"/>
                <a:gd name="connsiteY1534" fmla="*/ 1802659 h 2708746"/>
                <a:gd name="connsiteX1535" fmla="*/ 725784 w 5428023"/>
                <a:gd name="connsiteY1535" fmla="*/ 1802659 h 2708746"/>
                <a:gd name="connsiteX1536" fmla="*/ 725784 w 5428023"/>
                <a:gd name="connsiteY1536" fmla="*/ 1796695 h 2708746"/>
                <a:gd name="connsiteX1537" fmla="*/ 727306 w 5428023"/>
                <a:gd name="connsiteY1537" fmla="*/ 1797837 h 2708746"/>
                <a:gd name="connsiteX1538" fmla="*/ 721977 w 5428023"/>
                <a:gd name="connsiteY1538" fmla="*/ 1797837 h 2708746"/>
                <a:gd name="connsiteX1539" fmla="*/ 721977 w 5428023"/>
                <a:gd name="connsiteY1539" fmla="*/ 1791873 h 2708746"/>
                <a:gd name="connsiteX1540" fmla="*/ 723500 w 5428023"/>
                <a:gd name="connsiteY1540" fmla="*/ 1793016 h 2708746"/>
                <a:gd name="connsiteX1541" fmla="*/ 712207 w 5428023"/>
                <a:gd name="connsiteY1541" fmla="*/ 1793016 h 2708746"/>
                <a:gd name="connsiteX1542" fmla="*/ 712207 w 5428023"/>
                <a:gd name="connsiteY1542" fmla="*/ 1787052 h 2708746"/>
                <a:gd name="connsiteX1543" fmla="*/ 713729 w 5428023"/>
                <a:gd name="connsiteY1543" fmla="*/ 1788194 h 2708746"/>
                <a:gd name="connsiteX1544" fmla="*/ 706370 w 5428023"/>
                <a:gd name="connsiteY1544" fmla="*/ 1788194 h 2708746"/>
                <a:gd name="connsiteX1545" fmla="*/ 706370 w 5428023"/>
                <a:gd name="connsiteY1545" fmla="*/ 1777409 h 2708746"/>
                <a:gd name="connsiteX1546" fmla="*/ 707893 w 5428023"/>
                <a:gd name="connsiteY1546" fmla="*/ 1778551 h 2708746"/>
                <a:gd name="connsiteX1547" fmla="*/ 704467 w 5428023"/>
                <a:gd name="connsiteY1547" fmla="*/ 1778551 h 2708746"/>
                <a:gd name="connsiteX1548" fmla="*/ 704467 w 5428023"/>
                <a:gd name="connsiteY1548" fmla="*/ 1772587 h 2708746"/>
                <a:gd name="connsiteX1549" fmla="*/ 705989 w 5428023"/>
                <a:gd name="connsiteY1549" fmla="*/ 1773729 h 2708746"/>
                <a:gd name="connsiteX1550" fmla="*/ 694824 w 5428023"/>
                <a:gd name="connsiteY1550" fmla="*/ 1773729 h 2708746"/>
                <a:gd name="connsiteX1551" fmla="*/ 694824 w 5428023"/>
                <a:gd name="connsiteY1551" fmla="*/ 1767892 h 2708746"/>
                <a:gd name="connsiteX1552" fmla="*/ 696346 w 5428023"/>
                <a:gd name="connsiteY1552" fmla="*/ 1769034 h 2708746"/>
                <a:gd name="connsiteX1553" fmla="*/ 685180 w 5428023"/>
                <a:gd name="connsiteY1553" fmla="*/ 1769034 h 2708746"/>
                <a:gd name="connsiteX1554" fmla="*/ 685180 w 5428023"/>
                <a:gd name="connsiteY1554" fmla="*/ 1763071 h 2708746"/>
                <a:gd name="connsiteX1555" fmla="*/ 686703 w 5428023"/>
                <a:gd name="connsiteY1555" fmla="*/ 1764213 h 2708746"/>
                <a:gd name="connsiteX1556" fmla="*/ 675537 w 5428023"/>
                <a:gd name="connsiteY1556" fmla="*/ 1764213 h 2708746"/>
                <a:gd name="connsiteX1557" fmla="*/ 675537 w 5428023"/>
                <a:gd name="connsiteY1557" fmla="*/ 1758249 h 2708746"/>
                <a:gd name="connsiteX1558" fmla="*/ 677060 w 5428023"/>
                <a:gd name="connsiteY1558" fmla="*/ 1759391 h 2708746"/>
                <a:gd name="connsiteX1559" fmla="*/ 673507 w 5428023"/>
                <a:gd name="connsiteY1559" fmla="*/ 1759391 h 2708746"/>
                <a:gd name="connsiteX1560" fmla="*/ 673507 w 5428023"/>
                <a:gd name="connsiteY1560" fmla="*/ 1753554 h 2708746"/>
                <a:gd name="connsiteX1561" fmla="*/ 675030 w 5428023"/>
                <a:gd name="connsiteY1561" fmla="*/ 1754569 h 2708746"/>
                <a:gd name="connsiteX1562" fmla="*/ 669700 w 5428023"/>
                <a:gd name="connsiteY1562" fmla="*/ 1754569 h 2708746"/>
                <a:gd name="connsiteX1563" fmla="*/ 669700 w 5428023"/>
                <a:gd name="connsiteY1563" fmla="*/ 1743911 h 2708746"/>
                <a:gd name="connsiteX1564" fmla="*/ 671223 w 5428023"/>
                <a:gd name="connsiteY1564" fmla="*/ 1745053 h 2708746"/>
                <a:gd name="connsiteX1565" fmla="*/ 667797 w 5428023"/>
                <a:gd name="connsiteY1565" fmla="*/ 1745053 h 2708746"/>
                <a:gd name="connsiteX1566" fmla="*/ 667797 w 5428023"/>
                <a:gd name="connsiteY1566" fmla="*/ 1729573 h 2708746"/>
                <a:gd name="connsiteX1567" fmla="*/ 669320 w 5428023"/>
                <a:gd name="connsiteY1567" fmla="*/ 1730715 h 2708746"/>
                <a:gd name="connsiteX1568" fmla="*/ 665767 w 5428023"/>
                <a:gd name="connsiteY1568" fmla="*/ 1730715 h 2708746"/>
                <a:gd name="connsiteX1569" fmla="*/ 665767 w 5428023"/>
                <a:gd name="connsiteY1569" fmla="*/ 1724751 h 2708746"/>
                <a:gd name="connsiteX1570" fmla="*/ 667416 w 5428023"/>
                <a:gd name="connsiteY1570" fmla="*/ 1725893 h 2708746"/>
                <a:gd name="connsiteX1571" fmla="*/ 665259 w 5428023"/>
                <a:gd name="connsiteY1571" fmla="*/ 1725893 h 2708746"/>
                <a:gd name="connsiteX1572" fmla="*/ 658027 w 5428023"/>
                <a:gd name="connsiteY1572" fmla="*/ 1725893 h 2708746"/>
                <a:gd name="connsiteX1573" fmla="*/ 658027 w 5428023"/>
                <a:gd name="connsiteY1573" fmla="*/ 1719930 h 2708746"/>
                <a:gd name="connsiteX1574" fmla="*/ 659550 w 5428023"/>
                <a:gd name="connsiteY1574" fmla="*/ 1721072 h 2708746"/>
                <a:gd name="connsiteX1575" fmla="*/ 652190 w 5428023"/>
                <a:gd name="connsiteY1575" fmla="*/ 1721072 h 2708746"/>
                <a:gd name="connsiteX1576" fmla="*/ 652190 w 5428023"/>
                <a:gd name="connsiteY1576" fmla="*/ 1715235 h 2708746"/>
                <a:gd name="connsiteX1577" fmla="*/ 653713 w 5428023"/>
                <a:gd name="connsiteY1577" fmla="*/ 1716377 h 2708746"/>
                <a:gd name="connsiteX1578" fmla="*/ 650287 w 5428023"/>
                <a:gd name="connsiteY1578" fmla="*/ 1716377 h 2708746"/>
                <a:gd name="connsiteX1579" fmla="*/ 650287 w 5428023"/>
                <a:gd name="connsiteY1579" fmla="*/ 1700897 h 2708746"/>
                <a:gd name="connsiteX1580" fmla="*/ 651810 w 5428023"/>
                <a:gd name="connsiteY1580" fmla="*/ 1702039 h 2708746"/>
                <a:gd name="connsiteX1581" fmla="*/ 646480 w 5428023"/>
                <a:gd name="connsiteY1581" fmla="*/ 1702039 h 2708746"/>
                <a:gd name="connsiteX1582" fmla="*/ 646480 w 5428023"/>
                <a:gd name="connsiteY1582" fmla="*/ 1696202 h 2708746"/>
                <a:gd name="connsiteX1583" fmla="*/ 648003 w 5428023"/>
                <a:gd name="connsiteY1583" fmla="*/ 1697344 h 2708746"/>
                <a:gd name="connsiteX1584" fmla="*/ 644450 w 5428023"/>
                <a:gd name="connsiteY1584" fmla="*/ 1697344 h 2708746"/>
                <a:gd name="connsiteX1585" fmla="*/ 644450 w 5428023"/>
                <a:gd name="connsiteY1585" fmla="*/ 1691507 h 2708746"/>
                <a:gd name="connsiteX1586" fmla="*/ 645973 w 5428023"/>
                <a:gd name="connsiteY1586" fmla="*/ 1692649 h 2708746"/>
                <a:gd name="connsiteX1587" fmla="*/ 634807 w 5428023"/>
                <a:gd name="connsiteY1587" fmla="*/ 1692649 h 2708746"/>
                <a:gd name="connsiteX1588" fmla="*/ 634807 w 5428023"/>
                <a:gd name="connsiteY1588" fmla="*/ 1686686 h 2708746"/>
                <a:gd name="connsiteX1589" fmla="*/ 636330 w 5428023"/>
                <a:gd name="connsiteY1589" fmla="*/ 1687828 h 2708746"/>
                <a:gd name="connsiteX1590" fmla="*/ 631000 w 5428023"/>
                <a:gd name="connsiteY1590" fmla="*/ 1687828 h 2708746"/>
                <a:gd name="connsiteX1591" fmla="*/ 631000 w 5428023"/>
                <a:gd name="connsiteY1591" fmla="*/ 1677169 h 2708746"/>
                <a:gd name="connsiteX1592" fmla="*/ 632523 w 5428023"/>
                <a:gd name="connsiteY1592" fmla="*/ 1678311 h 2708746"/>
                <a:gd name="connsiteX1593" fmla="*/ 621357 w 5428023"/>
                <a:gd name="connsiteY1593" fmla="*/ 1678311 h 2708746"/>
                <a:gd name="connsiteX1594" fmla="*/ 621357 w 5428023"/>
                <a:gd name="connsiteY1594" fmla="*/ 1667780 h 2708746"/>
                <a:gd name="connsiteX1595" fmla="*/ 622880 w 5428023"/>
                <a:gd name="connsiteY1595" fmla="*/ 1668922 h 2708746"/>
                <a:gd name="connsiteX1596" fmla="*/ 611587 w 5428023"/>
                <a:gd name="connsiteY1596" fmla="*/ 1668922 h 2708746"/>
                <a:gd name="connsiteX1597" fmla="*/ 611587 w 5428023"/>
                <a:gd name="connsiteY1597" fmla="*/ 1662958 h 2708746"/>
                <a:gd name="connsiteX1598" fmla="*/ 613109 w 5428023"/>
                <a:gd name="connsiteY1598" fmla="*/ 1664100 h 2708746"/>
                <a:gd name="connsiteX1599" fmla="*/ 609684 w 5428023"/>
                <a:gd name="connsiteY1599" fmla="*/ 1664100 h 2708746"/>
                <a:gd name="connsiteX1600" fmla="*/ 609684 w 5428023"/>
                <a:gd name="connsiteY1600" fmla="*/ 1653569 h 2708746"/>
                <a:gd name="connsiteX1601" fmla="*/ 611206 w 5428023"/>
                <a:gd name="connsiteY1601" fmla="*/ 1654710 h 2708746"/>
                <a:gd name="connsiteX1602" fmla="*/ 605750 w 5428023"/>
                <a:gd name="connsiteY1602" fmla="*/ 1654710 h 2708746"/>
                <a:gd name="connsiteX1603" fmla="*/ 605750 w 5428023"/>
                <a:gd name="connsiteY1603" fmla="*/ 1648874 h 2708746"/>
                <a:gd name="connsiteX1604" fmla="*/ 607273 w 5428023"/>
                <a:gd name="connsiteY1604" fmla="*/ 1649889 h 2708746"/>
                <a:gd name="connsiteX1605" fmla="*/ 600040 w 5428023"/>
                <a:gd name="connsiteY1605" fmla="*/ 1649889 h 2708746"/>
                <a:gd name="connsiteX1606" fmla="*/ 600040 w 5428023"/>
                <a:gd name="connsiteY1606" fmla="*/ 1639357 h 2708746"/>
                <a:gd name="connsiteX1607" fmla="*/ 601563 w 5428023"/>
                <a:gd name="connsiteY1607" fmla="*/ 1640499 h 2708746"/>
                <a:gd name="connsiteX1608" fmla="*/ 598010 w 5428023"/>
                <a:gd name="connsiteY1608" fmla="*/ 1640499 h 2708746"/>
                <a:gd name="connsiteX1609" fmla="*/ 598010 w 5428023"/>
                <a:gd name="connsiteY1609" fmla="*/ 1634663 h 2708746"/>
                <a:gd name="connsiteX1610" fmla="*/ 599533 w 5428023"/>
                <a:gd name="connsiteY1610" fmla="*/ 1635805 h 2708746"/>
                <a:gd name="connsiteX1611" fmla="*/ 596107 w 5428023"/>
                <a:gd name="connsiteY1611" fmla="*/ 1635805 h 2708746"/>
                <a:gd name="connsiteX1612" fmla="*/ 596107 w 5428023"/>
                <a:gd name="connsiteY1612" fmla="*/ 1629841 h 2708746"/>
                <a:gd name="connsiteX1613" fmla="*/ 597629 w 5428023"/>
                <a:gd name="connsiteY1613" fmla="*/ 1630983 h 2708746"/>
                <a:gd name="connsiteX1614" fmla="*/ 594204 w 5428023"/>
                <a:gd name="connsiteY1614" fmla="*/ 1630983 h 2708746"/>
                <a:gd name="connsiteX1615" fmla="*/ 594204 w 5428023"/>
                <a:gd name="connsiteY1615" fmla="*/ 1620452 h 2708746"/>
                <a:gd name="connsiteX1616" fmla="*/ 595726 w 5428023"/>
                <a:gd name="connsiteY1616" fmla="*/ 1621593 h 2708746"/>
                <a:gd name="connsiteX1617" fmla="*/ 592300 w 5428023"/>
                <a:gd name="connsiteY1617" fmla="*/ 1621593 h 2708746"/>
                <a:gd name="connsiteX1618" fmla="*/ 592300 w 5428023"/>
                <a:gd name="connsiteY1618" fmla="*/ 1615630 h 2708746"/>
                <a:gd name="connsiteX1619" fmla="*/ 593823 w 5428023"/>
                <a:gd name="connsiteY1619" fmla="*/ 1616772 h 2708746"/>
                <a:gd name="connsiteX1620" fmla="*/ 588367 w 5428023"/>
                <a:gd name="connsiteY1620" fmla="*/ 1616772 h 2708746"/>
                <a:gd name="connsiteX1621" fmla="*/ 588367 w 5428023"/>
                <a:gd name="connsiteY1621" fmla="*/ 1611062 h 2708746"/>
                <a:gd name="connsiteX1622" fmla="*/ 589890 w 5428023"/>
                <a:gd name="connsiteY1622" fmla="*/ 1612077 h 2708746"/>
                <a:gd name="connsiteX1623" fmla="*/ 586464 w 5428023"/>
                <a:gd name="connsiteY1623" fmla="*/ 1612077 h 2708746"/>
                <a:gd name="connsiteX1624" fmla="*/ 586464 w 5428023"/>
                <a:gd name="connsiteY1624" fmla="*/ 1606240 h 2708746"/>
                <a:gd name="connsiteX1625" fmla="*/ 587986 w 5428023"/>
                <a:gd name="connsiteY1625" fmla="*/ 1607382 h 2708746"/>
                <a:gd name="connsiteX1626" fmla="*/ 584560 w 5428023"/>
                <a:gd name="connsiteY1626" fmla="*/ 1607382 h 2708746"/>
                <a:gd name="connsiteX1627" fmla="*/ 584560 w 5428023"/>
                <a:gd name="connsiteY1627" fmla="*/ 1601419 h 2708746"/>
                <a:gd name="connsiteX1628" fmla="*/ 586083 w 5428023"/>
                <a:gd name="connsiteY1628" fmla="*/ 1602561 h 2708746"/>
                <a:gd name="connsiteX1629" fmla="*/ 582657 w 5428023"/>
                <a:gd name="connsiteY1629" fmla="*/ 1602561 h 2708746"/>
                <a:gd name="connsiteX1630" fmla="*/ 582657 w 5428023"/>
                <a:gd name="connsiteY1630" fmla="*/ 1596724 h 2708746"/>
                <a:gd name="connsiteX1631" fmla="*/ 584180 w 5428023"/>
                <a:gd name="connsiteY1631" fmla="*/ 1597866 h 2708746"/>
                <a:gd name="connsiteX1632" fmla="*/ 576820 w 5428023"/>
                <a:gd name="connsiteY1632" fmla="*/ 1597866 h 2708746"/>
                <a:gd name="connsiteX1633" fmla="*/ 576820 w 5428023"/>
                <a:gd name="connsiteY1633" fmla="*/ 1592029 h 2708746"/>
                <a:gd name="connsiteX1634" fmla="*/ 578343 w 5428023"/>
                <a:gd name="connsiteY1634" fmla="*/ 1593171 h 2708746"/>
                <a:gd name="connsiteX1635" fmla="*/ 573014 w 5428023"/>
                <a:gd name="connsiteY1635" fmla="*/ 1593171 h 2708746"/>
                <a:gd name="connsiteX1636" fmla="*/ 573014 w 5428023"/>
                <a:gd name="connsiteY1636" fmla="*/ 1582513 h 2708746"/>
                <a:gd name="connsiteX1637" fmla="*/ 574536 w 5428023"/>
                <a:gd name="connsiteY1637" fmla="*/ 1583655 h 2708746"/>
                <a:gd name="connsiteX1638" fmla="*/ 570984 w 5428023"/>
                <a:gd name="connsiteY1638" fmla="*/ 1583655 h 2708746"/>
                <a:gd name="connsiteX1639" fmla="*/ 570984 w 5428023"/>
                <a:gd name="connsiteY1639" fmla="*/ 1573123 h 2708746"/>
                <a:gd name="connsiteX1640" fmla="*/ 572506 w 5428023"/>
                <a:gd name="connsiteY1640" fmla="*/ 1574265 h 2708746"/>
                <a:gd name="connsiteX1641" fmla="*/ 568953 w 5428023"/>
                <a:gd name="connsiteY1641" fmla="*/ 1574265 h 2708746"/>
                <a:gd name="connsiteX1642" fmla="*/ 568953 w 5428023"/>
                <a:gd name="connsiteY1642" fmla="*/ 1568302 h 2708746"/>
                <a:gd name="connsiteX1643" fmla="*/ 570603 w 5428023"/>
                <a:gd name="connsiteY1643" fmla="*/ 1569444 h 2708746"/>
                <a:gd name="connsiteX1644" fmla="*/ 567050 w 5428023"/>
                <a:gd name="connsiteY1644" fmla="*/ 1569444 h 2708746"/>
                <a:gd name="connsiteX1645" fmla="*/ 567050 w 5428023"/>
                <a:gd name="connsiteY1645" fmla="*/ 1563607 h 2708746"/>
                <a:gd name="connsiteX1646" fmla="*/ 568573 w 5428023"/>
                <a:gd name="connsiteY1646" fmla="*/ 1564749 h 2708746"/>
                <a:gd name="connsiteX1647" fmla="*/ 563244 w 5428023"/>
                <a:gd name="connsiteY1647" fmla="*/ 1564749 h 2708746"/>
                <a:gd name="connsiteX1648" fmla="*/ 563244 w 5428023"/>
                <a:gd name="connsiteY1648" fmla="*/ 1558912 h 2708746"/>
                <a:gd name="connsiteX1649" fmla="*/ 564766 w 5428023"/>
                <a:gd name="connsiteY1649" fmla="*/ 1560054 h 2708746"/>
                <a:gd name="connsiteX1650" fmla="*/ 557407 w 5428023"/>
                <a:gd name="connsiteY1650" fmla="*/ 1560054 h 2708746"/>
                <a:gd name="connsiteX1651" fmla="*/ 557407 w 5428023"/>
                <a:gd name="connsiteY1651" fmla="*/ 1554091 h 2708746"/>
                <a:gd name="connsiteX1652" fmla="*/ 558930 w 5428023"/>
                <a:gd name="connsiteY1652" fmla="*/ 1555233 h 2708746"/>
                <a:gd name="connsiteX1653" fmla="*/ 555504 w 5428023"/>
                <a:gd name="connsiteY1653" fmla="*/ 1555233 h 2708746"/>
                <a:gd name="connsiteX1654" fmla="*/ 555504 w 5428023"/>
                <a:gd name="connsiteY1654" fmla="*/ 1549396 h 2708746"/>
                <a:gd name="connsiteX1655" fmla="*/ 557026 w 5428023"/>
                <a:gd name="connsiteY1655" fmla="*/ 1550538 h 2708746"/>
                <a:gd name="connsiteX1656" fmla="*/ 553600 w 5428023"/>
                <a:gd name="connsiteY1656" fmla="*/ 1550538 h 2708746"/>
                <a:gd name="connsiteX1657" fmla="*/ 553600 w 5428023"/>
                <a:gd name="connsiteY1657" fmla="*/ 1544701 h 2708746"/>
                <a:gd name="connsiteX1658" fmla="*/ 555123 w 5428023"/>
                <a:gd name="connsiteY1658" fmla="*/ 1545843 h 2708746"/>
                <a:gd name="connsiteX1659" fmla="*/ 541927 w 5428023"/>
                <a:gd name="connsiteY1659" fmla="*/ 1545843 h 2708746"/>
                <a:gd name="connsiteX1660" fmla="*/ 541927 w 5428023"/>
                <a:gd name="connsiteY1660" fmla="*/ 1539879 h 2708746"/>
                <a:gd name="connsiteX1661" fmla="*/ 543450 w 5428023"/>
                <a:gd name="connsiteY1661" fmla="*/ 1541021 h 2708746"/>
                <a:gd name="connsiteX1662" fmla="*/ 540024 w 5428023"/>
                <a:gd name="connsiteY1662" fmla="*/ 1541021 h 2708746"/>
                <a:gd name="connsiteX1663" fmla="*/ 540024 w 5428023"/>
                <a:gd name="connsiteY1663" fmla="*/ 1535185 h 2708746"/>
                <a:gd name="connsiteX1664" fmla="*/ 541546 w 5428023"/>
                <a:gd name="connsiteY1664" fmla="*/ 1536327 h 2708746"/>
                <a:gd name="connsiteX1665" fmla="*/ 538120 w 5428023"/>
                <a:gd name="connsiteY1665" fmla="*/ 1536327 h 2708746"/>
                <a:gd name="connsiteX1666" fmla="*/ 538120 w 5428023"/>
                <a:gd name="connsiteY1666" fmla="*/ 1530490 h 2708746"/>
                <a:gd name="connsiteX1667" fmla="*/ 539643 w 5428023"/>
                <a:gd name="connsiteY1667" fmla="*/ 1531632 h 2708746"/>
                <a:gd name="connsiteX1668" fmla="*/ 532284 w 5428023"/>
                <a:gd name="connsiteY1668" fmla="*/ 1531632 h 2708746"/>
                <a:gd name="connsiteX1669" fmla="*/ 532284 w 5428023"/>
                <a:gd name="connsiteY1669" fmla="*/ 1525795 h 2708746"/>
                <a:gd name="connsiteX1670" fmla="*/ 533806 w 5428023"/>
                <a:gd name="connsiteY1670" fmla="*/ 1526810 h 2708746"/>
                <a:gd name="connsiteX1671" fmla="*/ 530000 w 5428023"/>
                <a:gd name="connsiteY1671" fmla="*/ 1526810 h 2708746"/>
                <a:gd name="connsiteX1672" fmla="*/ 524671 w 5428023"/>
                <a:gd name="connsiteY1672" fmla="*/ 1526810 h 2708746"/>
                <a:gd name="connsiteX1673" fmla="*/ 524671 w 5428023"/>
                <a:gd name="connsiteY1673" fmla="*/ 1520974 h 2708746"/>
                <a:gd name="connsiteX1674" fmla="*/ 526193 w 5428023"/>
                <a:gd name="connsiteY1674" fmla="*/ 1522115 h 2708746"/>
                <a:gd name="connsiteX1675" fmla="*/ 522640 w 5428023"/>
                <a:gd name="connsiteY1675" fmla="*/ 1522115 h 2708746"/>
                <a:gd name="connsiteX1676" fmla="*/ 522640 w 5428023"/>
                <a:gd name="connsiteY1676" fmla="*/ 1506889 h 2708746"/>
                <a:gd name="connsiteX1677" fmla="*/ 524163 w 5428023"/>
                <a:gd name="connsiteY1677" fmla="*/ 1508031 h 2708746"/>
                <a:gd name="connsiteX1678" fmla="*/ 514773 w 5428023"/>
                <a:gd name="connsiteY1678" fmla="*/ 1508031 h 2708746"/>
                <a:gd name="connsiteX1679" fmla="*/ 514773 w 5428023"/>
                <a:gd name="connsiteY1679" fmla="*/ 1502068 h 2708746"/>
                <a:gd name="connsiteX1680" fmla="*/ 516296 w 5428023"/>
                <a:gd name="connsiteY1680" fmla="*/ 1503210 h 2708746"/>
                <a:gd name="connsiteX1681" fmla="*/ 510967 w 5428023"/>
                <a:gd name="connsiteY1681" fmla="*/ 1503210 h 2708746"/>
                <a:gd name="connsiteX1682" fmla="*/ 510967 w 5428023"/>
                <a:gd name="connsiteY1682" fmla="*/ 1497500 h 2708746"/>
                <a:gd name="connsiteX1683" fmla="*/ 512490 w 5428023"/>
                <a:gd name="connsiteY1683" fmla="*/ 1498515 h 2708746"/>
                <a:gd name="connsiteX1684" fmla="*/ 503227 w 5428023"/>
                <a:gd name="connsiteY1684" fmla="*/ 1498515 h 2708746"/>
                <a:gd name="connsiteX1685" fmla="*/ 503227 w 5428023"/>
                <a:gd name="connsiteY1685" fmla="*/ 1492678 h 2708746"/>
                <a:gd name="connsiteX1686" fmla="*/ 504750 w 5428023"/>
                <a:gd name="connsiteY1686" fmla="*/ 1493820 h 2708746"/>
                <a:gd name="connsiteX1687" fmla="*/ 501324 w 5428023"/>
                <a:gd name="connsiteY1687" fmla="*/ 1493820 h 2708746"/>
                <a:gd name="connsiteX1688" fmla="*/ 501324 w 5428023"/>
                <a:gd name="connsiteY1688" fmla="*/ 1487983 h 2708746"/>
                <a:gd name="connsiteX1689" fmla="*/ 502846 w 5428023"/>
                <a:gd name="connsiteY1689" fmla="*/ 1489125 h 2708746"/>
                <a:gd name="connsiteX1690" fmla="*/ 499040 w 5428023"/>
                <a:gd name="connsiteY1690" fmla="*/ 1489125 h 2708746"/>
                <a:gd name="connsiteX1691" fmla="*/ 491680 w 5428023"/>
                <a:gd name="connsiteY1691" fmla="*/ 1489125 h 2708746"/>
                <a:gd name="connsiteX1692" fmla="*/ 491680 w 5428023"/>
                <a:gd name="connsiteY1692" fmla="*/ 1478594 h 2708746"/>
                <a:gd name="connsiteX1693" fmla="*/ 493203 w 5428023"/>
                <a:gd name="connsiteY1693" fmla="*/ 1479736 h 2708746"/>
                <a:gd name="connsiteX1694" fmla="*/ 489777 w 5428023"/>
                <a:gd name="connsiteY1694" fmla="*/ 1479736 h 2708746"/>
                <a:gd name="connsiteX1695" fmla="*/ 489777 w 5428023"/>
                <a:gd name="connsiteY1695" fmla="*/ 1473899 h 2708746"/>
                <a:gd name="connsiteX1696" fmla="*/ 491300 w 5428023"/>
                <a:gd name="connsiteY1696" fmla="*/ 1475041 h 2708746"/>
                <a:gd name="connsiteX1697" fmla="*/ 487874 w 5428023"/>
                <a:gd name="connsiteY1697" fmla="*/ 1475041 h 2708746"/>
                <a:gd name="connsiteX1698" fmla="*/ 487874 w 5428023"/>
                <a:gd name="connsiteY1698" fmla="*/ 1469204 h 2708746"/>
                <a:gd name="connsiteX1699" fmla="*/ 489396 w 5428023"/>
                <a:gd name="connsiteY1699" fmla="*/ 1470346 h 2708746"/>
                <a:gd name="connsiteX1700" fmla="*/ 485844 w 5428023"/>
                <a:gd name="connsiteY1700" fmla="*/ 1470346 h 2708746"/>
                <a:gd name="connsiteX1701" fmla="*/ 485844 w 5428023"/>
                <a:gd name="connsiteY1701" fmla="*/ 1459815 h 2708746"/>
                <a:gd name="connsiteX1702" fmla="*/ 487366 w 5428023"/>
                <a:gd name="connsiteY1702" fmla="*/ 1460957 h 2708746"/>
                <a:gd name="connsiteX1703" fmla="*/ 483940 w 5428023"/>
                <a:gd name="connsiteY1703" fmla="*/ 1460957 h 2708746"/>
                <a:gd name="connsiteX1704" fmla="*/ 483940 w 5428023"/>
                <a:gd name="connsiteY1704" fmla="*/ 1455120 h 2708746"/>
                <a:gd name="connsiteX1705" fmla="*/ 485463 w 5428023"/>
                <a:gd name="connsiteY1705" fmla="*/ 1456262 h 2708746"/>
                <a:gd name="connsiteX1706" fmla="*/ 482037 w 5428023"/>
                <a:gd name="connsiteY1706" fmla="*/ 1456262 h 2708746"/>
                <a:gd name="connsiteX1707" fmla="*/ 482037 w 5428023"/>
                <a:gd name="connsiteY1707" fmla="*/ 1450425 h 2708746"/>
                <a:gd name="connsiteX1708" fmla="*/ 483560 w 5428023"/>
                <a:gd name="connsiteY1708" fmla="*/ 1451567 h 2708746"/>
                <a:gd name="connsiteX1709" fmla="*/ 480134 w 5428023"/>
                <a:gd name="connsiteY1709" fmla="*/ 1451567 h 2708746"/>
                <a:gd name="connsiteX1710" fmla="*/ 480134 w 5428023"/>
                <a:gd name="connsiteY1710" fmla="*/ 1441163 h 2708746"/>
                <a:gd name="connsiteX1711" fmla="*/ 481656 w 5428023"/>
                <a:gd name="connsiteY1711" fmla="*/ 1442305 h 2708746"/>
                <a:gd name="connsiteX1712" fmla="*/ 476200 w 5428023"/>
                <a:gd name="connsiteY1712" fmla="*/ 1442305 h 2708746"/>
                <a:gd name="connsiteX1713" fmla="*/ 476200 w 5428023"/>
                <a:gd name="connsiteY1713" fmla="*/ 1431646 h 2708746"/>
                <a:gd name="connsiteX1714" fmla="*/ 477723 w 5428023"/>
                <a:gd name="connsiteY1714" fmla="*/ 1432788 h 2708746"/>
                <a:gd name="connsiteX1715" fmla="*/ 474297 w 5428023"/>
                <a:gd name="connsiteY1715" fmla="*/ 1432788 h 2708746"/>
                <a:gd name="connsiteX1716" fmla="*/ 474297 w 5428023"/>
                <a:gd name="connsiteY1716" fmla="*/ 1427078 h 2708746"/>
                <a:gd name="connsiteX1717" fmla="*/ 475820 w 5428023"/>
                <a:gd name="connsiteY1717" fmla="*/ 1428220 h 2708746"/>
                <a:gd name="connsiteX1718" fmla="*/ 472267 w 5428023"/>
                <a:gd name="connsiteY1718" fmla="*/ 1428220 h 2708746"/>
                <a:gd name="connsiteX1719" fmla="*/ 472267 w 5428023"/>
                <a:gd name="connsiteY1719" fmla="*/ 1403605 h 2708746"/>
                <a:gd name="connsiteX1720" fmla="*/ 473916 w 5428023"/>
                <a:gd name="connsiteY1720" fmla="*/ 1404747 h 2708746"/>
                <a:gd name="connsiteX1721" fmla="*/ 470364 w 5428023"/>
                <a:gd name="connsiteY1721" fmla="*/ 1404747 h 2708746"/>
                <a:gd name="connsiteX1722" fmla="*/ 470364 w 5428023"/>
                <a:gd name="connsiteY1722" fmla="*/ 1394215 h 2708746"/>
                <a:gd name="connsiteX1723" fmla="*/ 471886 w 5428023"/>
                <a:gd name="connsiteY1723" fmla="*/ 1395230 h 2708746"/>
                <a:gd name="connsiteX1724" fmla="*/ 468460 w 5428023"/>
                <a:gd name="connsiteY1724" fmla="*/ 1395230 h 2708746"/>
                <a:gd name="connsiteX1725" fmla="*/ 468460 w 5428023"/>
                <a:gd name="connsiteY1725" fmla="*/ 1389520 h 2708746"/>
                <a:gd name="connsiteX1726" fmla="*/ 469983 w 5428023"/>
                <a:gd name="connsiteY1726" fmla="*/ 1390662 h 2708746"/>
                <a:gd name="connsiteX1727" fmla="*/ 466430 w 5428023"/>
                <a:gd name="connsiteY1727" fmla="*/ 1390662 h 2708746"/>
                <a:gd name="connsiteX1728" fmla="*/ 466430 w 5428023"/>
                <a:gd name="connsiteY1728" fmla="*/ 1384826 h 2708746"/>
                <a:gd name="connsiteX1729" fmla="*/ 467953 w 5428023"/>
                <a:gd name="connsiteY1729" fmla="*/ 1385968 h 2708746"/>
                <a:gd name="connsiteX1730" fmla="*/ 462624 w 5428023"/>
                <a:gd name="connsiteY1730" fmla="*/ 1385968 h 2708746"/>
                <a:gd name="connsiteX1731" fmla="*/ 462624 w 5428023"/>
                <a:gd name="connsiteY1731" fmla="*/ 1380131 h 2708746"/>
                <a:gd name="connsiteX1732" fmla="*/ 464146 w 5428023"/>
                <a:gd name="connsiteY1732" fmla="*/ 1381273 h 2708746"/>
                <a:gd name="connsiteX1733" fmla="*/ 460720 w 5428023"/>
                <a:gd name="connsiteY1733" fmla="*/ 1381273 h 2708746"/>
                <a:gd name="connsiteX1734" fmla="*/ 460720 w 5428023"/>
                <a:gd name="connsiteY1734" fmla="*/ 1366047 h 2708746"/>
                <a:gd name="connsiteX1735" fmla="*/ 462243 w 5428023"/>
                <a:gd name="connsiteY1735" fmla="*/ 1367189 h 2708746"/>
                <a:gd name="connsiteX1736" fmla="*/ 456787 w 5428023"/>
                <a:gd name="connsiteY1736" fmla="*/ 1367189 h 2708746"/>
                <a:gd name="connsiteX1737" fmla="*/ 456787 w 5428023"/>
                <a:gd name="connsiteY1737" fmla="*/ 1356784 h 2708746"/>
                <a:gd name="connsiteX1738" fmla="*/ 458310 w 5428023"/>
                <a:gd name="connsiteY1738" fmla="*/ 1357799 h 2708746"/>
                <a:gd name="connsiteX1739" fmla="*/ 454884 w 5428023"/>
                <a:gd name="connsiteY1739" fmla="*/ 1357799 h 2708746"/>
                <a:gd name="connsiteX1740" fmla="*/ 454884 w 5428023"/>
                <a:gd name="connsiteY1740" fmla="*/ 1347268 h 2708746"/>
                <a:gd name="connsiteX1741" fmla="*/ 456406 w 5428023"/>
                <a:gd name="connsiteY1741" fmla="*/ 1348410 h 2708746"/>
                <a:gd name="connsiteX1742" fmla="*/ 452980 w 5428023"/>
                <a:gd name="connsiteY1742" fmla="*/ 1348410 h 2708746"/>
                <a:gd name="connsiteX1743" fmla="*/ 452980 w 5428023"/>
                <a:gd name="connsiteY1743" fmla="*/ 1342573 h 2708746"/>
                <a:gd name="connsiteX1744" fmla="*/ 454503 w 5428023"/>
                <a:gd name="connsiteY1744" fmla="*/ 1343715 h 2708746"/>
                <a:gd name="connsiteX1745" fmla="*/ 450570 w 5428023"/>
                <a:gd name="connsiteY1745" fmla="*/ 1343715 h 2708746"/>
                <a:gd name="connsiteX1746" fmla="*/ 445240 w 5428023"/>
                <a:gd name="connsiteY1746" fmla="*/ 1343715 h 2708746"/>
                <a:gd name="connsiteX1747" fmla="*/ 445240 w 5428023"/>
                <a:gd name="connsiteY1747" fmla="*/ 1328615 h 2708746"/>
                <a:gd name="connsiteX1748" fmla="*/ 446763 w 5428023"/>
                <a:gd name="connsiteY1748" fmla="*/ 1329757 h 2708746"/>
                <a:gd name="connsiteX1749" fmla="*/ 443337 w 5428023"/>
                <a:gd name="connsiteY1749" fmla="*/ 1329757 h 2708746"/>
                <a:gd name="connsiteX1750" fmla="*/ 443337 w 5428023"/>
                <a:gd name="connsiteY1750" fmla="*/ 1323921 h 2708746"/>
                <a:gd name="connsiteX1751" fmla="*/ 444860 w 5428023"/>
                <a:gd name="connsiteY1751" fmla="*/ 1325063 h 2708746"/>
                <a:gd name="connsiteX1752" fmla="*/ 441434 w 5428023"/>
                <a:gd name="connsiteY1752" fmla="*/ 1325063 h 2708746"/>
                <a:gd name="connsiteX1753" fmla="*/ 441434 w 5428023"/>
                <a:gd name="connsiteY1753" fmla="*/ 1319226 h 2708746"/>
                <a:gd name="connsiteX1754" fmla="*/ 442956 w 5428023"/>
                <a:gd name="connsiteY1754" fmla="*/ 1320368 h 2708746"/>
                <a:gd name="connsiteX1755" fmla="*/ 439404 w 5428023"/>
                <a:gd name="connsiteY1755" fmla="*/ 1320368 h 2708746"/>
                <a:gd name="connsiteX1756" fmla="*/ 439404 w 5428023"/>
                <a:gd name="connsiteY1756" fmla="*/ 1300574 h 2708746"/>
                <a:gd name="connsiteX1757" fmla="*/ 440926 w 5428023"/>
                <a:gd name="connsiteY1757" fmla="*/ 1301716 h 2708746"/>
                <a:gd name="connsiteX1758" fmla="*/ 435597 w 5428023"/>
                <a:gd name="connsiteY1758" fmla="*/ 1301716 h 2708746"/>
                <a:gd name="connsiteX1759" fmla="*/ 435597 w 5428023"/>
                <a:gd name="connsiteY1759" fmla="*/ 1295879 h 2708746"/>
                <a:gd name="connsiteX1760" fmla="*/ 437120 w 5428023"/>
                <a:gd name="connsiteY1760" fmla="*/ 1297021 h 2708746"/>
                <a:gd name="connsiteX1761" fmla="*/ 433694 w 5428023"/>
                <a:gd name="connsiteY1761" fmla="*/ 1297021 h 2708746"/>
                <a:gd name="connsiteX1762" fmla="*/ 433694 w 5428023"/>
                <a:gd name="connsiteY1762" fmla="*/ 1291184 h 2708746"/>
                <a:gd name="connsiteX1763" fmla="*/ 435216 w 5428023"/>
                <a:gd name="connsiteY1763" fmla="*/ 1292326 h 2708746"/>
                <a:gd name="connsiteX1764" fmla="*/ 429760 w 5428023"/>
                <a:gd name="connsiteY1764" fmla="*/ 1292326 h 2708746"/>
                <a:gd name="connsiteX1765" fmla="*/ 429760 w 5428023"/>
                <a:gd name="connsiteY1765" fmla="*/ 1286490 h 2708746"/>
                <a:gd name="connsiteX1766" fmla="*/ 431283 w 5428023"/>
                <a:gd name="connsiteY1766" fmla="*/ 1287632 h 2708746"/>
                <a:gd name="connsiteX1767" fmla="*/ 425954 w 5428023"/>
                <a:gd name="connsiteY1767" fmla="*/ 1287632 h 2708746"/>
                <a:gd name="connsiteX1768" fmla="*/ 425954 w 5428023"/>
                <a:gd name="connsiteY1768" fmla="*/ 1277227 h 2708746"/>
                <a:gd name="connsiteX1769" fmla="*/ 427476 w 5428023"/>
                <a:gd name="connsiteY1769" fmla="*/ 1278242 h 2708746"/>
                <a:gd name="connsiteX1770" fmla="*/ 423924 w 5428023"/>
                <a:gd name="connsiteY1770" fmla="*/ 1278242 h 2708746"/>
                <a:gd name="connsiteX1771" fmla="*/ 423924 w 5428023"/>
                <a:gd name="connsiteY1771" fmla="*/ 1272532 h 2708746"/>
                <a:gd name="connsiteX1772" fmla="*/ 425573 w 5428023"/>
                <a:gd name="connsiteY1772" fmla="*/ 1273674 h 2708746"/>
                <a:gd name="connsiteX1773" fmla="*/ 419990 w 5428023"/>
                <a:gd name="connsiteY1773" fmla="*/ 1273674 h 2708746"/>
                <a:gd name="connsiteX1774" fmla="*/ 419990 w 5428023"/>
                <a:gd name="connsiteY1774" fmla="*/ 1267837 h 2708746"/>
                <a:gd name="connsiteX1775" fmla="*/ 421513 w 5428023"/>
                <a:gd name="connsiteY1775" fmla="*/ 1268979 h 2708746"/>
                <a:gd name="connsiteX1776" fmla="*/ 418087 w 5428023"/>
                <a:gd name="connsiteY1776" fmla="*/ 1268979 h 2708746"/>
                <a:gd name="connsiteX1777" fmla="*/ 418087 w 5428023"/>
                <a:gd name="connsiteY1777" fmla="*/ 1258448 h 2708746"/>
                <a:gd name="connsiteX1778" fmla="*/ 419610 w 5428023"/>
                <a:gd name="connsiteY1778" fmla="*/ 1259590 h 2708746"/>
                <a:gd name="connsiteX1779" fmla="*/ 416184 w 5428023"/>
                <a:gd name="connsiteY1779" fmla="*/ 1259590 h 2708746"/>
                <a:gd name="connsiteX1780" fmla="*/ 416184 w 5428023"/>
                <a:gd name="connsiteY1780" fmla="*/ 1253880 h 2708746"/>
                <a:gd name="connsiteX1781" fmla="*/ 417706 w 5428023"/>
                <a:gd name="connsiteY1781" fmla="*/ 1255022 h 2708746"/>
                <a:gd name="connsiteX1782" fmla="*/ 412377 w 5428023"/>
                <a:gd name="connsiteY1782" fmla="*/ 1255022 h 2708746"/>
                <a:gd name="connsiteX1783" fmla="*/ 412377 w 5428023"/>
                <a:gd name="connsiteY1783" fmla="*/ 1244617 h 2708746"/>
                <a:gd name="connsiteX1784" fmla="*/ 413900 w 5428023"/>
                <a:gd name="connsiteY1784" fmla="*/ 1245632 h 2708746"/>
                <a:gd name="connsiteX1785" fmla="*/ 411870 w 5428023"/>
                <a:gd name="connsiteY1785" fmla="*/ 1245632 h 2708746"/>
                <a:gd name="connsiteX1786" fmla="*/ 408444 w 5428023"/>
                <a:gd name="connsiteY1786" fmla="*/ 1245632 h 2708746"/>
                <a:gd name="connsiteX1787" fmla="*/ 408444 w 5428023"/>
                <a:gd name="connsiteY1787" fmla="*/ 1230660 h 2708746"/>
                <a:gd name="connsiteX1788" fmla="*/ 409966 w 5428023"/>
                <a:gd name="connsiteY1788" fmla="*/ 1231802 h 2708746"/>
                <a:gd name="connsiteX1789" fmla="*/ 406540 w 5428023"/>
                <a:gd name="connsiteY1789" fmla="*/ 1231802 h 2708746"/>
                <a:gd name="connsiteX1790" fmla="*/ 406540 w 5428023"/>
                <a:gd name="connsiteY1790" fmla="*/ 1221397 h 2708746"/>
                <a:gd name="connsiteX1791" fmla="*/ 408063 w 5428023"/>
                <a:gd name="connsiteY1791" fmla="*/ 1222539 h 2708746"/>
                <a:gd name="connsiteX1792" fmla="*/ 402734 w 5428023"/>
                <a:gd name="connsiteY1792" fmla="*/ 1222539 h 2708746"/>
                <a:gd name="connsiteX1793" fmla="*/ 402734 w 5428023"/>
                <a:gd name="connsiteY1793" fmla="*/ 1216703 h 2708746"/>
                <a:gd name="connsiteX1794" fmla="*/ 404256 w 5428023"/>
                <a:gd name="connsiteY1794" fmla="*/ 1217845 h 2708746"/>
                <a:gd name="connsiteX1795" fmla="*/ 398800 w 5428023"/>
                <a:gd name="connsiteY1795" fmla="*/ 1217845 h 2708746"/>
                <a:gd name="connsiteX1796" fmla="*/ 398800 w 5428023"/>
                <a:gd name="connsiteY1796" fmla="*/ 1207440 h 2708746"/>
                <a:gd name="connsiteX1797" fmla="*/ 400323 w 5428023"/>
                <a:gd name="connsiteY1797" fmla="*/ 1208582 h 2708746"/>
                <a:gd name="connsiteX1798" fmla="*/ 393091 w 5428023"/>
                <a:gd name="connsiteY1798" fmla="*/ 1208582 h 2708746"/>
                <a:gd name="connsiteX1799" fmla="*/ 393091 w 5428023"/>
                <a:gd name="connsiteY1799" fmla="*/ 1202872 h 2708746"/>
                <a:gd name="connsiteX1800" fmla="*/ 394613 w 5428023"/>
                <a:gd name="connsiteY1800" fmla="*/ 1204014 h 2708746"/>
                <a:gd name="connsiteX1801" fmla="*/ 391060 w 5428023"/>
                <a:gd name="connsiteY1801" fmla="*/ 1204014 h 2708746"/>
                <a:gd name="connsiteX1802" fmla="*/ 391060 w 5428023"/>
                <a:gd name="connsiteY1802" fmla="*/ 1198304 h 2708746"/>
                <a:gd name="connsiteX1803" fmla="*/ 392583 w 5428023"/>
                <a:gd name="connsiteY1803" fmla="*/ 1199319 h 2708746"/>
                <a:gd name="connsiteX1804" fmla="*/ 389157 w 5428023"/>
                <a:gd name="connsiteY1804" fmla="*/ 1199319 h 2708746"/>
                <a:gd name="connsiteX1805" fmla="*/ 389157 w 5428023"/>
                <a:gd name="connsiteY1805" fmla="*/ 1193610 h 2708746"/>
                <a:gd name="connsiteX1806" fmla="*/ 390680 w 5428023"/>
                <a:gd name="connsiteY1806" fmla="*/ 1194752 h 2708746"/>
                <a:gd name="connsiteX1807" fmla="*/ 385351 w 5428023"/>
                <a:gd name="connsiteY1807" fmla="*/ 1194752 h 2708746"/>
                <a:gd name="connsiteX1808" fmla="*/ 385351 w 5428023"/>
                <a:gd name="connsiteY1808" fmla="*/ 1188915 h 2708746"/>
                <a:gd name="connsiteX1809" fmla="*/ 386873 w 5428023"/>
                <a:gd name="connsiteY1809" fmla="*/ 1190057 h 2708746"/>
                <a:gd name="connsiteX1810" fmla="*/ 383320 w 5428023"/>
                <a:gd name="connsiteY1810" fmla="*/ 1190057 h 2708746"/>
                <a:gd name="connsiteX1811" fmla="*/ 383320 w 5428023"/>
                <a:gd name="connsiteY1811" fmla="*/ 1184347 h 2708746"/>
                <a:gd name="connsiteX1812" fmla="*/ 384843 w 5428023"/>
                <a:gd name="connsiteY1812" fmla="*/ 1185489 h 2708746"/>
                <a:gd name="connsiteX1813" fmla="*/ 379514 w 5428023"/>
                <a:gd name="connsiteY1813" fmla="*/ 1185489 h 2708746"/>
                <a:gd name="connsiteX1814" fmla="*/ 379514 w 5428023"/>
                <a:gd name="connsiteY1814" fmla="*/ 1179779 h 2708746"/>
                <a:gd name="connsiteX1815" fmla="*/ 381036 w 5428023"/>
                <a:gd name="connsiteY1815" fmla="*/ 1180921 h 2708746"/>
                <a:gd name="connsiteX1816" fmla="*/ 375580 w 5428023"/>
                <a:gd name="connsiteY1816" fmla="*/ 1180921 h 2708746"/>
                <a:gd name="connsiteX1817" fmla="*/ 375580 w 5428023"/>
                <a:gd name="connsiteY1817" fmla="*/ 1170516 h 2708746"/>
                <a:gd name="connsiteX1818" fmla="*/ 377103 w 5428023"/>
                <a:gd name="connsiteY1818" fmla="*/ 1171658 h 2708746"/>
                <a:gd name="connsiteX1819" fmla="*/ 367840 w 5428023"/>
                <a:gd name="connsiteY1819" fmla="*/ 1171658 h 2708746"/>
                <a:gd name="connsiteX1820" fmla="*/ 367840 w 5428023"/>
                <a:gd name="connsiteY1820" fmla="*/ 1161254 h 2708746"/>
                <a:gd name="connsiteX1821" fmla="*/ 369363 w 5428023"/>
                <a:gd name="connsiteY1821" fmla="*/ 1162396 h 2708746"/>
                <a:gd name="connsiteX1822" fmla="*/ 365937 w 5428023"/>
                <a:gd name="connsiteY1822" fmla="*/ 1162396 h 2708746"/>
                <a:gd name="connsiteX1823" fmla="*/ 365937 w 5428023"/>
                <a:gd name="connsiteY1823" fmla="*/ 1156686 h 2708746"/>
                <a:gd name="connsiteX1824" fmla="*/ 367460 w 5428023"/>
                <a:gd name="connsiteY1824" fmla="*/ 1157828 h 2708746"/>
                <a:gd name="connsiteX1825" fmla="*/ 363907 w 5428023"/>
                <a:gd name="connsiteY1825" fmla="*/ 1157828 h 2708746"/>
                <a:gd name="connsiteX1826" fmla="*/ 363907 w 5428023"/>
                <a:gd name="connsiteY1826" fmla="*/ 1147423 h 2708746"/>
                <a:gd name="connsiteX1827" fmla="*/ 365430 w 5428023"/>
                <a:gd name="connsiteY1827" fmla="*/ 1148565 h 2708746"/>
                <a:gd name="connsiteX1828" fmla="*/ 356294 w 5428023"/>
                <a:gd name="connsiteY1828" fmla="*/ 1148565 h 2708746"/>
                <a:gd name="connsiteX1829" fmla="*/ 356294 w 5428023"/>
                <a:gd name="connsiteY1829" fmla="*/ 1138161 h 2708746"/>
                <a:gd name="connsiteX1830" fmla="*/ 357816 w 5428023"/>
                <a:gd name="connsiteY1830" fmla="*/ 1139303 h 2708746"/>
                <a:gd name="connsiteX1831" fmla="*/ 352360 w 5428023"/>
                <a:gd name="connsiteY1831" fmla="*/ 1139303 h 2708746"/>
                <a:gd name="connsiteX1832" fmla="*/ 352360 w 5428023"/>
                <a:gd name="connsiteY1832" fmla="*/ 1129025 h 2708746"/>
                <a:gd name="connsiteX1833" fmla="*/ 353883 w 5428023"/>
                <a:gd name="connsiteY1833" fmla="*/ 1130040 h 2708746"/>
                <a:gd name="connsiteX1834" fmla="*/ 342717 w 5428023"/>
                <a:gd name="connsiteY1834" fmla="*/ 1130040 h 2708746"/>
                <a:gd name="connsiteX1835" fmla="*/ 342717 w 5428023"/>
                <a:gd name="connsiteY1835" fmla="*/ 1119762 h 2708746"/>
                <a:gd name="connsiteX1836" fmla="*/ 344240 w 5428023"/>
                <a:gd name="connsiteY1836" fmla="*/ 1120904 h 2708746"/>
                <a:gd name="connsiteX1837" fmla="*/ 340814 w 5428023"/>
                <a:gd name="connsiteY1837" fmla="*/ 1120904 h 2708746"/>
                <a:gd name="connsiteX1838" fmla="*/ 340814 w 5428023"/>
                <a:gd name="connsiteY1838" fmla="*/ 1110627 h 2708746"/>
                <a:gd name="connsiteX1839" fmla="*/ 342336 w 5428023"/>
                <a:gd name="connsiteY1839" fmla="*/ 1111642 h 2708746"/>
                <a:gd name="connsiteX1840" fmla="*/ 338911 w 5428023"/>
                <a:gd name="connsiteY1840" fmla="*/ 1111642 h 2708746"/>
                <a:gd name="connsiteX1841" fmla="*/ 338911 w 5428023"/>
                <a:gd name="connsiteY1841" fmla="*/ 1105932 h 2708746"/>
                <a:gd name="connsiteX1842" fmla="*/ 340433 w 5428023"/>
                <a:gd name="connsiteY1842" fmla="*/ 1107074 h 2708746"/>
                <a:gd name="connsiteX1843" fmla="*/ 337007 w 5428023"/>
                <a:gd name="connsiteY1843" fmla="*/ 1107074 h 2708746"/>
                <a:gd name="connsiteX1844" fmla="*/ 337007 w 5428023"/>
                <a:gd name="connsiteY1844" fmla="*/ 1101364 h 2708746"/>
                <a:gd name="connsiteX1845" fmla="*/ 338530 w 5428023"/>
                <a:gd name="connsiteY1845" fmla="*/ 1102506 h 2708746"/>
                <a:gd name="connsiteX1846" fmla="*/ 333074 w 5428023"/>
                <a:gd name="connsiteY1846" fmla="*/ 1102506 h 2708746"/>
                <a:gd name="connsiteX1847" fmla="*/ 333074 w 5428023"/>
                <a:gd name="connsiteY1847" fmla="*/ 1092101 h 2708746"/>
                <a:gd name="connsiteX1848" fmla="*/ 334596 w 5428023"/>
                <a:gd name="connsiteY1848" fmla="*/ 1093243 h 2708746"/>
                <a:gd name="connsiteX1849" fmla="*/ 331170 w 5428023"/>
                <a:gd name="connsiteY1849" fmla="*/ 1093243 h 2708746"/>
                <a:gd name="connsiteX1850" fmla="*/ 331170 w 5428023"/>
                <a:gd name="connsiteY1850" fmla="*/ 1087533 h 2708746"/>
                <a:gd name="connsiteX1851" fmla="*/ 332693 w 5428023"/>
                <a:gd name="connsiteY1851" fmla="*/ 1088676 h 2708746"/>
                <a:gd name="connsiteX1852" fmla="*/ 329267 w 5428023"/>
                <a:gd name="connsiteY1852" fmla="*/ 1088676 h 2708746"/>
                <a:gd name="connsiteX1853" fmla="*/ 329267 w 5428023"/>
                <a:gd name="connsiteY1853" fmla="*/ 1082839 h 2708746"/>
                <a:gd name="connsiteX1854" fmla="*/ 330790 w 5428023"/>
                <a:gd name="connsiteY1854" fmla="*/ 1083981 h 2708746"/>
                <a:gd name="connsiteX1855" fmla="*/ 327237 w 5428023"/>
                <a:gd name="connsiteY1855" fmla="*/ 1083981 h 2708746"/>
                <a:gd name="connsiteX1856" fmla="*/ 327237 w 5428023"/>
                <a:gd name="connsiteY1856" fmla="*/ 1059746 h 2708746"/>
                <a:gd name="connsiteX1857" fmla="*/ 328760 w 5428023"/>
                <a:gd name="connsiteY1857" fmla="*/ 1060888 h 2708746"/>
                <a:gd name="connsiteX1858" fmla="*/ 325207 w 5428023"/>
                <a:gd name="connsiteY1858" fmla="*/ 1060888 h 2708746"/>
                <a:gd name="connsiteX1859" fmla="*/ 325207 w 5428023"/>
                <a:gd name="connsiteY1859" fmla="*/ 1041347 h 2708746"/>
                <a:gd name="connsiteX1860" fmla="*/ 326730 w 5428023"/>
                <a:gd name="connsiteY1860" fmla="*/ 1042489 h 2708746"/>
                <a:gd name="connsiteX1861" fmla="*/ 323304 w 5428023"/>
                <a:gd name="connsiteY1861" fmla="*/ 1042489 h 2708746"/>
                <a:gd name="connsiteX1862" fmla="*/ 323304 w 5428023"/>
                <a:gd name="connsiteY1862" fmla="*/ 1032085 h 2708746"/>
                <a:gd name="connsiteX1863" fmla="*/ 324826 w 5428023"/>
                <a:gd name="connsiteY1863" fmla="*/ 1033227 h 2708746"/>
                <a:gd name="connsiteX1864" fmla="*/ 321400 w 5428023"/>
                <a:gd name="connsiteY1864" fmla="*/ 1033227 h 2708746"/>
                <a:gd name="connsiteX1865" fmla="*/ 321400 w 5428023"/>
                <a:gd name="connsiteY1865" fmla="*/ 1022949 h 2708746"/>
                <a:gd name="connsiteX1866" fmla="*/ 322923 w 5428023"/>
                <a:gd name="connsiteY1866" fmla="*/ 1023964 h 2708746"/>
                <a:gd name="connsiteX1867" fmla="*/ 319497 w 5428023"/>
                <a:gd name="connsiteY1867" fmla="*/ 1023964 h 2708746"/>
                <a:gd name="connsiteX1868" fmla="*/ 319497 w 5428023"/>
                <a:gd name="connsiteY1868" fmla="*/ 1013686 h 2708746"/>
                <a:gd name="connsiteX1869" fmla="*/ 321020 w 5428023"/>
                <a:gd name="connsiteY1869" fmla="*/ 1014828 h 2708746"/>
                <a:gd name="connsiteX1870" fmla="*/ 313660 w 5428023"/>
                <a:gd name="connsiteY1870" fmla="*/ 1014828 h 2708746"/>
                <a:gd name="connsiteX1871" fmla="*/ 313660 w 5428023"/>
                <a:gd name="connsiteY1871" fmla="*/ 1004550 h 2708746"/>
                <a:gd name="connsiteX1872" fmla="*/ 315183 w 5428023"/>
                <a:gd name="connsiteY1872" fmla="*/ 1005566 h 2708746"/>
                <a:gd name="connsiteX1873" fmla="*/ 311757 w 5428023"/>
                <a:gd name="connsiteY1873" fmla="*/ 1005566 h 2708746"/>
                <a:gd name="connsiteX1874" fmla="*/ 311757 w 5428023"/>
                <a:gd name="connsiteY1874" fmla="*/ 990593 h 2708746"/>
                <a:gd name="connsiteX1875" fmla="*/ 313280 w 5428023"/>
                <a:gd name="connsiteY1875" fmla="*/ 991735 h 2708746"/>
                <a:gd name="connsiteX1876" fmla="*/ 309854 w 5428023"/>
                <a:gd name="connsiteY1876" fmla="*/ 991735 h 2708746"/>
                <a:gd name="connsiteX1877" fmla="*/ 309854 w 5428023"/>
                <a:gd name="connsiteY1877" fmla="*/ 986025 h 2708746"/>
                <a:gd name="connsiteX1878" fmla="*/ 311376 w 5428023"/>
                <a:gd name="connsiteY1878" fmla="*/ 987167 h 2708746"/>
                <a:gd name="connsiteX1879" fmla="*/ 307824 w 5428023"/>
                <a:gd name="connsiteY1879" fmla="*/ 987167 h 2708746"/>
                <a:gd name="connsiteX1880" fmla="*/ 307824 w 5428023"/>
                <a:gd name="connsiteY1880" fmla="*/ 976763 h 2708746"/>
                <a:gd name="connsiteX1881" fmla="*/ 309346 w 5428023"/>
                <a:gd name="connsiteY1881" fmla="*/ 977905 h 2708746"/>
                <a:gd name="connsiteX1882" fmla="*/ 305920 w 5428023"/>
                <a:gd name="connsiteY1882" fmla="*/ 977905 h 2708746"/>
                <a:gd name="connsiteX1883" fmla="*/ 305920 w 5428023"/>
                <a:gd name="connsiteY1883" fmla="*/ 972195 h 2708746"/>
                <a:gd name="connsiteX1884" fmla="*/ 307443 w 5428023"/>
                <a:gd name="connsiteY1884" fmla="*/ 973337 h 2708746"/>
                <a:gd name="connsiteX1885" fmla="*/ 304017 w 5428023"/>
                <a:gd name="connsiteY1885" fmla="*/ 973337 h 2708746"/>
                <a:gd name="connsiteX1886" fmla="*/ 304017 w 5428023"/>
                <a:gd name="connsiteY1886" fmla="*/ 962932 h 2708746"/>
                <a:gd name="connsiteX1887" fmla="*/ 305540 w 5428023"/>
                <a:gd name="connsiteY1887" fmla="*/ 964074 h 2708746"/>
                <a:gd name="connsiteX1888" fmla="*/ 302114 w 5428023"/>
                <a:gd name="connsiteY1888" fmla="*/ 964074 h 2708746"/>
                <a:gd name="connsiteX1889" fmla="*/ 302114 w 5428023"/>
                <a:gd name="connsiteY1889" fmla="*/ 958364 h 2708746"/>
                <a:gd name="connsiteX1890" fmla="*/ 303636 w 5428023"/>
                <a:gd name="connsiteY1890" fmla="*/ 959506 h 2708746"/>
                <a:gd name="connsiteX1891" fmla="*/ 300211 w 5428023"/>
                <a:gd name="connsiteY1891" fmla="*/ 959506 h 2708746"/>
                <a:gd name="connsiteX1892" fmla="*/ 300211 w 5428023"/>
                <a:gd name="connsiteY1892" fmla="*/ 949102 h 2708746"/>
                <a:gd name="connsiteX1893" fmla="*/ 301733 w 5428023"/>
                <a:gd name="connsiteY1893" fmla="*/ 950244 h 2708746"/>
                <a:gd name="connsiteX1894" fmla="*/ 296277 w 5428023"/>
                <a:gd name="connsiteY1894" fmla="*/ 950244 h 2708746"/>
                <a:gd name="connsiteX1895" fmla="*/ 296277 w 5428023"/>
                <a:gd name="connsiteY1895" fmla="*/ 939966 h 2708746"/>
                <a:gd name="connsiteX1896" fmla="*/ 297800 w 5428023"/>
                <a:gd name="connsiteY1896" fmla="*/ 941108 h 2708746"/>
                <a:gd name="connsiteX1897" fmla="*/ 294374 w 5428023"/>
                <a:gd name="connsiteY1897" fmla="*/ 941108 h 2708746"/>
                <a:gd name="connsiteX1898" fmla="*/ 294374 w 5428023"/>
                <a:gd name="connsiteY1898" fmla="*/ 935271 h 2708746"/>
                <a:gd name="connsiteX1899" fmla="*/ 295896 w 5428023"/>
                <a:gd name="connsiteY1899" fmla="*/ 936413 h 2708746"/>
                <a:gd name="connsiteX1900" fmla="*/ 290567 w 5428023"/>
                <a:gd name="connsiteY1900" fmla="*/ 936413 h 2708746"/>
                <a:gd name="connsiteX1901" fmla="*/ 290567 w 5428023"/>
                <a:gd name="connsiteY1901" fmla="*/ 930703 h 2708746"/>
                <a:gd name="connsiteX1902" fmla="*/ 292090 w 5428023"/>
                <a:gd name="connsiteY1902" fmla="*/ 931845 h 2708746"/>
                <a:gd name="connsiteX1903" fmla="*/ 288537 w 5428023"/>
                <a:gd name="connsiteY1903" fmla="*/ 931845 h 2708746"/>
                <a:gd name="connsiteX1904" fmla="*/ 288537 w 5428023"/>
                <a:gd name="connsiteY1904" fmla="*/ 921568 h 2708746"/>
                <a:gd name="connsiteX1905" fmla="*/ 290060 w 5428023"/>
                <a:gd name="connsiteY1905" fmla="*/ 922710 h 2708746"/>
                <a:gd name="connsiteX1906" fmla="*/ 286634 w 5428023"/>
                <a:gd name="connsiteY1906" fmla="*/ 922710 h 2708746"/>
                <a:gd name="connsiteX1907" fmla="*/ 286634 w 5428023"/>
                <a:gd name="connsiteY1907" fmla="*/ 912305 h 2708746"/>
                <a:gd name="connsiteX1908" fmla="*/ 288156 w 5428023"/>
                <a:gd name="connsiteY1908" fmla="*/ 913447 h 2708746"/>
                <a:gd name="connsiteX1909" fmla="*/ 284731 w 5428023"/>
                <a:gd name="connsiteY1909" fmla="*/ 913447 h 2708746"/>
                <a:gd name="connsiteX1910" fmla="*/ 284731 w 5428023"/>
                <a:gd name="connsiteY1910" fmla="*/ 898474 h 2708746"/>
                <a:gd name="connsiteX1911" fmla="*/ 286253 w 5428023"/>
                <a:gd name="connsiteY1911" fmla="*/ 899616 h 2708746"/>
                <a:gd name="connsiteX1912" fmla="*/ 280797 w 5428023"/>
                <a:gd name="connsiteY1912" fmla="*/ 899616 h 2708746"/>
                <a:gd name="connsiteX1913" fmla="*/ 280797 w 5428023"/>
                <a:gd name="connsiteY1913" fmla="*/ 893907 h 2708746"/>
                <a:gd name="connsiteX1914" fmla="*/ 282447 w 5428023"/>
                <a:gd name="connsiteY1914" fmla="*/ 895049 h 2708746"/>
                <a:gd name="connsiteX1915" fmla="*/ 278767 w 5428023"/>
                <a:gd name="connsiteY1915" fmla="*/ 895049 h 2708746"/>
                <a:gd name="connsiteX1916" fmla="*/ 278767 w 5428023"/>
                <a:gd name="connsiteY1916" fmla="*/ 884771 h 2708746"/>
                <a:gd name="connsiteX1917" fmla="*/ 280290 w 5428023"/>
                <a:gd name="connsiteY1917" fmla="*/ 885913 h 2708746"/>
                <a:gd name="connsiteX1918" fmla="*/ 276864 w 5428023"/>
                <a:gd name="connsiteY1918" fmla="*/ 885913 h 2708746"/>
                <a:gd name="connsiteX1919" fmla="*/ 276864 w 5428023"/>
                <a:gd name="connsiteY1919" fmla="*/ 870940 h 2708746"/>
                <a:gd name="connsiteX1920" fmla="*/ 278386 w 5428023"/>
                <a:gd name="connsiteY1920" fmla="*/ 872082 h 2708746"/>
                <a:gd name="connsiteX1921" fmla="*/ 274960 w 5428023"/>
                <a:gd name="connsiteY1921" fmla="*/ 872082 h 2708746"/>
                <a:gd name="connsiteX1922" fmla="*/ 274960 w 5428023"/>
                <a:gd name="connsiteY1922" fmla="*/ 861805 h 2708746"/>
                <a:gd name="connsiteX1923" fmla="*/ 276483 w 5428023"/>
                <a:gd name="connsiteY1923" fmla="*/ 862947 h 2708746"/>
                <a:gd name="connsiteX1924" fmla="*/ 273057 w 5428023"/>
                <a:gd name="connsiteY1924" fmla="*/ 862947 h 2708746"/>
                <a:gd name="connsiteX1925" fmla="*/ 273057 w 5428023"/>
                <a:gd name="connsiteY1925" fmla="*/ 847974 h 2708746"/>
                <a:gd name="connsiteX1926" fmla="*/ 274580 w 5428023"/>
                <a:gd name="connsiteY1926" fmla="*/ 849116 h 2708746"/>
                <a:gd name="connsiteX1927" fmla="*/ 269124 w 5428023"/>
                <a:gd name="connsiteY1927" fmla="*/ 849116 h 2708746"/>
                <a:gd name="connsiteX1928" fmla="*/ 269124 w 5428023"/>
                <a:gd name="connsiteY1928" fmla="*/ 843406 h 2708746"/>
                <a:gd name="connsiteX1929" fmla="*/ 270646 w 5428023"/>
                <a:gd name="connsiteY1929" fmla="*/ 844548 h 2708746"/>
                <a:gd name="connsiteX1930" fmla="*/ 267220 w 5428023"/>
                <a:gd name="connsiteY1930" fmla="*/ 844548 h 2708746"/>
                <a:gd name="connsiteX1931" fmla="*/ 267220 w 5428023"/>
                <a:gd name="connsiteY1931" fmla="*/ 834271 h 2708746"/>
                <a:gd name="connsiteX1932" fmla="*/ 268743 w 5428023"/>
                <a:gd name="connsiteY1932" fmla="*/ 835413 h 2708746"/>
                <a:gd name="connsiteX1933" fmla="*/ 263414 w 5428023"/>
                <a:gd name="connsiteY1933" fmla="*/ 835413 h 2708746"/>
                <a:gd name="connsiteX1934" fmla="*/ 263414 w 5428023"/>
                <a:gd name="connsiteY1934" fmla="*/ 829703 h 2708746"/>
                <a:gd name="connsiteX1935" fmla="*/ 264936 w 5428023"/>
                <a:gd name="connsiteY1935" fmla="*/ 830845 h 2708746"/>
                <a:gd name="connsiteX1936" fmla="*/ 259480 w 5428023"/>
                <a:gd name="connsiteY1936" fmla="*/ 830845 h 2708746"/>
                <a:gd name="connsiteX1937" fmla="*/ 259480 w 5428023"/>
                <a:gd name="connsiteY1937" fmla="*/ 815872 h 2708746"/>
                <a:gd name="connsiteX1938" fmla="*/ 261003 w 5428023"/>
                <a:gd name="connsiteY1938" fmla="*/ 817014 h 2708746"/>
                <a:gd name="connsiteX1939" fmla="*/ 257577 w 5428023"/>
                <a:gd name="connsiteY1939" fmla="*/ 817014 h 2708746"/>
                <a:gd name="connsiteX1940" fmla="*/ 257577 w 5428023"/>
                <a:gd name="connsiteY1940" fmla="*/ 792906 h 2708746"/>
                <a:gd name="connsiteX1941" fmla="*/ 259100 w 5428023"/>
                <a:gd name="connsiteY1941" fmla="*/ 794048 h 2708746"/>
                <a:gd name="connsiteX1942" fmla="*/ 255674 w 5428023"/>
                <a:gd name="connsiteY1942" fmla="*/ 794048 h 2708746"/>
                <a:gd name="connsiteX1943" fmla="*/ 255674 w 5428023"/>
                <a:gd name="connsiteY1943" fmla="*/ 788338 h 2708746"/>
                <a:gd name="connsiteX1944" fmla="*/ 257196 w 5428023"/>
                <a:gd name="connsiteY1944" fmla="*/ 789480 h 2708746"/>
                <a:gd name="connsiteX1945" fmla="*/ 253771 w 5428023"/>
                <a:gd name="connsiteY1945" fmla="*/ 789480 h 2708746"/>
                <a:gd name="connsiteX1946" fmla="*/ 253771 w 5428023"/>
                <a:gd name="connsiteY1946" fmla="*/ 774634 h 2708746"/>
                <a:gd name="connsiteX1947" fmla="*/ 255293 w 5428023"/>
                <a:gd name="connsiteY1947" fmla="*/ 775649 h 2708746"/>
                <a:gd name="connsiteX1948" fmla="*/ 249837 w 5428023"/>
                <a:gd name="connsiteY1948" fmla="*/ 775649 h 2708746"/>
                <a:gd name="connsiteX1949" fmla="*/ 249837 w 5428023"/>
                <a:gd name="connsiteY1949" fmla="*/ 760804 h 2708746"/>
                <a:gd name="connsiteX1950" fmla="*/ 251360 w 5428023"/>
                <a:gd name="connsiteY1950" fmla="*/ 761946 h 2708746"/>
                <a:gd name="connsiteX1951" fmla="*/ 244127 w 5428023"/>
                <a:gd name="connsiteY1951" fmla="*/ 761946 h 2708746"/>
                <a:gd name="connsiteX1952" fmla="*/ 244127 w 5428023"/>
                <a:gd name="connsiteY1952" fmla="*/ 737838 h 2708746"/>
                <a:gd name="connsiteX1953" fmla="*/ 245650 w 5428023"/>
                <a:gd name="connsiteY1953" fmla="*/ 738980 h 2708746"/>
                <a:gd name="connsiteX1954" fmla="*/ 242097 w 5428023"/>
                <a:gd name="connsiteY1954" fmla="*/ 738980 h 2708746"/>
                <a:gd name="connsiteX1955" fmla="*/ 242097 w 5428023"/>
                <a:gd name="connsiteY1955" fmla="*/ 728702 h 2708746"/>
                <a:gd name="connsiteX1956" fmla="*/ 243620 w 5428023"/>
                <a:gd name="connsiteY1956" fmla="*/ 729717 h 2708746"/>
                <a:gd name="connsiteX1957" fmla="*/ 240194 w 5428023"/>
                <a:gd name="connsiteY1957" fmla="*/ 729717 h 2708746"/>
                <a:gd name="connsiteX1958" fmla="*/ 240194 w 5428023"/>
                <a:gd name="connsiteY1958" fmla="*/ 710304 h 2708746"/>
                <a:gd name="connsiteX1959" fmla="*/ 241716 w 5428023"/>
                <a:gd name="connsiteY1959" fmla="*/ 711319 h 2708746"/>
                <a:gd name="connsiteX1960" fmla="*/ 238290 w 5428023"/>
                <a:gd name="connsiteY1960" fmla="*/ 711319 h 2708746"/>
                <a:gd name="connsiteX1961" fmla="*/ 238290 w 5428023"/>
                <a:gd name="connsiteY1961" fmla="*/ 701041 h 2708746"/>
                <a:gd name="connsiteX1962" fmla="*/ 239813 w 5428023"/>
                <a:gd name="connsiteY1962" fmla="*/ 702183 h 2708746"/>
                <a:gd name="connsiteX1963" fmla="*/ 236387 w 5428023"/>
                <a:gd name="connsiteY1963" fmla="*/ 702183 h 2708746"/>
                <a:gd name="connsiteX1964" fmla="*/ 236387 w 5428023"/>
                <a:gd name="connsiteY1964" fmla="*/ 687337 h 2708746"/>
                <a:gd name="connsiteX1965" fmla="*/ 237910 w 5428023"/>
                <a:gd name="connsiteY1965" fmla="*/ 688352 h 2708746"/>
                <a:gd name="connsiteX1966" fmla="*/ 232327 w 5428023"/>
                <a:gd name="connsiteY1966" fmla="*/ 688352 h 2708746"/>
                <a:gd name="connsiteX1967" fmla="*/ 232327 w 5428023"/>
                <a:gd name="connsiteY1967" fmla="*/ 668939 h 2708746"/>
                <a:gd name="connsiteX1968" fmla="*/ 233976 w 5428023"/>
                <a:gd name="connsiteY1968" fmla="*/ 670081 h 2708746"/>
                <a:gd name="connsiteX1969" fmla="*/ 230424 w 5428023"/>
                <a:gd name="connsiteY1969" fmla="*/ 670081 h 2708746"/>
                <a:gd name="connsiteX1970" fmla="*/ 230424 w 5428023"/>
                <a:gd name="connsiteY1970" fmla="*/ 664371 h 2708746"/>
                <a:gd name="connsiteX1971" fmla="*/ 231946 w 5428023"/>
                <a:gd name="connsiteY1971" fmla="*/ 665513 h 2708746"/>
                <a:gd name="connsiteX1972" fmla="*/ 228520 w 5428023"/>
                <a:gd name="connsiteY1972" fmla="*/ 665513 h 2708746"/>
                <a:gd name="connsiteX1973" fmla="*/ 228520 w 5428023"/>
                <a:gd name="connsiteY1973" fmla="*/ 659803 h 2708746"/>
                <a:gd name="connsiteX1974" fmla="*/ 230043 w 5428023"/>
                <a:gd name="connsiteY1974" fmla="*/ 660945 h 2708746"/>
                <a:gd name="connsiteX1975" fmla="*/ 226617 w 5428023"/>
                <a:gd name="connsiteY1975" fmla="*/ 660945 h 2708746"/>
                <a:gd name="connsiteX1976" fmla="*/ 226617 w 5428023"/>
                <a:gd name="connsiteY1976" fmla="*/ 655109 h 2708746"/>
                <a:gd name="connsiteX1977" fmla="*/ 228140 w 5428023"/>
                <a:gd name="connsiteY1977" fmla="*/ 656251 h 2708746"/>
                <a:gd name="connsiteX1978" fmla="*/ 224714 w 5428023"/>
                <a:gd name="connsiteY1978" fmla="*/ 656251 h 2708746"/>
                <a:gd name="connsiteX1979" fmla="*/ 224714 w 5428023"/>
                <a:gd name="connsiteY1979" fmla="*/ 650541 h 2708746"/>
                <a:gd name="connsiteX1980" fmla="*/ 226236 w 5428023"/>
                <a:gd name="connsiteY1980" fmla="*/ 651683 h 2708746"/>
                <a:gd name="connsiteX1981" fmla="*/ 220780 w 5428023"/>
                <a:gd name="connsiteY1981" fmla="*/ 651683 h 2708746"/>
                <a:gd name="connsiteX1982" fmla="*/ 220780 w 5428023"/>
                <a:gd name="connsiteY1982" fmla="*/ 645973 h 2708746"/>
                <a:gd name="connsiteX1983" fmla="*/ 222303 w 5428023"/>
                <a:gd name="connsiteY1983" fmla="*/ 647115 h 2708746"/>
                <a:gd name="connsiteX1984" fmla="*/ 218877 w 5428023"/>
                <a:gd name="connsiteY1984" fmla="*/ 647115 h 2708746"/>
                <a:gd name="connsiteX1985" fmla="*/ 218877 w 5428023"/>
                <a:gd name="connsiteY1985" fmla="*/ 641405 h 2708746"/>
                <a:gd name="connsiteX1986" fmla="*/ 220400 w 5428023"/>
                <a:gd name="connsiteY1986" fmla="*/ 642547 h 2708746"/>
                <a:gd name="connsiteX1987" fmla="*/ 216974 w 5428023"/>
                <a:gd name="connsiteY1987" fmla="*/ 642547 h 2708746"/>
                <a:gd name="connsiteX1988" fmla="*/ 216974 w 5428023"/>
                <a:gd name="connsiteY1988" fmla="*/ 632269 h 2708746"/>
                <a:gd name="connsiteX1989" fmla="*/ 218496 w 5428023"/>
                <a:gd name="connsiteY1989" fmla="*/ 633411 h 2708746"/>
                <a:gd name="connsiteX1990" fmla="*/ 215070 w 5428023"/>
                <a:gd name="connsiteY1990" fmla="*/ 633411 h 2708746"/>
                <a:gd name="connsiteX1991" fmla="*/ 215070 w 5428023"/>
                <a:gd name="connsiteY1991" fmla="*/ 627701 h 2708746"/>
                <a:gd name="connsiteX1992" fmla="*/ 216593 w 5428023"/>
                <a:gd name="connsiteY1992" fmla="*/ 628843 h 2708746"/>
                <a:gd name="connsiteX1993" fmla="*/ 213040 w 5428023"/>
                <a:gd name="connsiteY1993" fmla="*/ 628843 h 2708746"/>
                <a:gd name="connsiteX1994" fmla="*/ 213040 w 5428023"/>
                <a:gd name="connsiteY1994" fmla="*/ 609430 h 2708746"/>
                <a:gd name="connsiteX1995" fmla="*/ 214563 w 5428023"/>
                <a:gd name="connsiteY1995" fmla="*/ 610572 h 2708746"/>
                <a:gd name="connsiteX1996" fmla="*/ 205427 w 5428023"/>
                <a:gd name="connsiteY1996" fmla="*/ 610572 h 2708746"/>
                <a:gd name="connsiteX1997" fmla="*/ 205427 w 5428023"/>
                <a:gd name="connsiteY1997" fmla="*/ 604862 h 2708746"/>
                <a:gd name="connsiteX1998" fmla="*/ 206950 w 5428023"/>
                <a:gd name="connsiteY1998" fmla="*/ 606004 h 2708746"/>
                <a:gd name="connsiteX1999" fmla="*/ 203397 w 5428023"/>
                <a:gd name="connsiteY1999" fmla="*/ 606004 h 2708746"/>
                <a:gd name="connsiteX2000" fmla="*/ 203397 w 5428023"/>
                <a:gd name="connsiteY2000" fmla="*/ 600294 h 2708746"/>
                <a:gd name="connsiteX2001" fmla="*/ 204920 w 5428023"/>
                <a:gd name="connsiteY2001" fmla="*/ 601309 h 2708746"/>
                <a:gd name="connsiteX2002" fmla="*/ 201494 w 5428023"/>
                <a:gd name="connsiteY2002" fmla="*/ 601309 h 2708746"/>
                <a:gd name="connsiteX2003" fmla="*/ 201494 w 5428023"/>
                <a:gd name="connsiteY2003" fmla="*/ 595726 h 2708746"/>
                <a:gd name="connsiteX2004" fmla="*/ 203016 w 5428023"/>
                <a:gd name="connsiteY2004" fmla="*/ 596741 h 2708746"/>
                <a:gd name="connsiteX2005" fmla="*/ 199591 w 5428023"/>
                <a:gd name="connsiteY2005" fmla="*/ 596741 h 2708746"/>
                <a:gd name="connsiteX2006" fmla="*/ 199591 w 5428023"/>
                <a:gd name="connsiteY2006" fmla="*/ 591158 h 2708746"/>
                <a:gd name="connsiteX2007" fmla="*/ 201113 w 5428023"/>
                <a:gd name="connsiteY2007" fmla="*/ 592173 h 2708746"/>
                <a:gd name="connsiteX2008" fmla="*/ 195784 w 5428023"/>
                <a:gd name="connsiteY2008" fmla="*/ 592173 h 2708746"/>
                <a:gd name="connsiteX2009" fmla="*/ 195784 w 5428023"/>
                <a:gd name="connsiteY2009" fmla="*/ 586464 h 2708746"/>
                <a:gd name="connsiteX2010" fmla="*/ 197307 w 5428023"/>
                <a:gd name="connsiteY2010" fmla="*/ 587606 h 2708746"/>
                <a:gd name="connsiteX2011" fmla="*/ 193754 w 5428023"/>
                <a:gd name="connsiteY2011" fmla="*/ 587606 h 2708746"/>
                <a:gd name="connsiteX2012" fmla="*/ 193754 w 5428023"/>
                <a:gd name="connsiteY2012" fmla="*/ 581896 h 2708746"/>
                <a:gd name="connsiteX2013" fmla="*/ 195276 w 5428023"/>
                <a:gd name="connsiteY2013" fmla="*/ 583038 h 2708746"/>
                <a:gd name="connsiteX2014" fmla="*/ 191851 w 5428023"/>
                <a:gd name="connsiteY2014" fmla="*/ 583038 h 2708746"/>
                <a:gd name="connsiteX2015" fmla="*/ 191851 w 5428023"/>
                <a:gd name="connsiteY2015" fmla="*/ 572887 h 2708746"/>
                <a:gd name="connsiteX2016" fmla="*/ 193373 w 5428023"/>
                <a:gd name="connsiteY2016" fmla="*/ 574029 h 2708746"/>
                <a:gd name="connsiteX2017" fmla="*/ 189947 w 5428023"/>
                <a:gd name="connsiteY2017" fmla="*/ 574029 h 2708746"/>
                <a:gd name="connsiteX2018" fmla="*/ 189947 w 5428023"/>
                <a:gd name="connsiteY2018" fmla="*/ 563751 h 2708746"/>
                <a:gd name="connsiteX2019" fmla="*/ 191470 w 5428023"/>
                <a:gd name="connsiteY2019" fmla="*/ 564893 h 2708746"/>
                <a:gd name="connsiteX2020" fmla="*/ 188044 w 5428023"/>
                <a:gd name="connsiteY2020" fmla="*/ 564893 h 2708746"/>
                <a:gd name="connsiteX2021" fmla="*/ 188044 w 5428023"/>
                <a:gd name="connsiteY2021" fmla="*/ 554615 h 2708746"/>
                <a:gd name="connsiteX2022" fmla="*/ 189567 w 5428023"/>
                <a:gd name="connsiteY2022" fmla="*/ 555757 h 2708746"/>
                <a:gd name="connsiteX2023" fmla="*/ 186014 w 5428023"/>
                <a:gd name="connsiteY2023" fmla="*/ 555757 h 2708746"/>
                <a:gd name="connsiteX2024" fmla="*/ 186014 w 5428023"/>
                <a:gd name="connsiteY2024" fmla="*/ 545480 h 2708746"/>
                <a:gd name="connsiteX2025" fmla="*/ 187536 w 5428023"/>
                <a:gd name="connsiteY2025" fmla="*/ 546495 h 2708746"/>
                <a:gd name="connsiteX2026" fmla="*/ 182080 w 5428023"/>
                <a:gd name="connsiteY2026" fmla="*/ 546495 h 2708746"/>
                <a:gd name="connsiteX2027" fmla="*/ 182080 w 5428023"/>
                <a:gd name="connsiteY2027" fmla="*/ 531776 h 2708746"/>
                <a:gd name="connsiteX2028" fmla="*/ 183603 w 5428023"/>
                <a:gd name="connsiteY2028" fmla="*/ 532918 h 2708746"/>
                <a:gd name="connsiteX2029" fmla="*/ 180177 w 5428023"/>
                <a:gd name="connsiteY2029" fmla="*/ 532918 h 2708746"/>
                <a:gd name="connsiteX2030" fmla="*/ 180177 w 5428023"/>
                <a:gd name="connsiteY2030" fmla="*/ 527208 h 2708746"/>
                <a:gd name="connsiteX2031" fmla="*/ 181700 w 5428023"/>
                <a:gd name="connsiteY2031" fmla="*/ 528350 h 2708746"/>
                <a:gd name="connsiteX2032" fmla="*/ 178274 w 5428023"/>
                <a:gd name="connsiteY2032" fmla="*/ 528350 h 2708746"/>
                <a:gd name="connsiteX2033" fmla="*/ 178274 w 5428023"/>
                <a:gd name="connsiteY2033" fmla="*/ 522640 h 2708746"/>
                <a:gd name="connsiteX2034" fmla="*/ 179796 w 5428023"/>
                <a:gd name="connsiteY2034" fmla="*/ 523782 h 2708746"/>
                <a:gd name="connsiteX2035" fmla="*/ 174340 w 5428023"/>
                <a:gd name="connsiteY2035" fmla="*/ 523782 h 2708746"/>
                <a:gd name="connsiteX2036" fmla="*/ 174340 w 5428023"/>
                <a:gd name="connsiteY2036" fmla="*/ 513505 h 2708746"/>
                <a:gd name="connsiteX2037" fmla="*/ 175863 w 5428023"/>
                <a:gd name="connsiteY2037" fmla="*/ 514647 h 2708746"/>
                <a:gd name="connsiteX2038" fmla="*/ 172437 w 5428023"/>
                <a:gd name="connsiteY2038" fmla="*/ 514647 h 2708746"/>
                <a:gd name="connsiteX2039" fmla="*/ 172437 w 5428023"/>
                <a:gd name="connsiteY2039" fmla="*/ 509064 h 2708746"/>
                <a:gd name="connsiteX2040" fmla="*/ 173960 w 5428023"/>
                <a:gd name="connsiteY2040" fmla="*/ 510079 h 2708746"/>
                <a:gd name="connsiteX2041" fmla="*/ 168631 w 5428023"/>
                <a:gd name="connsiteY2041" fmla="*/ 510079 h 2708746"/>
                <a:gd name="connsiteX2042" fmla="*/ 168631 w 5428023"/>
                <a:gd name="connsiteY2042" fmla="*/ 486224 h 2708746"/>
                <a:gd name="connsiteX2043" fmla="*/ 170153 w 5428023"/>
                <a:gd name="connsiteY2043" fmla="*/ 487366 h 2708746"/>
                <a:gd name="connsiteX2044" fmla="*/ 166600 w 5428023"/>
                <a:gd name="connsiteY2044" fmla="*/ 487366 h 2708746"/>
                <a:gd name="connsiteX2045" fmla="*/ 166600 w 5428023"/>
                <a:gd name="connsiteY2045" fmla="*/ 477089 h 2708746"/>
                <a:gd name="connsiteX2046" fmla="*/ 168123 w 5428023"/>
                <a:gd name="connsiteY2046" fmla="*/ 478230 h 2708746"/>
                <a:gd name="connsiteX2047" fmla="*/ 162794 w 5428023"/>
                <a:gd name="connsiteY2047" fmla="*/ 478230 h 2708746"/>
                <a:gd name="connsiteX2048" fmla="*/ 162794 w 5428023"/>
                <a:gd name="connsiteY2048" fmla="*/ 449681 h 2708746"/>
                <a:gd name="connsiteX2049" fmla="*/ 164316 w 5428023"/>
                <a:gd name="connsiteY2049" fmla="*/ 450823 h 2708746"/>
                <a:gd name="connsiteX2050" fmla="*/ 160890 w 5428023"/>
                <a:gd name="connsiteY2050" fmla="*/ 450823 h 2708746"/>
                <a:gd name="connsiteX2051" fmla="*/ 160890 w 5428023"/>
                <a:gd name="connsiteY2051" fmla="*/ 445240 h 2708746"/>
                <a:gd name="connsiteX2052" fmla="*/ 162413 w 5428023"/>
                <a:gd name="connsiteY2052" fmla="*/ 446382 h 2708746"/>
                <a:gd name="connsiteX2053" fmla="*/ 158987 w 5428023"/>
                <a:gd name="connsiteY2053" fmla="*/ 446382 h 2708746"/>
                <a:gd name="connsiteX2054" fmla="*/ 158987 w 5428023"/>
                <a:gd name="connsiteY2054" fmla="*/ 440672 h 2708746"/>
                <a:gd name="connsiteX2055" fmla="*/ 160510 w 5428023"/>
                <a:gd name="connsiteY2055" fmla="*/ 441814 h 2708746"/>
                <a:gd name="connsiteX2056" fmla="*/ 156957 w 5428023"/>
                <a:gd name="connsiteY2056" fmla="*/ 441814 h 2708746"/>
                <a:gd name="connsiteX2057" fmla="*/ 156957 w 5428023"/>
                <a:gd name="connsiteY2057" fmla="*/ 436105 h 2708746"/>
                <a:gd name="connsiteX2058" fmla="*/ 158480 w 5428023"/>
                <a:gd name="connsiteY2058" fmla="*/ 437247 h 2708746"/>
                <a:gd name="connsiteX2059" fmla="*/ 155054 w 5428023"/>
                <a:gd name="connsiteY2059" fmla="*/ 437247 h 2708746"/>
                <a:gd name="connsiteX2060" fmla="*/ 155054 w 5428023"/>
                <a:gd name="connsiteY2060" fmla="*/ 426969 h 2708746"/>
                <a:gd name="connsiteX2061" fmla="*/ 156576 w 5428023"/>
                <a:gd name="connsiteY2061" fmla="*/ 428111 h 2708746"/>
                <a:gd name="connsiteX2062" fmla="*/ 153150 w 5428023"/>
                <a:gd name="connsiteY2062" fmla="*/ 428111 h 2708746"/>
                <a:gd name="connsiteX2063" fmla="*/ 153150 w 5428023"/>
                <a:gd name="connsiteY2063" fmla="*/ 413265 h 2708746"/>
                <a:gd name="connsiteX2064" fmla="*/ 154673 w 5428023"/>
                <a:gd name="connsiteY2064" fmla="*/ 414407 h 2708746"/>
                <a:gd name="connsiteX2065" fmla="*/ 151247 w 5428023"/>
                <a:gd name="connsiteY2065" fmla="*/ 414407 h 2708746"/>
                <a:gd name="connsiteX2066" fmla="*/ 151247 w 5428023"/>
                <a:gd name="connsiteY2066" fmla="*/ 404256 h 2708746"/>
                <a:gd name="connsiteX2067" fmla="*/ 152770 w 5428023"/>
                <a:gd name="connsiteY2067" fmla="*/ 405398 h 2708746"/>
                <a:gd name="connsiteX2068" fmla="*/ 149344 w 5428023"/>
                <a:gd name="connsiteY2068" fmla="*/ 405398 h 2708746"/>
                <a:gd name="connsiteX2069" fmla="*/ 149344 w 5428023"/>
                <a:gd name="connsiteY2069" fmla="*/ 395121 h 2708746"/>
                <a:gd name="connsiteX2070" fmla="*/ 150867 w 5428023"/>
                <a:gd name="connsiteY2070" fmla="*/ 396263 h 2708746"/>
                <a:gd name="connsiteX2071" fmla="*/ 147314 w 5428023"/>
                <a:gd name="connsiteY2071" fmla="*/ 396263 h 2708746"/>
                <a:gd name="connsiteX2072" fmla="*/ 147314 w 5428023"/>
                <a:gd name="connsiteY2072" fmla="*/ 381417 h 2708746"/>
                <a:gd name="connsiteX2073" fmla="*/ 148836 w 5428023"/>
                <a:gd name="connsiteY2073" fmla="*/ 382559 h 2708746"/>
                <a:gd name="connsiteX2074" fmla="*/ 143507 w 5428023"/>
                <a:gd name="connsiteY2074" fmla="*/ 382559 h 2708746"/>
                <a:gd name="connsiteX2075" fmla="*/ 143507 w 5428023"/>
                <a:gd name="connsiteY2075" fmla="*/ 372281 h 2708746"/>
                <a:gd name="connsiteX2076" fmla="*/ 145030 w 5428023"/>
                <a:gd name="connsiteY2076" fmla="*/ 373423 h 2708746"/>
                <a:gd name="connsiteX2077" fmla="*/ 141604 w 5428023"/>
                <a:gd name="connsiteY2077" fmla="*/ 373423 h 2708746"/>
                <a:gd name="connsiteX2078" fmla="*/ 141604 w 5428023"/>
                <a:gd name="connsiteY2078" fmla="*/ 367713 h 2708746"/>
                <a:gd name="connsiteX2079" fmla="*/ 143127 w 5428023"/>
                <a:gd name="connsiteY2079" fmla="*/ 368855 h 2708746"/>
                <a:gd name="connsiteX2080" fmla="*/ 141223 w 5428023"/>
                <a:gd name="connsiteY2080" fmla="*/ 368855 h 2708746"/>
                <a:gd name="connsiteX2081" fmla="*/ 137670 w 5428023"/>
                <a:gd name="connsiteY2081" fmla="*/ 368855 h 2708746"/>
                <a:gd name="connsiteX2082" fmla="*/ 137670 w 5428023"/>
                <a:gd name="connsiteY2082" fmla="*/ 358705 h 2708746"/>
                <a:gd name="connsiteX2083" fmla="*/ 139193 w 5428023"/>
                <a:gd name="connsiteY2083" fmla="*/ 359847 h 2708746"/>
                <a:gd name="connsiteX2084" fmla="*/ 137290 w 5428023"/>
                <a:gd name="connsiteY2084" fmla="*/ 359847 h 2708746"/>
                <a:gd name="connsiteX2085" fmla="*/ 133737 w 5428023"/>
                <a:gd name="connsiteY2085" fmla="*/ 359847 h 2708746"/>
                <a:gd name="connsiteX2086" fmla="*/ 133737 w 5428023"/>
                <a:gd name="connsiteY2086" fmla="*/ 340433 h 2708746"/>
                <a:gd name="connsiteX2087" fmla="*/ 135260 w 5428023"/>
                <a:gd name="connsiteY2087" fmla="*/ 341575 h 2708746"/>
                <a:gd name="connsiteX2088" fmla="*/ 131834 w 5428023"/>
                <a:gd name="connsiteY2088" fmla="*/ 341575 h 2708746"/>
                <a:gd name="connsiteX2089" fmla="*/ 131834 w 5428023"/>
                <a:gd name="connsiteY2089" fmla="*/ 335992 h 2708746"/>
                <a:gd name="connsiteX2090" fmla="*/ 133356 w 5428023"/>
                <a:gd name="connsiteY2090" fmla="*/ 337134 h 2708746"/>
                <a:gd name="connsiteX2091" fmla="*/ 129930 w 5428023"/>
                <a:gd name="connsiteY2091" fmla="*/ 337134 h 2708746"/>
                <a:gd name="connsiteX2092" fmla="*/ 129930 w 5428023"/>
                <a:gd name="connsiteY2092" fmla="*/ 331424 h 2708746"/>
                <a:gd name="connsiteX2093" fmla="*/ 131453 w 5428023"/>
                <a:gd name="connsiteY2093" fmla="*/ 332566 h 2708746"/>
                <a:gd name="connsiteX2094" fmla="*/ 127900 w 5428023"/>
                <a:gd name="connsiteY2094" fmla="*/ 332566 h 2708746"/>
                <a:gd name="connsiteX2095" fmla="*/ 127900 w 5428023"/>
                <a:gd name="connsiteY2095" fmla="*/ 326983 h 2708746"/>
                <a:gd name="connsiteX2096" fmla="*/ 129423 w 5428023"/>
                <a:gd name="connsiteY2096" fmla="*/ 327998 h 2708746"/>
                <a:gd name="connsiteX2097" fmla="*/ 125997 w 5428023"/>
                <a:gd name="connsiteY2097" fmla="*/ 327998 h 2708746"/>
                <a:gd name="connsiteX2098" fmla="*/ 125997 w 5428023"/>
                <a:gd name="connsiteY2098" fmla="*/ 317721 h 2708746"/>
                <a:gd name="connsiteX2099" fmla="*/ 127520 w 5428023"/>
                <a:gd name="connsiteY2099" fmla="*/ 318863 h 2708746"/>
                <a:gd name="connsiteX2100" fmla="*/ 124094 w 5428023"/>
                <a:gd name="connsiteY2100" fmla="*/ 318863 h 2708746"/>
                <a:gd name="connsiteX2101" fmla="*/ 124094 w 5428023"/>
                <a:gd name="connsiteY2101" fmla="*/ 313280 h 2708746"/>
                <a:gd name="connsiteX2102" fmla="*/ 125616 w 5428023"/>
                <a:gd name="connsiteY2102" fmla="*/ 314422 h 2708746"/>
                <a:gd name="connsiteX2103" fmla="*/ 122191 w 5428023"/>
                <a:gd name="connsiteY2103" fmla="*/ 314422 h 2708746"/>
                <a:gd name="connsiteX2104" fmla="*/ 122191 w 5428023"/>
                <a:gd name="connsiteY2104" fmla="*/ 308712 h 2708746"/>
                <a:gd name="connsiteX2105" fmla="*/ 123713 w 5428023"/>
                <a:gd name="connsiteY2105" fmla="*/ 309854 h 2708746"/>
                <a:gd name="connsiteX2106" fmla="*/ 120160 w 5428023"/>
                <a:gd name="connsiteY2106" fmla="*/ 309854 h 2708746"/>
                <a:gd name="connsiteX2107" fmla="*/ 120160 w 5428023"/>
                <a:gd name="connsiteY2107" fmla="*/ 295135 h 2708746"/>
                <a:gd name="connsiteX2108" fmla="*/ 121683 w 5428023"/>
                <a:gd name="connsiteY2108" fmla="*/ 296277 h 2708746"/>
                <a:gd name="connsiteX2109" fmla="*/ 118257 w 5428023"/>
                <a:gd name="connsiteY2109" fmla="*/ 296277 h 2708746"/>
                <a:gd name="connsiteX2110" fmla="*/ 118257 w 5428023"/>
                <a:gd name="connsiteY2110" fmla="*/ 290567 h 2708746"/>
                <a:gd name="connsiteX2111" fmla="*/ 119780 w 5428023"/>
                <a:gd name="connsiteY2111" fmla="*/ 291709 h 2708746"/>
                <a:gd name="connsiteX2112" fmla="*/ 116354 w 5428023"/>
                <a:gd name="connsiteY2112" fmla="*/ 291709 h 2708746"/>
                <a:gd name="connsiteX2113" fmla="*/ 116354 w 5428023"/>
                <a:gd name="connsiteY2113" fmla="*/ 286126 h 2708746"/>
                <a:gd name="connsiteX2114" fmla="*/ 117876 w 5428023"/>
                <a:gd name="connsiteY2114" fmla="*/ 287268 h 2708746"/>
                <a:gd name="connsiteX2115" fmla="*/ 114450 w 5428023"/>
                <a:gd name="connsiteY2115" fmla="*/ 287268 h 2708746"/>
                <a:gd name="connsiteX2116" fmla="*/ 114450 w 5428023"/>
                <a:gd name="connsiteY2116" fmla="*/ 281558 h 2708746"/>
                <a:gd name="connsiteX2117" fmla="*/ 115973 w 5428023"/>
                <a:gd name="connsiteY2117" fmla="*/ 282700 h 2708746"/>
                <a:gd name="connsiteX2118" fmla="*/ 110517 w 5428023"/>
                <a:gd name="connsiteY2118" fmla="*/ 282700 h 2708746"/>
                <a:gd name="connsiteX2119" fmla="*/ 110517 w 5428023"/>
                <a:gd name="connsiteY2119" fmla="*/ 272423 h 2708746"/>
                <a:gd name="connsiteX2120" fmla="*/ 112040 w 5428023"/>
                <a:gd name="connsiteY2120" fmla="*/ 273565 h 2708746"/>
                <a:gd name="connsiteX2121" fmla="*/ 108614 w 5428023"/>
                <a:gd name="connsiteY2121" fmla="*/ 273565 h 2708746"/>
                <a:gd name="connsiteX2122" fmla="*/ 108614 w 5428023"/>
                <a:gd name="connsiteY2122" fmla="*/ 254405 h 2708746"/>
                <a:gd name="connsiteX2123" fmla="*/ 110136 w 5428023"/>
                <a:gd name="connsiteY2123" fmla="*/ 255547 h 2708746"/>
                <a:gd name="connsiteX2124" fmla="*/ 106710 w 5428023"/>
                <a:gd name="connsiteY2124" fmla="*/ 255547 h 2708746"/>
                <a:gd name="connsiteX2125" fmla="*/ 106710 w 5428023"/>
                <a:gd name="connsiteY2125" fmla="*/ 245396 h 2708746"/>
                <a:gd name="connsiteX2126" fmla="*/ 108233 w 5428023"/>
                <a:gd name="connsiteY2126" fmla="*/ 246538 h 2708746"/>
                <a:gd name="connsiteX2127" fmla="*/ 102904 w 5428023"/>
                <a:gd name="connsiteY2127" fmla="*/ 246538 h 2708746"/>
                <a:gd name="connsiteX2128" fmla="*/ 102904 w 5428023"/>
                <a:gd name="connsiteY2128" fmla="*/ 236387 h 2708746"/>
                <a:gd name="connsiteX2129" fmla="*/ 104427 w 5428023"/>
                <a:gd name="connsiteY2129" fmla="*/ 237529 h 2708746"/>
                <a:gd name="connsiteX2130" fmla="*/ 100874 w 5428023"/>
                <a:gd name="connsiteY2130" fmla="*/ 237529 h 2708746"/>
                <a:gd name="connsiteX2131" fmla="*/ 100874 w 5428023"/>
                <a:gd name="connsiteY2131" fmla="*/ 222684 h 2708746"/>
                <a:gd name="connsiteX2132" fmla="*/ 102396 w 5428023"/>
                <a:gd name="connsiteY2132" fmla="*/ 223826 h 2708746"/>
                <a:gd name="connsiteX2133" fmla="*/ 97067 w 5428023"/>
                <a:gd name="connsiteY2133" fmla="*/ 223826 h 2708746"/>
                <a:gd name="connsiteX2134" fmla="*/ 97067 w 5428023"/>
                <a:gd name="connsiteY2134" fmla="*/ 218243 h 2708746"/>
                <a:gd name="connsiteX2135" fmla="*/ 98590 w 5428023"/>
                <a:gd name="connsiteY2135" fmla="*/ 219385 h 2708746"/>
                <a:gd name="connsiteX2136" fmla="*/ 95164 w 5428023"/>
                <a:gd name="connsiteY2136" fmla="*/ 219385 h 2708746"/>
                <a:gd name="connsiteX2137" fmla="*/ 95164 w 5428023"/>
                <a:gd name="connsiteY2137" fmla="*/ 204666 h 2708746"/>
                <a:gd name="connsiteX2138" fmla="*/ 96687 w 5428023"/>
                <a:gd name="connsiteY2138" fmla="*/ 205808 h 2708746"/>
                <a:gd name="connsiteX2139" fmla="*/ 93261 w 5428023"/>
                <a:gd name="connsiteY2139" fmla="*/ 205808 h 2708746"/>
                <a:gd name="connsiteX2140" fmla="*/ 93261 w 5428023"/>
                <a:gd name="connsiteY2140" fmla="*/ 191089 h 2708746"/>
                <a:gd name="connsiteX2141" fmla="*/ 94783 w 5428023"/>
                <a:gd name="connsiteY2141" fmla="*/ 192231 h 2708746"/>
                <a:gd name="connsiteX2142" fmla="*/ 91230 w 5428023"/>
                <a:gd name="connsiteY2142" fmla="*/ 192231 h 2708746"/>
                <a:gd name="connsiteX2143" fmla="*/ 91230 w 5428023"/>
                <a:gd name="connsiteY2143" fmla="*/ 186521 h 2708746"/>
                <a:gd name="connsiteX2144" fmla="*/ 92753 w 5428023"/>
                <a:gd name="connsiteY2144" fmla="*/ 187663 h 2708746"/>
                <a:gd name="connsiteX2145" fmla="*/ 81460 w 5428023"/>
                <a:gd name="connsiteY2145" fmla="*/ 187663 h 2708746"/>
                <a:gd name="connsiteX2146" fmla="*/ 81460 w 5428023"/>
                <a:gd name="connsiteY2146" fmla="*/ 181953 h 2708746"/>
                <a:gd name="connsiteX2147" fmla="*/ 82983 w 5428023"/>
                <a:gd name="connsiteY2147" fmla="*/ 183095 h 2708746"/>
                <a:gd name="connsiteX2148" fmla="*/ 68011 w 5428023"/>
                <a:gd name="connsiteY2148" fmla="*/ 183095 h 2708746"/>
                <a:gd name="connsiteX2149" fmla="*/ 68011 w 5428023"/>
                <a:gd name="connsiteY2149" fmla="*/ 177512 h 2708746"/>
                <a:gd name="connsiteX2150" fmla="*/ 69533 w 5428023"/>
                <a:gd name="connsiteY2150" fmla="*/ 178654 h 2708746"/>
                <a:gd name="connsiteX2151" fmla="*/ 66107 w 5428023"/>
                <a:gd name="connsiteY2151" fmla="*/ 178654 h 2708746"/>
                <a:gd name="connsiteX2152" fmla="*/ 66107 w 5428023"/>
                <a:gd name="connsiteY2152" fmla="*/ 173071 h 2708746"/>
                <a:gd name="connsiteX2153" fmla="*/ 67630 w 5428023"/>
                <a:gd name="connsiteY2153" fmla="*/ 174213 h 2708746"/>
                <a:gd name="connsiteX2154" fmla="*/ 62174 w 5428023"/>
                <a:gd name="connsiteY2154" fmla="*/ 174213 h 2708746"/>
                <a:gd name="connsiteX2155" fmla="*/ 62174 w 5428023"/>
                <a:gd name="connsiteY2155" fmla="*/ 168504 h 2708746"/>
                <a:gd name="connsiteX2156" fmla="*/ 63696 w 5428023"/>
                <a:gd name="connsiteY2156" fmla="*/ 169519 h 2708746"/>
                <a:gd name="connsiteX2157" fmla="*/ 56464 w 5428023"/>
                <a:gd name="connsiteY2157" fmla="*/ 169519 h 2708746"/>
                <a:gd name="connsiteX2158" fmla="*/ 56464 w 5428023"/>
                <a:gd name="connsiteY2158" fmla="*/ 159368 h 2708746"/>
                <a:gd name="connsiteX2159" fmla="*/ 57987 w 5428023"/>
                <a:gd name="connsiteY2159" fmla="*/ 160510 h 2708746"/>
                <a:gd name="connsiteX2160" fmla="*/ 54434 w 5428023"/>
                <a:gd name="connsiteY2160" fmla="*/ 160510 h 2708746"/>
                <a:gd name="connsiteX2161" fmla="*/ 54434 w 5428023"/>
                <a:gd name="connsiteY2161" fmla="*/ 154927 h 2708746"/>
                <a:gd name="connsiteX2162" fmla="*/ 55956 w 5428023"/>
                <a:gd name="connsiteY2162" fmla="*/ 156069 h 2708746"/>
                <a:gd name="connsiteX2163" fmla="*/ 52530 w 5428023"/>
                <a:gd name="connsiteY2163" fmla="*/ 156069 h 2708746"/>
                <a:gd name="connsiteX2164" fmla="*/ 52530 w 5428023"/>
                <a:gd name="connsiteY2164" fmla="*/ 145918 h 2708746"/>
                <a:gd name="connsiteX2165" fmla="*/ 54053 w 5428023"/>
                <a:gd name="connsiteY2165" fmla="*/ 146933 h 2708746"/>
                <a:gd name="connsiteX2166" fmla="*/ 50627 w 5428023"/>
                <a:gd name="connsiteY2166" fmla="*/ 146933 h 2708746"/>
                <a:gd name="connsiteX2167" fmla="*/ 50627 w 5428023"/>
                <a:gd name="connsiteY2167" fmla="*/ 136782 h 2708746"/>
                <a:gd name="connsiteX2168" fmla="*/ 52150 w 5428023"/>
                <a:gd name="connsiteY2168" fmla="*/ 137924 h 2708746"/>
                <a:gd name="connsiteX2169" fmla="*/ 48724 w 5428023"/>
                <a:gd name="connsiteY2169" fmla="*/ 137924 h 2708746"/>
                <a:gd name="connsiteX2170" fmla="*/ 48724 w 5428023"/>
                <a:gd name="connsiteY2170" fmla="*/ 132341 h 2708746"/>
                <a:gd name="connsiteX2171" fmla="*/ 50247 w 5428023"/>
                <a:gd name="connsiteY2171" fmla="*/ 133483 h 2708746"/>
                <a:gd name="connsiteX2172" fmla="*/ 42887 w 5428023"/>
                <a:gd name="connsiteY2172" fmla="*/ 133483 h 2708746"/>
                <a:gd name="connsiteX2173" fmla="*/ 42887 w 5428023"/>
                <a:gd name="connsiteY2173" fmla="*/ 118638 h 2708746"/>
                <a:gd name="connsiteX2174" fmla="*/ 44410 w 5428023"/>
                <a:gd name="connsiteY2174" fmla="*/ 119780 h 2708746"/>
                <a:gd name="connsiteX2175" fmla="*/ 40984 w 5428023"/>
                <a:gd name="connsiteY2175" fmla="*/ 119780 h 2708746"/>
                <a:gd name="connsiteX2176" fmla="*/ 40984 w 5428023"/>
                <a:gd name="connsiteY2176" fmla="*/ 105188 h 2708746"/>
                <a:gd name="connsiteX2177" fmla="*/ 42507 w 5428023"/>
                <a:gd name="connsiteY2177" fmla="*/ 106203 h 2708746"/>
                <a:gd name="connsiteX2178" fmla="*/ 38954 w 5428023"/>
                <a:gd name="connsiteY2178" fmla="*/ 106203 h 2708746"/>
                <a:gd name="connsiteX2179" fmla="*/ 38954 w 5428023"/>
                <a:gd name="connsiteY2179" fmla="*/ 91484 h 2708746"/>
                <a:gd name="connsiteX2180" fmla="*/ 40603 w 5428023"/>
                <a:gd name="connsiteY2180" fmla="*/ 92626 h 2708746"/>
                <a:gd name="connsiteX2181" fmla="*/ 37050 w 5428023"/>
                <a:gd name="connsiteY2181" fmla="*/ 92626 h 2708746"/>
                <a:gd name="connsiteX2182" fmla="*/ 37050 w 5428023"/>
                <a:gd name="connsiteY2182" fmla="*/ 78034 h 2708746"/>
                <a:gd name="connsiteX2183" fmla="*/ 38573 w 5428023"/>
                <a:gd name="connsiteY2183" fmla="*/ 79050 h 2708746"/>
                <a:gd name="connsiteX2184" fmla="*/ 35020 w 5428023"/>
                <a:gd name="connsiteY2184" fmla="*/ 79050 h 2708746"/>
                <a:gd name="connsiteX2185" fmla="*/ 35020 w 5428023"/>
                <a:gd name="connsiteY2185" fmla="*/ 73467 h 2708746"/>
                <a:gd name="connsiteX2186" fmla="*/ 36543 w 5428023"/>
                <a:gd name="connsiteY2186" fmla="*/ 74609 h 2708746"/>
                <a:gd name="connsiteX2187" fmla="*/ 33117 w 5428023"/>
                <a:gd name="connsiteY2187" fmla="*/ 74609 h 2708746"/>
                <a:gd name="connsiteX2188" fmla="*/ 33117 w 5428023"/>
                <a:gd name="connsiteY2188" fmla="*/ 68899 h 2708746"/>
                <a:gd name="connsiteX2189" fmla="*/ 34640 w 5428023"/>
                <a:gd name="connsiteY2189" fmla="*/ 70041 h 2708746"/>
                <a:gd name="connsiteX2190" fmla="*/ 31214 w 5428023"/>
                <a:gd name="connsiteY2190" fmla="*/ 70041 h 2708746"/>
                <a:gd name="connsiteX2191" fmla="*/ 31214 w 5428023"/>
                <a:gd name="connsiteY2191" fmla="*/ 64458 h 2708746"/>
                <a:gd name="connsiteX2192" fmla="*/ 32736 w 5428023"/>
                <a:gd name="connsiteY2192" fmla="*/ 65600 h 2708746"/>
                <a:gd name="connsiteX2193" fmla="*/ 29310 w 5428023"/>
                <a:gd name="connsiteY2193" fmla="*/ 65600 h 2708746"/>
                <a:gd name="connsiteX2194" fmla="*/ 29310 w 5428023"/>
                <a:gd name="connsiteY2194" fmla="*/ 55322 h 2708746"/>
                <a:gd name="connsiteX2195" fmla="*/ 30833 w 5428023"/>
                <a:gd name="connsiteY2195" fmla="*/ 56464 h 2708746"/>
                <a:gd name="connsiteX2196" fmla="*/ 27407 w 5428023"/>
                <a:gd name="connsiteY2196" fmla="*/ 56464 h 2708746"/>
                <a:gd name="connsiteX2197" fmla="*/ 27407 w 5428023"/>
                <a:gd name="connsiteY2197" fmla="*/ 46313 h 2708746"/>
                <a:gd name="connsiteX2198" fmla="*/ 28930 w 5428023"/>
                <a:gd name="connsiteY2198" fmla="*/ 47455 h 2708746"/>
                <a:gd name="connsiteX2199" fmla="*/ 23474 w 5428023"/>
                <a:gd name="connsiteY2199" fmla="*/ 47455 h 2708746"/>
                <a:gd name="connsiteX2200" fmla="*/ 23474 w 5428023"/>
                <a:gd name="connsiteY2200" fmla="*/ 37304 h 2708746"/>
                <a:gd name="connsiteX2201" fmla="*/ 24996 w 5428023"/>
                <a:gd name="connsiteY2201" fmla="*/ 38319 h 2708746"/>
                <a:gd name="connsiteX2202" fmla="*/ 19667 w 5428023"/>
                <a:gd name="connsiteY2202" fmla="*/ 38319 h 2708746"/>
                <a:gd name="connsiteX2203" fmla="*/ 19667 w 5428023"/>
                <a:gd name="connsiteY2203" fmla="*/ 32736 h 2708746"/>
                <a:gd name="connsiteX2204" fmla="*/ 21190 w 5428023"/>
                <a:gd name="connsiteY2204" fmla="*/ 33878 h 2708746"/>
                <a:gd name="connsiteX2205" fmla="*/ 15734 w 5428023"/>
                <a:gd name="connsiteY2205" fmla="*/ 33878 h 2708746"/>
                <a:gd name="connsiteX2206" fmla="*/ 15734 w 5428023"/>
                <a:gd name="connsiteY2206" fmla="*/ 28169 h 2708746"/>
                <a:gd name="connsiteX2207" fmla="*/ 17256 w 5428023"/>
                <a:gd name="connsiteY2207" fmla="*/ 29310 h 2708746"/>
                <a:gd name="connsiteX2208" fmla="*/ 13830 w 5428023"/>
                <a:gd name="connsiteY2208" fmla="*/ 29310 h 2708746"/>
                <a:gd name="connsiteX2209" fmla="*/ 13830 w 5428023"/>
                <a:gd name="connsiteY2209" fmla="*/ 23728 h 2708746"/>
                <a:gd name="connsiteX2210" fmla="*/ 15353 w 5428023"/>
                <a:gd name="connsiteY2210" fmla="*/ 24870 h 2708746"/>
                <a:gd name="connsiteX2211" fmla="*/ 11927 w 5428023"/>
                <a:gd name="connsiteY2211" fmla="*/ 24870 h 2708746"/>
                <a:gd name="connsiteX2212" fmla="*/ 11927 w 5428023"/>
                <a:gd name="connsiteY2212" fmla="*/ 19160 h 2708746"/>
                <a:gd name="connsiteX2213" fmla="*/ 13450 w 5428023"/>
                <a:gd name="connsiteY2213" fmla="*/ 20302 h 2708746"/>
                <a:gd name="connsiteX2214" fmla="*/ 10024 w 5428023"/>
                <a:gd name="connsiteY2214" fmla="*/ 20302 h 2708746"/>
                <a:gd name="connsiteX2215" fmla="*/ 10024 w 5428023"/>
                <a:gd name="connsiteY2215" fmla="*/ 14719 h 2708746"/>
                <a:gd name="connsiteX2216" fmla="*/ 11547 w 5428023"/>
                <a:gd name="connsiteY2216" fmla="*/ 15734 h 2708746"/>
                <a:gd name="connsiteX2217" fmla="*/ 3807 w 5428023"/>
                <a:gd name="connsiteY2217" fmla="*/ 15734 h 2708746"/>
                <a:gd name="connsiteX2218" fmla="*/ 381 w 5428023"/>
                <a:gd name="connsiteY2218" fmla="*/ 15734 h 2708746"/>
                <a:gd name="connsiteX2219" fmla="*/ 381 w 5428023"/>
                <a:gd name="connsiteY2219" fmla="*/ 1142 h 2708746"/>
                <a:gd name="connsiteX2220" fmla="*/ 1903 w 5428023"/>
                <a:gd name="connsiteY2220" fmla="*/ 2284 h 2708746"/>
                <a:gd name="connsiteX2221" fmla="*/ 0 w 5428023"/>
                <a:gd name="connsiteY2221" fmla="*/ 2284 h 2708746"/>
                <a:gd name="connsiteX2222" fmla="*/ 0 w 5428023"/>
                <a:gd name="connsiteY2222" fmla="*/ 0 h 2708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</a:cxnLst>
              <a:rect l="l" t="t" r="r" b="b"/>
              <a:pathLst>
                <a:path w="5428023" h="2708746">
                  <a:moveTo>
                    <a:pt x="0" y="0"/>
                  </a:moveTo>
                  <a:lnTo>
                    <a:pt x="3426" y="0"/>
                  </a:lnTo>
                  <a:lnTo>
                    <a:pt x="3426" y="14719"/>
                  </a:lnTo>
                  <a:lnTo>
                    <a:pt x="1903" y="13577"/>
                  </a:lnTo>
                  <a:lnTo>
                    <a:pt x="3807" y="13577"/>
                  </a:lnTo>
                  <a:lnTo>
                    <a:pt x="13069" y="13577"/>
                  </a:lnTo>
                  <a:lnTo>
                    <a:pt x="13069" y="19160"/>
                  </a:lnTo>
                  <a:lnTo>
                    <a:pt x="11547" y="18018"/>
                  </a:lnTo>
                  <a:lnTo>
                    <a:pt x="14972" y="18018"/>
                  </a:lnTo>
                  <a:lnTo>
                    <a:pt x="14972" y="23728"/>
                  </a:lnTo>
                  <a:lnTo>
                    <a:pt x="13450" y="22586"/>
                  </a:lnTo>
                  <a:lnTo>
                    <a:pt x="16876" y="22586"/>
                  </a:lnTo>
                  <a:lnTo>
                    <a:pt x="16876" y="28169"/>
                  </a:lnTo>
                  <a:lnTo>
                    <a:pt x="15353" y="27027"/>
                  </a:lnTo>
                  <a:lnTo>
                    <a:pt x="18779" y="27027"/>
                  </a:lnTo>
                  <a:lnTo>
                    <a:pt x="18779" y="32736"/>
                  </a:lnTo>
                  <a:lnTo>
                    <a:pt x="17256" y="31594"/>
                  </a:lnTo>
                  <a:lnTo>
                    <a:pt x="22712" y="31594"/>
                  </a:lnTo>
                  <a:lnTo>
                    <a:pt x="22712" y="37304"/>
                  </a:lnTo>
                  <a:lnTo>
                    <a:pt x="21190" y="36162"/>
                  </a:lnTo>
                  <a:lnTo>
                    <a:pt x="26519" y="36162"/>
                  </a:lnTo>
                  <a:lnTo>
                    <a:pt x="26519" y="46313"/>
                  </a:lnTo>
                  <a:lnTo>
                    <a:pt x="24996" y="45171"/>
                  </a:lnTo>
                  <a:lnTo>
                    <a:pt x="30452" y="45171"/>
                  </a:lnTo>
                  <a:lnTo>
                    <a:pt x="30452" y="55322"/>
                  </a:lnTo>
                  <a:lnTo>
                    <a:pt x="28930" y="54307"/>
                  </a:lnTo>
                  <a:lnTo>
                    <a:pt x="32356" y="54307"/>
                  </a:lnTo>
                  <a:lnTo>
                    <a:pt x="32356" y="64458"/>
                  </a:lnTo>
                  <a:lnTo>
                    <a:pt x="30833" y="63316"/>
                  </a:lnTo>
                  <a:lnTo>
                    <a:pt x="34259" y="63316"/>
                  </a:lnTo>
                  <a:lnTo>
                    <a:pt x="34259" y="68899"/>
                  </a:lnTo>
                  <a:lnTo>
                    <a:pt x="32736" y="67757"/>
                  </a:lnTo>
                  <a:lnTo>
                    <a:pt x="36162" y="67757"/>
                  </a:lnTo>
                  <a:lnTo>
                    <a:pt x="36162" y="73467"/>
                  </a:lnTo>
                  <a:lnTo>
                    <a:pt x="34640" y="72325"/>
                  </a:lnTo>
                  <a:lnTo>
                    <a:pt x="38066" y="72325"/>
                  </a:lnTo>
                  <a:lnTo>
                    <a:pt x="38066" y="78034"/>
                  </a:lnTo>
                  <a:lnTo>
                    <a:pt x="36543" y="76892"/>
                  </a:lnTo>
                  <a:lnTo>
                    <a:pt x="40223" y="76892"/>
                  </a:lnTo>
                  <a:lnTo>
                    <a:pt x="40223" y="91484"/>
                  </a:lnTo>
                  <a:lnTo>
                    <a:pt x="38573" y="90342"/>
                  </a:lnTo>
                  <a:lnTo>
                    <a:pt x="42126" y="90342"/>
                  </a:lnTo>
                  <a:lnTo>
                    <a:pt x="42126" y="105188"/>
                  </a:lnTo>
                  <a:lnTo>
                    <a:pt x="40603" y="104046"/>
                  </a:lnTo>
                  <a:lnTo>
                    <a:pt x="44029" y="104046"/>
                  </a:lnTo>
                  <a:lnTo>
                    <a:pt x="44029" y="118638"/>
                  </a:lnTo>
                  <a:lnTo>
                    <a:pt x="42507" y="117623"/>
                  </a:lnTo>
                  <a:lnTo>
                    <a:pt x="45932" y="117623"/>
                  </a:lnTo>
                  <a:lnTo>
                    <a:pt x="45932" y="132341"/>
                  </a:lnTo>
                  <a:lnTo>
                    <a:pt x="44410" y="131199"/>
                  </a:lnTo>
                  <a:lnTo>
                    <a:pt x="51769" y="131199"/>
                  </a:lnTo>
                  <a:lnTo>
                    <a:pt x="51769" y="136782"/>
                  </a:lnTo>
                  <a:lnTo>
                    <a:pt x="50247" y="135640"/>
                  </a:lnTo>
                  <a:lnTo>
                    <a:pt x="53672" y="135640"/>
                  </a:lnTo>
                  <a:lnTo>
                    <a:pt x="53672" y="145918"/>
                  </a:lnTo>
                  <a:lnTo>
                    <a:pt x="52150" y="144776"/>
                  </a:lnTo>
                  <a:lnTo>
                    <a:pt x="55576" y="144776"/>
                  </a:lnTo>
                  <a:lnTo>
                    <a:pt x="55576" y="154927"/>
                  </a:lnTo>
                  <a:lnTo>
                    <a:pt x="54053" y="153785"/>
                  </a:lnTo>
                  <a:lnTo>
                    <a:pt x="57479" y="153785"/>
                  </a:lnTo>
                  <a:lnTo>
                    <a:pt x="57479" y="159368"/>
                  </a:lnTo>
                  <a:lnTo>
                    <a:pt x="55956" y="158226"/>
                  </a:lnTo>
                  <a:lnTo>
                    <a:pt x="59509" y="158226"/>
                  </a:lnTo>
                  <a:lnTo>
                    <a:pt x="59509" y="168504"/>
                  </a:lnTo>
                  <a:lnTo>
                    <a:pt x="57987" y="167362"/>
                  </a:lnTo>
                  <a:lnTo>
                    <a:pt x="65219" y="167362"/>
                  </a:lnTo>
                  <a:lnTo>
                    <a:pt x="65219" y="173071"/>
                  </a:lnTo>
                  <a:lnTo>
                    <a:pt x="63696" y="171930"/>
                  </a:lnTo>
                  <a:lnTo>
                    <a:pt x="69152" y="171930"/>
                  </a:lnTo>
                  <a:lnTo>
                    <a:pt x="69152" y="177512"/>
                  </a:lnTo>
                  <a:lnTo>
                    <a:pt x="67630" y="176370"/>
                  </a:lnTo>
                  <a:lnTo>
                    <a:pt x="71056" y="176370"/>
                  </a:lnTo>
                  <a:lnTo>
                    <a:pt x="71056" y="181953"/>
                  </a:lnTo>
                  <a:lnTo>
                    <a:pt x="69533" y="180938"/>
                  </a:lnTo>
                  <a:lnTo>
                    <a:pt x="84506" y="180938"/>
                  </a:lnTo>
                  <a:lnTo>
                    <a:pt x="84506" y="186521"/>
                  </a:lnTo>
                  <a:lnTo>
                    <a:pt x="82983" y="185506"/>
                  </a:lnTo>
                  <a:lnTo>
                    <a:pt x="94276" y="185506"/>
                  </a:lnTo>
                  <a:lnTo>
                    <a:pt x="94276" y="191089"/>
                  </a:lnTo>
                  <a:lnTo>
                    <a:pt x="92753" y="189947"/>
                  </a:lnTo>
                  <a:lnTo>
                    <a:pt x="96306" y="189947"/>
                  </a:lnTo>
                  <a:lnTo>
                    <a:pt x="96306" y="204666"/>
                  </a:lnTo>
                  <a:lnTo>
                    <a:pt x="94783" y="203524"/>
                  </a:lnTo>
                  <a:lnTo>
                    <a:pt x="98209" y="203524"/>
                  </a:lnTo>
                  <a:lnTo>
                    <a:pt x="98209" y="218243"/>
                  </a:lnTo>
                  <a:lnTo>
                    <a:pt x="96687" y="217101"/>
                  </a:lnTo>
                  <a:lnTo>
                    <a:pt x="100112" y="217101"/>
                  </a:lnTo>
                  <a:lnTo>
                    <a:pt x="100112" y="222684"/>
                  </a:lnTo>
                  <a:lnTo>
                    <a:pt x="98590" y="221542"/>
                  </a:lnTo>
                  <a:lnTo>
                    <a:pt x="103919" y="221542"/>
                  </a:lnTo>
                  <a:lnTo>
                    <a:pt x="103919" y="236387"/>
                  </a:lnTo>
                  <a:lnTo>
                    <a:pt x="102396" y="235245"/>
                  </a:lnTo>
                  <a:lnTo>
                    <a:pt x="105949" y="235245"/>
                  </a:lnTo>
                  <a:lnTo>
                    <a:pt x="105949" y="245396"/>
                  </a:lnTo>
                  <a:lnTo>
                    <a:pt x="104427" y="244254"/>
                  </a:lnTo>
                  <a:lnTo>
                    <a:pt x="109756" y="244254"/>
                  </a:lnTo>
                  <a:lnTo>
                    <a:pt x="109756" y="254405"/>
                  </a:lnTo>
                  <a:lnTo>
                    <a:pt x="108233" y="253390"/>
                  </a:lnTo>
                  <a:lnTo>
                    <a:pt x="111659" y="253390"/>
                  </a:lnTo>
                  <a:lnTo>
                    <a:pt x="111659" y="272423"/>
                  </a:lnTo>
                  <a:lnTo>
                    <a:pt x="110136" y="271408"/>
                  </a:lnTo>
                  <a:lnTo>
                    <a:pt x="113562" y="271408"/>
                  </a:lnTo>
                  <a:lnTo>
                    <a:pt x="113562" y="281558"/>
                  </a:lnTo>
                  <a:lnTo>
                    <a:pt x="112040" y="280416"/>
                  </a:lnTo>
                  <a:lnTo>
                    <a:pt x="117496" y="280416"/>
                  </a:lnTo>
                  <a:lnTo>
                    <a:pt x="117496" y="286126"/>
                  </a:lnTo>
                  <a:lnTo>
                    <a:pt x="115973" y="284984"/>
                  </a:lnTo>
                  <a:lnTo>
                    <a:pt x="119399" y="284984"/>
                  </a:lnTo>
                  <a:lnTo>
                    <a:pt x="119399" y="290567"/>
                  </a:lnTo>
                  <a:lnTo>
                    <a:pt x="117876" y="289425"/>
                  </a:lnTo>
                  <a:lnTo>
                    <a:pt x="121302" y="289425"/>
                  </a:lnTo>
                  <a:lnTo>
                    <a:pt x="121302" y="295135"/>
                  </a:lnTo>
                  <a:lnTo>
                    <a:pt x="119780" y="293993"/>
                  </a:lnTo>
                  <a:lnTo>
                    <a:pt x="123206" y="293993"/>
                  </a:lnTo>
                  <a:lnTo>
                    <a:pt x="123206" y="308712"/>
                  </a:lnTo>
                  <a:lnTo>
                    <a:pt x="121683" y="307570"/>
                  </a:lnTo>
                  <a:lnTo>
                    <a:pt x="125236" y="307570"/>
                  </a:lnTo>
                  <a:lnTo>
                    <a:pt x="125236" y="313280"/>
                  </a:lnTo>
                  <a:lnTo>
                    <a:pt x="123713" y="312138"/>
                  </a:lnTo>
                  <a:lnTo>
                    <a:pt x="127139" y="312138"/>
                  </a:lnTo>
                  <a:lnTo>
                    <a:pt x="127139" y="317721"/>
                  </a:lnTo>
                  <a:lnTo>
                    <a:pt x="125616" y="316706"/>
                  </a:lnTo>
                  <a:lnTo>
                    <a:pt x="129042" y="316706"/>
                  </a:lnTo>
                  <a:lnTo>
                    <a:pt x="129042" y="326983"/>
                  </a:lnTo>
                  <a:lnTo>
                    <a:pt x="127520" y="325841"/>
                  </a:lnTo>
                  <a:lnTo>
                    <a:pt x="130946" y="325841"/>
                  </a:lnTo>
                  <a:lnTo>
                    <a:pt x="130946" y="331424"/>
                  </a:lnTo>
                  <a:lnTo>
                    <a:pt x="129423" y="330282"/>
                  </a:lnTo>
                  <a:lnTo>
                    <a:pt x="132976" y="330282"/>
                  </a:lnTo>
                  <a:lnTo>
                    <a:pt x="132976" y="335992"/>
                  </a:lnTo>
                  <a:lnTo>
                    <a:pt x="131453" y="334850"/>
                  </a:lnTo>
                  <a:lnTo>
                    <a:pt x="134879" y="334850"/>
                  </a:lnTo>
                  <a:lnTo>
                    <a:pt x="134879" y="340433"/>
                  </a:lnTo>
                  <a:lnTo>
                    <a:pt x="133356" y="339291"/>
                  </a:lnTo>
                  <a:lnTo>
                    <a:pt x="136909" y="339291"/>
                  </a:lnTo>
                  <a:lnTo>
                    <a:pt x="136909" y="358705"/>
                  </a:lnTo>
                  <a:lnTo>
                    <a:pt x="135260" y="357563"/>
                  </a:lnTo>
                  <a:lnTo>
                    <a:pt x="137290" y="357563"/>
                  </a:lnTo>
                  <a:lnTo>
                    <a:pt x="140716" y="357563"/>
                  </a:lnTo>
                  <a:lnTo>
                    <a:pt x="140716" y="367713"/>
                  </a:lnTo>
                  <a:lnTo>
                    <a:pt x="139193" y="366571"/>
                  </a:lnTo>
                  <a:lnTo>
                    <a:pt x="141223" y="366571"/>
                  </a:lnTo>
                  <a:lnTo>
                    <a:pt x="144649" y="366571"/>
                  </a:lnTo>
                  <a:lnTo>
                    <a:pt x="144649" y="372281"/>
                  </a:lnTo>
                  <a:lnTo>
                    <a:pt x="143127" y="371139"/>
                  </a:lnTo>
                  <a:lnTo>
                    <a:pt x="146552" y="371139"/>
                  </a:lnTo>
                  <a:lnTo>
                    <a:pt x="146552" y="381417"/>
                  </a:lnTo>
                  <a:lnTo>
                    <a:pt x="145030" y="380402"/>
                  </a:lnTo>
                  <a:lnTo>
                    <a:pt x="150359" y="380402"/>
                  </a:lnTo>
                  <a:lnTo>
                    <a:pt x="150359" y="395121"/>
                  </a:lnTo>
                  <a:lnTo>
                    <a:pt x="148836" y="393979"/>
                  </a:lnTo>
                  <a:lnTo>
                    <a:pt x="152389" y="393979"/>
                  </a:lnTo>
                  <a:lnTo>
                    <a:pt x="152389" y="404256"/>
                  </a:lnTo>
                  <a:lnTo>
                    <a:pt x="150867" y="403114"/>
                  </a:lnTo>
                  <a:lnTo>
                    <a:pt x="154292" y="403114"/>
                  </a:lnTo>
                  <a:lnTo>
                    <a:pt x="154292" y="413265"/>
                  </a:lnTo>
                  <a:lnTo>
                    <a:pt x="152770" y="412123"/>
                  </a:lnTo>
                  <a:lnTo>
                    <a:pt x="156196" y="412123"/>
                  </a:lnTo>
                  <a:lnTo>
                    <a:pt x="156196" y="426969"/>
                  </a:lnTo>
                  <a:lnTo>
                    <a:pt x="154673" y="425954"/>
                  </a:lnTo>
                  <a:lnTo>
                    <a:pt x="158099" y="425954"/>
                  </a:lnTo>
                  <a:lnTo>
                    <a:pt x="158099" y="436105"/>
                  </a:lnTo>
                  <a:lnTo>
                    <a:pt x="156576" y="434963"/>
                  </a:lnTo>
                  <a:lnTo>
                    <a:pt x="160002" y="434963"/>
                  </a:lnTo>
                  <a:lnTo>
                    <a:pt x="160002" y="440672"/>
                  </a:lnTo>
                  <a:lnTo>
                    <a:pt x="158480" y="439530"/>
                  </a:lnTo>
                  <a:lnTo>
                    <a:pt x="162032" y="439530"/>
                  </a:lnTo>
                  <a:lnTo>
                    <a:pt x="162032" y="445240"/>
                  </a:lnTo>
                  <a:lnTo>
                    <a:pt x="160510" y="444098"/>
                  </a:lnTo>
                  <a:lnTo>
                    <a:pt x="163936" y="444098"/>
                  </a:lnTo>
                  <a:lnTo>
                    <a:pt x="163936" y="449681"/>
                  </a:lnTo>
                  <a:lnTo>
                    <a:pt x="162413" y="448539"/>
                  </a:lnTo>
                  <a:lnTo>
                    <a:pt x="165839" y="448539"/>
                  </a:lnTo>
                  <a:lnTo>
                    <a:pt x="165839" y="477089"/>
                  </a:lnTo>
                  <a:lnTo>
                    <a:pt x="164316" y="475947"/>
                  </a:lnTo>
                  <a:lnTo>
                    <a:pt x="169646" y="475947"/>
                  </a:lnTo>
                  <a:lnTo>
                    <a:pt x="169646" y="486224"/>
                  </a:lnTo>
                  <a:lnTo>
                    <a:pt x="168123" y="485082"/>
                  </a:lnTo>
                  <a:lnTo>
                    <a:pt x="171676" y="485082"/>
                  </a:lnTo>
                  <a:lnTo>
                    <a:pt x="171676" y="509064"/>
                  </a:lnTo>
                  <a:lnTo>
                    <a:pt x="170153" y="507922"/>
                  </a:lnTo>
                  <a:lnTo>
                    <a:pt x="175482" y="507922"/>
                  </a:lnTo>
                  <a:lnTo>
                    <a:pt x="175482" y="513505"/>
                  </a:lnTo>
                  <a:lnTo>
                    <a:pt x="173960" y="512363"/>
                  </a:lnTo>
                  <a:lnTo>
                    <a:pt x="177386" y="512363"/>
                  </a:lnTo>
                  <a:lnTo>
                    <a:pt x="177386" y="522640"/>
                  </a:lnTo>
                  <a:lnTo>
                    <a:pt x="175863" y="521498"/>
                  </a:lnTo>
                  <a:lnTo>
                    <a:pt x="181319" y="521498"/>
                  </a:lnTo>
                  <a:lnTo>
                    <a:pt x="181319" y="527208"/>
                  </a:lnTo>
                  <a:lnTo>
                    <a:pt x="179796" y="526066"/>
                  </a:lnTo>
                  <a:lnTo>
                    <a:pt x="183222" y="526066"/>
                  </a:lnTo>
                  <a:lnTo>
                    <a:pt x="183222" y="531776"/>
                  </a:lnTo>
                  <a:lnTo>
                    <a:pt x="181700" y="530634"/>
                  </a:lnTo>
                  <a:lnTo>
                    <a:pt x="185252" y="530634"/>
                  </a:lnTo>
                  <a:lnTo>
                    <a:pt x="185252" y="545480"/>
                  </a:lnTo>
                  <a:lnTo>
                    <a:pt x="183603" y="544338"/>
                  </a:lnTo>
                  <a:lnTo>
                    <a:pt x="189059" y="544338"/>
                  </a:lnTo>
                  <a:lnTo>
                    <a:pt x="189059" y="554615"/>
                  </a:lnTo>
                  <a:lnTo>
                    <a:pt x="187536" y="553473"/>
                  </a:lnTo>
                  <a:lnTo>
                    <a:pt x="191089" y="553473"/>
                  </a:lnTo>
                  <a:lnTo>
                    <a:pt x="191089" y="563751"/>
                  </a:lnTo>
                  <a:lnTo>
                    <a:pt x="189567" y="562609"/>
                  </a:lnTo>
                  <a:lnTo>
                    <a:pt x="192992" y="562609"/>
                  </a:lnTo>
                  <a:lnTo>
                    <a:pt x="192992" y="572887"/>
                  </a:lnTo>
                  <a:lnTo>
                    <a:pt x="191470" y="571745"/>
                  </a:lnTo>
                  <a:lnTo>
                    <a:pt x="194896" y="571745"/>
                  </a:lnTo>
                  <a:lnTo>
                    <a:pt x="194896" y="581896"/>
                  </a:lnTo>
                  <a:lnTo>
                    <a:pt x="193373" y="580881"/>
                  </a:lnTo>
                  <a:lnTo>
                    <a:pt x="196799" y="580881"/>
                  </a:lnTo>
                  <a:lnTo>
                    <a:pt x="196799" y="586464"/>
                  </a:lnTo>
                  <a:lnTo>
                    <a:pt x="195276" y="585449"/>
                  </a:lnTo>
                  <a:lnTo>
                    <a:pt x="198829" y="585449"/>
                  </a:lnTo>
                  <a:lnTo>
                    <a:pt x="198829" y="591158"/>
                  </a:lnTo>
                  <a:lnTo>
                    <a:pt x="197307" y="590016"/>
                  </a:lnTo>
                  <a:lnTo>
                    <a:pt x="202636" y="590016"/>
                  </a:lnTo>
                  <a:lnTo>
                    <a:pt x="202636" y="595726"/>
                  </a:lnTo>
                  <a:lnTo>
                    <a:pt x="201113" y="594584"/>
                  </a:lnTo>
                  <a:lnTo>
                    <a:pt x="204539" y="594584"/>
                  </a:lnTo>
                  <a:lnTo>
                    <a:pt x="204539" y="600294"/>
                  </a:lnTo>
                  <a:lnTo>
                    <a:pt x="203016" y="599152"/>
                  </a:lnTo>
                  <a:lnTo>
                    <a:pt x="206442" y="599152"/>
                  </a:lnTo>
                  <a:lnTo>
                    <a:pt x="206442" y="604862"/>
                  </a:lnTo>
                  <a:lnTo>
                    <a:pt x="204920" y="603720"/>
                  </a:lnTo>
                  <a:lnTo>
                    <a:pt x="208472" y="603720"/>
                  </a:lnTo>
                  <a:lnTo>
                    <a:pt x="208472" y="609430"/>
                  </a:lnTo>
                  <a:lnTo>
                    <a:pt x="206950" y="608288"/>
                  </a:lnTo>
                  <a:lnTo>
                    <a:pt x="216086" y="608288"/>
                  </a:lnTo>
                  <a:lnTo>
                    <a:pt x="216086" y="627701"/>
                  </a:lnTo>
                  <a:lnTo>
                    <a:pt x="214563" y="626559"/>
                  </a:lnTo>
                  <a:lnTo>
                    <a:pt x="218116" y="626559"/>
                  </a:lnTo>
                  <a:lnTo>
                    <a:pt x="218116" y="632269"/>
                  </a:lnTo>
                  <a:lnTo>
                    <a:pt x="216593" y="631127"/>
                  </a:lnTo>
                  <a:lnTo>
                    <a:pt x="220019" y="631127"/>
                  </a:lnTo>
                  <a:lnTo>
                    <a:pt x="220019" y="641405"/>
                  </a:lnTo>
                  <a:lnTo>
                    <a:pt x="218496" y="640263"/>
                  </a:lnTo>
                  <a:lnTo>
                    <a:pt x="221922" y="640263"/>
                  </a:lnTo>
                  <a:lnTo>
                    <a:pt x="221922" y="645973"/>
                  </a:lnTo>
                  <a:lnTo>
                    <a:pt x="220400" y="644831"/>
                  </a:lnTo>
                  <a:lnTo>
                    <a:pt x="223826" y="644831"/>
                  </a:lnTo>
                  <a:lnTo>
                    <a:pt x="223826" y="650541"/>
                  </a:lnTo>
                  <a:lnTo>
                    <a:pt x="222303" y="649399"/>
                  </a:lnTo>
                  <a:lnTo>
                    <a:pt x="227759" y="649399"/>
                  </a:lnTo>
                  <a:lnTo>
                    <a:pt x="227759" y="655109"/>
                  </a:lnTo>
                  <a:lnTo>
                    <a:pt x="226236" y="654093"/>
                  </a:lnTo>
                  <a:lnTo>
                    <a:pt x="229662" y="654093"/>
                  </a:lnTo>
                  <a:lnTo>
                    <a:pt x="229662" y="659803"/>
                  </a:lnTo>
                  <a:lnTo>
                    <a:pt x="228140" y="658661"/>
                  </a:lnTo>
                  <a:lnTo>
                    <a:pt x="231566" y="658661"/>
                  </a:lnTo>
                  <a:lnTo>
                    <a:pt x="231566" y="664371"/>
                  </a:lnTo>
                  <a:lnTo>
                    <a:pt x="230043" y="663229"/>
                  </a:lnTo>
                  <a:lnTo>
                    <a:pt x="233596" y="663229"/>
                  </a:lnTo>
                  <a:lnTo>
                    <a:pt x="233596" y="668939"/>
                  </a:lnTo>
                  <a:lnTo>
                    <a:pt x="231946" y="667797"/>
                  </a:lnTo>
                  <a:lnTo>
                    <a:pt x="235499" y="667797"/>
                  </a:lnTo>
                  <a:lnTo>
                    <a:pt x="235499" y="687337"/>
                  </a:lnTo>
                  <a:lnTo>
                    <a:pt x="233976" y="686195"/>
                  </a:lnTo>
                  <a:lnTo>
                    <a:pt x="239432" y="686195"/>
                  </a:lnTo>
                  <a:lnTo>
                    <a:pt x="239432" y="701041"/>
                  </a:lnTo>
                  <a:lnTo>
                    <a:pt x="237910" y="700026"/>
                  </a:lnTo>
                  <a:lnTo>
                    <a:pt x="241336" y="700026"/>
                  </a:lnTo>
                  <a:lnTo>
                    <a:pt x="241336" y="710304"/>
                  </a:lnTo>
                  <a:lnTo>
                    <a:pt x="239813" y="709162"/>
                  </a:lnTo>
                  <a:lnTo>
                    <a:pt x="243239" y="709162"/>
                  </a:lnTo>
                  <a:lnTo>
                    <a:pt x="243239" y="728702"/>
                  </a:lnTo>
                  <a:lnTo>
                    <a:pt x="241716" y="727560"/>
                  </a:lnTo>
                  <a:lnTo>
                    <a:pt x="245142" y="727560"/>
                  </a:lnTo>
                  <a:lnTo>
                    <a:pt x="245142" y="737838"/>
                  </a:lnTo>
                  <a:lnTo>
                    <a:pt x="243620" y="736696"/>
                  </a:lnTo>
                  <a:lnTo>
                    <a:pt x="247172" y="736696"/>
                  </a:lnTo>
                  <a:lnTo>
                    <a:pt x="247172" y="760804"/>
                  </a:lnTo>
                  <a:lnTo>
                    <a:pt x="245650" y="759662"/>
                  </a:lnTo>
                  <a:lnTo>
                    <a:pt x="252882" y="759662"/>
                  </a:lnTo>
                  <a:lnTo>
                    <a:pt x="252882" y="774634"/>
                  </a:lnTo>
                  <a:lnTo>
                    <a:pt x="251360" y="773492"/>
                  </a:lnTo>
                  <a:lnTo>
                    <a:pt x="256816" y="773492"/>
                  </a:lnTo>
                  <a:lnTo>
                    <a:pt x="256816" y="788338"/>
                  </a:lnTo>
                  <a:lnTo>
                    <a:pt x="255293" y="787196"/>
                  </a:lnTo>
                  <a:lnTo>
                    <a:pt x="258719" y="787196"/>
                  </a:lnTo>
                  <a:lnTo>
                    <a:pt x="258719" y="792906"/>
                  </a:lnTo>
                  <a:lnTo>
                    <a:pt x="257196" y="791764"/>
                  </a:lnTo>
                  <a:lnTo>
                    <a:pt x="260622" y="791764"/>
                  </a:lnTo>
                  <a:lnTo>
                    <a:pt x="260622" y="815872"/>
                  </a:lnTo>
                  <a:lnTo>
                    <a:pt x="259100" y="814730"/>
                  </a:lnTo>
                  <a:lnTo>
                    <a:pt x="262526" y="814730"/>
                  </a:lnTo>
                  <a:lnTo>
                    <a:pt x="262526" y="829703"/>
                  </a:lnTo>
                  <a:lnTo>
                    <a:pt x="261003" y="828561"/>
                  </a:lnTo>
                  <a:lnTo>
                    <a:pt x="266459" y="828561"/>
                  </a:lnTo>
                  <a:lnTo>
                    <a:pt x="266459" y="834271"/>
                  </a:lnTo>
                  <a:lnTo>
                    <a:pt x="264936" y="833129"/>
                  </a:lnTo>
                  <a:lnTo>
                    <a:pt x="270266" y="833129"/>
                  </a:lnTo>
                  <a:lnTo>
                    <a:pt x="270266" y="843406"/>
                  </a:lnTo>
                  <a:lnTo>
                    <a:pt x="268743" y="842264"/>
                  </a:lnTo>
                  <a:lnTo>
                    <a:pt x="272169" y="842264"/>
                  </a:lnTo>
                  <a:lnTo>
                    <a:pt x="272169" y="847974"/>
                  </a:lnTo>
                  <a:lnTo>
                    <a:pt x="270646" y="846832"/>
                  </a:lnTo>
                  <a:lnTo>
                    <a:pt x="276102" y="846832"/>
                  </a:lnTo>
                  <a:lnTo>
                    <a:pt x="276102" y="861805"/>
                  </a:lnTo>
                  <a:lnTo>
                    <a:pt x="274580" y="860663"/>
                  </a:lnTo>
                  <a:lnTo>
                    <a:pt x="278006" y="860663"/>
                  </a:lnTo>
                  <a:lnTo>
                    <a:pt x="278006" y="870940"/>
                  </a:lnTo>
                  <a:lnTo>
                    <a:pt x="276483" y="869798"/>
                  </a:lnTo>
                  <a:lnTo>
                    <a:pt x="279909" y="869798"/>
                  </a:lnTo>
                  <a:lnTo>
                    <a:pt x="279909" y="884771"/>
                  </a:lnTo>
                  <a:lnTo>
                    <a:pt x="278386" y="883629"/>
                  </a:lnTo>
                  <a:lnTo>
                    <a:pt x="281939" y="883629"/>
                  </a:lnTo>
                  <a:lnTo>
                    <a:pt x="281939" y="893907"/>
                  </a:lnTo>
                  <a:lnTo>
                    <a:pt x="280290" y="892765"/>
                  </a:lnTo>
                  <a:lnTo>
                    <a:pt x="283969" y="892765"/>
                  </a:lnTo>
                  <a:lnTo>
                    <a:pt x="283969" y="898474"/>
                  </a:lnTo>
                  <a:lnTo>
                    <a:pt x="282447" y="897332"/>
                  </a:lnTo>
                  <a:lnTo>
                    <a:pt x="287776" y="897332"/>
                  </a:lnTo>
                  <a:lnTo>
                    <a:pt x="287776" y="912305"/>
                  </a:lnTo>
                  <a:lnTo>
                    <a:pt x="286253" y="911163"/>
                  </a:lnTo>
                  <a:lnTo>
                    <a:pt x="289679" y="911163"/>
                  </a:lnTo>
                  <a:lnTo>
                    <a:pt x="289679" y="921568"/>
                  </a:lnTo>
                  <a:lnTo>
                    <a:pt x="288156" y="920426"/>
                  </a:lnTo>
                  <a:lnTo>
                    <a:pt x="291582" y="920426"/>
                  </a:lnTo>
                  <a:lnTo>
                    <a:pt x="291582" y="930703"/>
                  </a:lnTo>
                  <a:lnTo>
                    <a:pt x="290060" y="929561"/>
                  </a:lnTo>
                  <a:lnTo>
                    <a:pt x="293612" y="929561"/>
                  </a:lnTo>
                  <a:lnTo>
                    <a:pt x="293612" y="935271"/>
                  </a:lnTo>
                  <a:lnTo>
                    <a:pt x="292090" y="934129"/>
                  </a:lnTo>
                  <a:lnTo>
                    <a:pt x="297419" y="934129"/>
                  </a:lnTo>
                  <a:lnTo>
                    <a:pt x="297419" y="939966"/>
                  </a:lnTo>
                  <a:lnTo>
                    <a:pt x="295896" y="938824"/>
                  </a:lnTo>
                  <a:lnTo>
                    <a:pt x="299322" y="938824"/>
                  </a:lnTo>
                  <a:lnTo>
                    <a:pt x="299322" y="949102"/>
                  </a:lnTo>
                  <a:lnTo>
                    <a:pt x="297800" y="947960"/>
                  </a:lnTo>
                  <a:lnTo>
                    <a:pt x="303256" y="947960"/>
                  </a:lnTo>
                  <a:lnTo>
                    <a:pt x="303256" y="958364"/>
                  </a:lnTo>
                  <a:lnTo>
                    <a:pt x="301733" y="957222"/>
                  </a:lnTo>
                  <a:lnTo>
                    <a:pt x="305159" y="957222"/>
                  </a:lnTo>
                  <a:lnTo>
                    <a:pt x="305159" y="962932"/>
                  </a:lnTo>
                  <a:lnTo>
                    <a:pt x="303636" y="961790"/>
                  </a:lnTo>
                  <a:lnTo>
                    <a:pt x="307062" y="961790"/>
                  </a:lnTo>
                  <a:lnTo>
                    <a:pt x="307062" y="972195"/>
                  </a:lnTo>
                  <a:lnTo>
                    <a:pt x="305540" y="971053"/>
                  </a:lnTo>
                  <a:lnTo>
                    <a:pt x="308966" y="971053"/>
                  </a:lnTo>
                  <a:lnTo>
                    <a:pt x="308966" y="976763"/>
                  </a:lnTo>
                  <a:lnTo>
                    <a:pt x="307443" y="975621"/>
                  </a:lnTo>
                  <a:lnTo>
                    <a:pt x="310869" y="975621"/>
                  </a:lnTo>
                  <a:lnTo>
                    <a:pt x="310869" y="986025"/>
                  </a:lnTo>
                  <a:lnTo>
                    <a:pt x="309346" y="984883"/>
                  </a:lnTo>
                  <a:lnTo>
                    <a:pt x="312899" y="984883"/>
                  </a:lnTo>
                  <a:lnTo>
                    <a:pt x="312899" y="990593"/>
                  </a:lnTo>
                  <a:lnTo>
                    <a:pt x="311376" y="989451"/>
                  </a:lnTo>
                  <a:lnTo>
                    <a:pt x="314802" y="989451"/>
                  </a:lnTo>
                  <a:lnTo>
                    <a:pt x="314802" y="1004550"/>
                  </a:lnTo>
                  <a:lnTo>
                    <a:pt x="313280" y="1003409"/>
                  </a:lnTo>
                  <a:lnTo>
                    <a:pt x="316706" y="1003409"/>
                  </a:lnTo>
                  <a:lnTo>
                    <a:pt x="316706" y="1013686"/>
                  </a:lnTo>
                  <a:lnTo>
                    <a:pt x="315183" y="1012544"/>
                  </a:lnTo>
                  <a:lnTo>
                    <a:pt x="322542" y="1012544"/>
                  </a:lnTo>
                  <a:lnTo>
                    <a:pt x="322542" y="1022949"/>
                  </a:lnTo>
                  <a:lnTo>
                    <a:pt x="321020" y="1021807"/>
                  </a:lnTo>
                  <a:lnTo>
                    <a:pt x="324446" y="1021807"/>
                  </a:lnTo>
                  <a:lnTo>
                    <a:pt x="324446" y="1032085"/>
                  </a:lnTo>
                  <a:lnTo>
                    <a:pt x="322923" y="1031070"/>
                  </a:lnTo>
                  <a:lnTo>
                    <a:pt x="326349" y="1031070"/>
                  </a:lnTo>
                  <a:lnTo>
                    <a:pt x="326349" y="1041347"/>
                  </a:lnTo>
                  <a:lnTo>
                    <a:pt x="324826" y="1040205"/>
                  </a:lnTo>
                  <a:lnTo>
                    <a:pt x="328252" y="1040205"/>
                  </a:lnTo>
                  <a:lnTo>
                    <a:pt x="328252" y="1059746"/>
                  </a:lnTo>
                  <a:lnTo>
                    <a:pt x="326730" y="1058604"/>
                  </a:lnTo>
                  <a:lnTo>
                    <a:pt x="330409" y="1058604"/>
                  </a:lnTo>
                  <a:lnTo>
                    <a:pt x="330409" y="1082839"/>
                  </a:lnTo>
                  <a:lnTo>
                    <a:pt x="328760" y="1081697"/>
                  </a:lnTo>
                  <a:lnTo>
                    <a:pt x="332312" y="1081697"/>
                  </a:lnTo>
                  <a:lnTo>
                    <a:pt x="332312" y="1087533"/>
                  </a:lnTo>
                  <a:lnTo>
                    <a:pt x="330790" y="1086392"/>
                  </a:lnTo>
                  <a:lnTo>
                    <a:pt x="334216" y="1086392"/>
                  </a:lnTo>
                  <a:lnTo>
                    <a:pt x="334216" y="1092101"/>
                  </a:lnTo>
                  <a:lnTo>
                    <a:pt x="332693" y="1090959"/>
                  </a:lnTo>
                  <a:lnTo>
                    <a:pt x="336119" y="1090959"/>
                  </a:lnTo>
                  <a:lnTo>
                    <a:pt x="336119" y="1101364"/>
                  </a:lnTo>
                  <a:lnTo>
                    <a:pt x="334596" y="1100222"/>
                  </a:lnTo>
                  <a:lnTo>
                    <a:pt x="340052" y="1100222"/>
                  </a:lnTo>
                  <a:lnTo>
                    <a:pt x="340052" y="1105932"/>
                  </a:lnTo>
                  <a:lnTo>
                    <a:pt x="338530" y="1104790"/>
                  </a:lnTo>
                  <a:lnTo>
                    <a:pt x="341956" y="1104790"/>
                  </a:lnTo>
                  <a:lnTo>
                    <a:pt x="341956" y="1110627"/>
                  </a:lnTo>
                  <a:lnTo>
                    <a:pt x="340433" y="1109485"/>
                  </a:lnTo>
                  <a:lnTo>
                    <a:pt x="343859" y="1109485"/>
                  </a:lnTo>
                  <a:lnTo>
                    <a:pt x="343859" y="1119762"/>
                  </a:lnTo>
                  <a:lnTo>
                    <a:pt x="342336" y="1118620"/>
                  </a:lnTo>
                  <a:lnTo>
                    <a:pt x="345762" y="1118620"/>
                  </a:lnTo>
                  <a:lnTo>
                    <a:pt x="345762" y="1129025"/>
                  </a:lnTo>
                  <a:lnTo>
                    <a:pt x="344240" y="1127883"/>
                  </a:lnTo>
                  <a:lnTo>
                    <a:pt x="355406" y="1127883"/>
                  </a:lnTo>
                  <a:lnTo>
                    <a:pt x="355406" y="1138161"/>
                  </a:lnTo>
                  <a:lnTo>
                    <a:pt x="353883" y="1137146"/>
                  </a:lnTo>
                  <a:lnTo>
                    <a:pt x="359339" y="1137146"/>
                  </a:lnTo>
                  <a:lnTo>
                    <a:pt x="359339" y="1147423"/>
                  </a:lnTo>
                  <a:lnTo>
                    <a:pt x="357816" y="1146281"/>
                  </a:lnTo>
                  <a:lnTo>
                    <a:pt x="366952" y="1146281"/>
                  </a:lnTo>
                  <a:lnTo>
                    <a:pt x="366952" y="1156686"/>
                  </a:lnTo>
                  <a:lnTo>
                    <a:pt x="365430" y="1155544"/>
                  </a:lnTo>
                  <a:lnTo>
                    <a:pt x="368982" y="1155544"/>
                  </a:lnTo>
                  <a:lnTo>
                    <a:pt x="368982" y="1161254"/>
                  </a:lnTo>
                  <a:lnTo>
                    <a:pt x="367460" y="1160112"/>
                  </a:lnTo>
                  <a:lnTo>
                    <a:pt x="370886" y="1160112"/>
                  </a:lnTo>
                  <a:lnTo>
                    <a:pt x="370886" y="1170516"/>
                  </a:lnTo>
                  <a:lnTo>
                    <a:pt x="369363" y="1169375"/>
                  </a:lnTo>
                  <a:lnTo>
                    <a:pt x="378752" y="1169375"/>
                  </a:lnTo>
                  <a:lnTo>
                    <a:pt x="378752" y="1179779"/>
                  </a:lnTo>
                  <a:lnTo>
                    <a:pt x="377103" y="1178637"/>
                  </a:lnTo>
                  <a:lnTo>
                    <a:pt x="382559" y="1178637"/>
                  </a:lnTo>
                  <a:lnTo>
                    <a:pt x="382559" y="1184347"/>
                  </a:lnTo>
                  <a:lnTo>
                    <a:pt x="381036" y="1183205"/>
                  </a:lnTo>
                  <a:lnTo>
                    <a:pt x="386366" y="1183205"/>
                  </a:lnTo>
                  <a:lnTo>
                    <a:pt x="386366" y="1188915"/>
                  </a:lnTo>
                  <a:lnTo>
                    <a:pt x="384843" y="1187773"/>
                  </a:lnTo>
                  <a:lnTo>
                    <a:pt x="388396" y="1187773"/>
                  </a:lnTo>
                  <a:lnTo>
                    <a:pt x="388396" y="1193610"/>
                  </a:lnTo>
                  <a:lnTo>
                    <a:pt x="386873" y="1192468"/>
                  </a:lnTo>
                  <a:lnTo>
                    <a:pt x="392202" y="1192468"/>
                  </a:lnTo>
                  <a:lnTo>
                    <a:pt x="392202" y="1198304"/>
                  </a:lnTo>
                  <a:lnTo>
                    <a:pt x="390680" y="1197162"/>
                  </a:lnTo>
                  <a:lnTo>
                    <a:pt x="394106" y="1197162"/>
                  </a:lnTo>
                  <a:lnTo>
                    <a:pt x="394106" y="1202872"/>
                  </a:lnTo>
                  <a:lnTo>
                    <a:pt x="392583" y="1201730"/>
                  </a:lnTo>
                  <a:lnTo>
                    <a:pt x="396136" y="1201730"/>
                  </a:lnTo>
                  <a:lnTo>
                    <a:pt x="396136" y="1207440"/>
                  </a:lnTo>
                  <a:lnTo>
                    <a:pt x="394613" y="1206425"/>
                  </a:lnTo>
                  <a:lnTo>
                    <a:pt x="401846" y="1206425"/>
                  </a:lnTo>
                  <a:lnTo>
                    <a:pt x="401846" y="1216703"/>
                  </a:lnTo>
                  <a:lnTo>
                    <a:pt x="400323" y="1215688"/>
                  </a:lnTo>
                  <a:lnTo>
                    <a:pt x="405779" y="1215688"/>
                  </a:lnTo>
                  <a:lnTo>
                    <a:pt x="405779" y="1221397"/>
                  </a:lnTo>
                  <a:lnTo>
                    <a:pt x="404256" y="1220255"/>
                  </a:lnTo>
                  <a:lnTo>
                    <a:pt x="409586" y="1220255"/>
                  </a:lnTo>
                  <a:lnTo>
                    <a:pt x="409586" y="1230660"/>
                  </a:lnTo>
                  <a:lnTo>
                    <a:pt x="408063" y="1229518"/>
                  </a:lnTo>
                  <a:lnTo>
                    <a:pt x="411489" y="1229518"/>
                  </a:lnTo>
                  <a:lnTo>
                    <a:pt x="411489" y="1244617"/>
                  </a:lnTo>
                  <a:lnTo>
                    <a:pt x="409966" y="1243475"/>
                  </a:lnTo>
                  <a:lnTo>
                    <a:pt x="411870" y="1243475"/>
                  </a:lnTo>
                  <a:lnTo>
                    <a:pt x="415422" y="1243475"/>
                  </a:lnTo>
                  <a:lnTo>
                    <a:pt x="415422" y="1253880"/>
                  </a:lnTo>
                  <a:lnTo>
                    <a:pt x="413900" y="1252738"/>
                  </a:lnTo>
                  <a:lnTo>
                    <a:pt x="419229" y="1252738"/>
                  </a:lnTo>
                  <a:lnTo>
                    <a:pt x="419229" y="1258448"/>
                  </a:lnTo>
                  <a:lnTo>
                    <a:pt x="417706" y="1257306"/>
                  </a:lnTo>
                  <a:lnTo>
                    <a:pt x="421132" y="1257306"/>
                  </a:lnTo>
                  <a:lnTo>
                    <a:pt x="421132" y="1267837"/>
                  </a:lnTo>
                  <a:lnTo>
                    <a:pt x="419610" y="1266695"/>
                  </a:lnTo>
                  <a:lnTo>
                    <a:pt x="423035" y="1266695"/>
                  </a:lnTo>
                  <a:lnTo>
                    <a:pt x="423035" y="1272532"/>
                  </a:lnTo>
                  <a:lnTo>
                    <a:pt x="421513" y="1271390"/>
                  </a:lnTo>
                  <a:lnTo>
                    <a:pt x="427096" y="1271390"/>
                  </a:lnTo>
                  <a:lnTo>
                    <a:pt x="427096" y="1277227"/>
                  </a:lnTo>
                  <a:lnTo>
                    <a:pt x="425573" y="1276085"/>
                  </a:lnTo>
                  <a:lnTo>
                    <a:pt x="428999" y="1276085"/>
                  </a:lnTo>
                  <a:lnTo>
                    <a:pt x="428999" y="1286490"/>
                  </a:lnTo>
                  <a:lnTo>
                    <a:pt x="427476" y="1285348"/>
                  </a:lnTo>
                  <a:lnTo>
                    <a:pt x="432806" y="1285348"/>
                  </a:lnTo>
                  <a:lnTo>
                    <a:pt x="432806" y="1291184"/>
                  </a:lnTo>
                  <a:lnTo>
                    <a:pt x="431283" y="1290042"/>
                  </a:lnTo>
                  <a:lnTo>
                    <a:pt x="436739" y="1290042"/>
                  </a:lnTo>
                  <a:lnTo>
                    <a:pt x="436739" y="1295879"/>
                  </a:lnTo>
                  <a:lnTo>
                    <a:pt x="435216" y="1294864"/>
                  </a:lnTo>
                  <a:lnTo>
                    <a:pt x="438642" y="1294864"/>
                  </a:lnTo>
                  <a:lnTo>
                    <a:pt x="438642" y="1300574"/>
                  </a:lnTo>
                  <a:lnTo>
                    <a:pt x="437120" y="1299432"/>
                  </a:lnTo>
                  <a:lnTo>
                    <a:pt x="442449" y="1299432"/>
                  </a:lnTo>
                  <a:lnTo>
                    <a:pt x="442449" y="1319226"/>
                  </a:lnTo>
                  <a:lnTo>
                    <a:pt x="440926" y="1318211"/>
                  </a:lnTo>
                  <a:lnTo>
                    <a:pt x="444479" y="1318211"/>
                  </a:lnTo>
                  <a:lnTo>
                    <a:pt x="444479" y="1323921"/>
                  </a:lnTo>
                  <a:lnTo>
                    <a:pt x="442956" y="1322779"/>
                  </a:lnTo>
                  <a:lnTo>
                    <a:pt x="446382" y="1322779"/>
                  </a:lnTo>
                  <a:lnTo>
                    <a:pt x="446382" y="1328615"/>
                  </a:lnTo>
                  <a:lnTo>
                    <a:pt x="444860" y="1327474"/>
                  </a:lnTo>
                  <a:lnTo>
                    <a:pt x="448286" y="1327474"/>
                  </a:lnTo>
                  <a:lnTo>
                    <a:pt x="448286" y="1342573"/>
                  </a:lnTo>
                  <a:lnTo>
                    <a:pt x="446763" y="1341558"/>
                  </a:lnTo>
                  <a:lnTo>
                    <a:pt x="450570" y="1341558"/>
                  </a:lnTo>
                  <a:lnTo>
                    <a:pt x="456026" y="1341558"/>
                  </a:lnTo>
                  <a:lnTo>
                    <a:pt x="456026" y="1347268"/>
                  </a:lnTo>
                  <a:lnTo>
                    <a:pt x="454503" y="1346126"/>
                  </a:lnTo>
                  <a:lnTo>
                    <a:pt x="457929" y="1346126"/>
                  </a:lnTo>
                  <a:lnTo>
                    <a:pt x="457929" y="1356784"/>
                  </a:lnTo>
                  <a:lnTo>
                    <a:pt x="456406" y="1355642"/>
                  </a:lnTo>
                  <a:lnTo>
                    <a:pt x="459832" y="1355642"/>
                  </a:lnTo>
                  <a:lnTo>
                    <a:pt x="459832" y="1366047"/>
                  </a:lnTo>
                  <a:lnTo>
                    <a:pt x="458310" y="1364905"/>
                  </a:lnTo>
                  <a:lnTo>
                    <a:pt x="463766" y="1364905"/>
                  </a:lnTo>
                  <a:lnTo>
                    <a:pt x="463766" y="1380131"/>
                  </a:lnTo>
                  <a:lnTo>
                    <a:pt x="462243" y="1378989"/>
                  </a:lnTo>
                  <a:lnTo>
                    <a:pt x="465669" y="1378989"/>
                  </a:lnTo>
                  <a:lnTo>
                    <a:pt x="465669" y="1384826"/>
                  </a:lnTo>
                  <a:lnTo>
                    <a:pt x="464146" y="1383684"/>
                  </a:lnTo>
                  <a:lnTo>
                    <a:pt x="469475" y="1383684"/>
                  </a:lnTo>
                  <a:lnTo>
                    <a:pt x="469475" y="1389520"/>
                  </a:lnTo>
                  <a:lnTo>
                    <a:pt x="467953" y="1388378"/>
                  </a:lnTo>
                  <a:lnTo>
                    <a:pt x="471506" y="1388378"/>
                  </a:lnTo>
                  <a:lnTo>
                    <a:pt x="471506" y="1394215"/>
                  </a:lnTo>
                  <a:lnTo>
                    <a:pt x="469983" y="1393073"/>
                  </a:lnTo>
                  <a:lnTo>
                    <a:pt x="473409" y="1393073"/>
                  </a:lnTo>
                  <a:lnTo>
                    <a:pt x="473409" y="1403605"/>
                  </a:lnTo>
                  <a:lnTo>
                    <a:pt x="471886" y="1402463"/>
                  </a:lnTo>
                  <a:lnTo>
                    <a:pt x="475439" y="1402463"/>
                  </a:lnTo>
                  <a:lnTo>
                    <a:pt x="475439" y="1427078"/>
                  </a:lnTo>
                  <a:lnTo>
                    <a:pt x="473916" y="1425936"/>
                  </a:lnTo>
                  <a:lnTo>
                    <a:pt x="477342" y="1425936"/>
                  </a:lnTo>
                  <a:lnTo>
                    <a:pt x="477342" y="1431646"/>
                  </a:lnTo>
                  <a:lnTo>
                    <a:pt x="475820" y="1430631"/>
                  </a:lnTo>
                  <a:lnTo>
                    <a:pt x="479246" y="1430631"/>
                  </a:lnTo>
                  <a:lnTo>
                    <a:pt x="479246" y="1441163"/>
                  </a:lnTo>
                  <a:lnTo>
                    <a:pt x="477723" y="1440021"/>
                  </a:lnTo>
                  <a:lnTo>
                    <a:pt x="483179" y="1440021"/>
                  </a:lnTo>
                  <a:lnTo>
                    <a:pt x="483179" y="1450425"/>
                  </a:lnTo>
                  <a:lnTo>
                    <a:pt x="481656" y="1449410"/>
                  </a:lnTo>
                  <a:lnTo>
                    <a:pt x="485082" y="1449410"/>
                  </a:lnTo>
                  <a:lnTo>
                    <a:pt x="485082" y="1455120"/>
                  </a:lnTo>
                  <a:lnTo>
                    <a:pt x="483560" y="1453978"/>
                  </a:lnTo>
                  <a:lnTo>
                    <a:pt x="486986" y="1453978"/>
                  </a:lnTo>
                  <a:lnTo>
                    <a:pt x="486986" y="1459815"/>
                  </a:lnTo>
                  <a:lnTo>
                    <a:pt x="485463" y="1458673"/>
                  </a:lnTo>
                  <a:lnTo>
                    <a:pt x="488889" y="1458673"/>
                  </a:lnTo>
                  <a:lnTo>
                    <a:pt x="488889" y="1469204"/>
                  </a:lnTo>
                  <a:lnTo>
                    <a:pt x="487366" y="1468189"/>
                  </a:lnTo>
                  <a:lnTo>
                    <a:pt x="490919" y="1468189"/>
                  </a:lnTo>
                  <a:lnTo>
                    <a:pt x="490919" y="1473899"/>
                  </a:lnTo>
                  <a:lnTo>
                    <a:pt x="489396" y="1472757"/>
                  </a:lnTo>
                  <a:lnTo>
                    <a:pt x="492822" y="1472757"/>
                  </a:lnTo>
                  <a:lnTo>
                    <a:pt x="492822" y="1478594"/>
                  </a:lnTo>
                  <a:lnTo>
                    <a:pt x="491300" y="1477452"/>
                  </a:lnTo>
                  <a:lnTo>
                    <a:pt x="494726" y="1477452"/>
                  </a:lnTo>
                  <a:lnTo>
                    <a:pt x="494726" y="1487983"/>
                  </a:lnTo>
                  <a:lnTo>
                    <a:pt x="493203" y="1486841"/>
                  </a:lnTo>
                  <a:lnTo>
                    <a:pt x="499040" y="1486841"/>
                  </a:lnTo>
                  <a:lnTo>
                    <a:pt x="504369" y="1486841"/>
                  </a:lnTo>
                  <a:lnTo>
                    <a:pt x="504369" y="1492678"/>
                  </a:lnTo>
                  <a:lnTo>
                    <a:pt x="502846" y="1491536"/>
                  </a:lnTo>
                  <a:lnTo>
                    <a:pt x="506272" y="1491536"/>
                  </a:lnTo>
                  <a:lnTo>
                    <a:pt x="506272" y="1497500"/>
                  </a:lnTo>
                  <a:lnTo>
                    <a:pt x="504750" y="1496358"/>
                  </a:lnTo>
                  <a:lnTo>
                    <a:pt x="514012" y="1496358"/>
                  </a:lnTo>
                  <a:lnTo>
                    <a:pt x="514012" y="1502068"/>
                  </a:lnTo>
                  <a:lnTo>
                    <a:pt x="512490" y="1501053"/>
                  </a:lnTo>
                  <a:lnTo>
                    <a:pt x="517819" y="1501053"/>
                  </a:lnTo>
                  <a:lnTo>
                    <a:pt x="517819" y="1506889"/>
                  </a:lnTo>
                  <a:lnTo>
                    <a:pt x="516296" y="1505747"/>
                  </a:lnTo>
                  <a:lnTo>
                    <a:pt x="525686" y="1505747"/>
                  </a:lnTo>
                  <a:lnTo>
                    <a:pt x="525686" y="1520974"/>
                  </a:lnTo>
                  <a:lnTo>
                    <a:pt x="524163" y="1519832"/>
                  </a:lnTo>
                  <a:lnTo>
                    <a:pt x="527716" y="1519832"/>
                  </a:lnTo>
                  <a:lnTo>
                    <a:pt x="527716" y="1525795"/>
                  </a:lnTo>
                  <a:lnTo>
                    <a:pt x="526193" y="1524653"/>
                  </a:lnTo>
                  <a:lnTo>
                    <a:pt x="530000" y="1524653"/>
                  </a:lnTo>
                  <a:lnTo>
                    <a:pt x="535329" y="1524653"/>
                  </a:lnTo>
                  <a:lnTo>
                    <a:pt x="535329" y="1530490"/>
                  </a:lnTo>
                  <a:lnTo>
                    <a:pt x="533806" y="1529348"/>
                  </a:lnTo>
                  <a:lnTo>
                    <a:pt x="541166" y="1529348"/>
                  </a:lnTo>
                  <a:lnTo>
                    <a:pt x="541166" y="1535185"/>
                  </a:lnTo>
                  <a:lnTo>
                    <a:pt x="539643" y="1534043"/>
                  </a:lnTo>
                  <a:lnTo>
                    <a:pt x="543069" y="1534043"/>
                  </a:lnTo>
                  <a:lnTo>
                    <a:pt x="543069" y="1539879"/>
                  </a:lnTo>
                  <a:lnTo>
                    <a:pt x="541546" y="1538864"/>
                  </a:lnTo>
                  <a:lnTo>
                    <a:pt x="544972" y="1538864"/>
                  </a:lnTo>
                  <a:lnTo>
                    <a:pt x="544972" y="1544701"/>
                  </a:lnTo>
                  <a:lnTo>
                    <a:pt x="543450" y="1543559"/>
                  </a:lnTo>
                  <a:lnTo>
                    <a:pt x="556646" y="1543559"/>
                  </a:lnTo>
                  <a:lnTo>
                    <a:pt x="556646" y="1549396"/>
                  </a:lnTo>
                  <a:lnTo>
                    <a:pt x="555123" y="1548254"/>
                  </a:lnTo>
                  <a:lnTo>
                    <a:pt x="558549" y="1548254"/>
                  </a:lnTo>
                  <a:lnTo>
                    <a:pt x="558549" y="1554091"/>
                  </a:lnTo>
                  <a:lnTo>
                    <a:pt x="557026" y="1552949"/>
                  </a:lnTo>
                  <a:lnTo>
                    <a:pt x="560452" y="1552949"/>
                  </a:lnTo>
                  <a:lnTo>
                    <a:pt x="560452" y="1558912"/>
                  </a:lnTo>
                  <a:lnTo>
                    <a:pt x="558930" y="1557770"/>
                  </a:lnTo>
                  <a:lnTo>
                    <a:pt x="566289" y="1557770"/>
                  </a:lnTo>
                  <a:lnTo>
                    <a:pt x="566289" y="1563607"/>
                  </a:lnTo>
                  <a:lnTo>
                    <a:pt x="564766" y="1562592"/>
                  </a:lnTo>
                  <a:lnTo>
                    <a:pt x="570222" y="1562592"/>
                  </a:lnTo>
                  <a:lnTo>
                    <a:pt x="570222" y="1568302"/>
                  </a:lnTo>
                  <a:lnTo>
                    <a:pt x="568573" y="1567160"/>
                  </a:lnTo>
                  <a:lnTo>
                    <a:pt x="572126" y="1567160"/>
                  </a:lnTo>
                  <a:lnTo>
                    <a:pt x="572126" y="1573123"/>
                  </a:lnTo>
                  <a:lnTo>
                    <a:pt x="570603" y="1571981"/>
                  </a:lnTo>
                  <a:lnTo>
                    <a:pt x="574029" y="1571981"/>
                  </a:lnTo>
                  <a:lnTo>
                    <a:pt x="574029" y="1582513"/>
                  </a:lnTo>
                  <a:lnTo>
                    <a:pt x="572506" y="1581371"/>
                  </a:lnTo>
                  <a:lnTo>
                    <a:pt x="576059" y="1581371"/>
                  </a:lnTo>
                  <a:lnTo>
                    <a:pt x="576059" y="1592029"/>
                  </a:lnTo>
                  <a:lnTo>
                    <a:pt x="574536" y="1590887"/>
                  </a:lnTo>
                  <a:lnTo>
                    <a:pt x="579866" y="1590887"/>
                  </a:lnTo>
                  <a:lnTo>
                    <a:pt x="579866" y="1596724"/>
                  </a:lnTo>
                  <a:lnTo>
                    <a:pt x="578343" y="1595582"/>
                  </a:lnTo>
                  <a:lnTo>
                    <a:pt x="585702" y="1595582"/>
                  </a:lnTo>
                  <a:lnTo>
                    <a:pt x="585702" y="1601419"/>
                  </a:lnTo>
                  <a:lnTo>
                    <a:pt x="584180" y="1600404"/>
                  </a:lnTo>
                  <a:lnTo>
                    <a:pt x="587606" y="1600404"/>
                  </a:lnTo>
                  <a:lnTo>
                    <a:pt x="587606" y="1606240"/>
                  </a:lnTo>
                  <a:lnTo>
                    <a:pt x="586083" y="1605099"/>
                  </a:lnTo>
                  <a:lnTo>
                    <a:pt x="589509" y="1605099"/>
                  </a:lnTo>
                  <a:lnTo>
                    <a:pt x="589509" y="1611062"/>
                  </a:lnTo>
                  <a:lnTo>
                    <a:pt x="587986" y="1609920"/>
                  </a:lnTo>
                  <a:lnTo>
                    <a:pt x="591412" y="1609920"/>
                  </a:lnTo>
                  <a:lnTo>
                    <a:pt x="591412" y="1615630"/>
                  </a:lnTo>
                  <a:lnTo>
                    <a:pt x="589890" y="1614488"/>
                  </a:lnTo>
                  <a:lnTo>
                    <a:pt x="595346" y="1614488"/>
                  </a:lnTo>
                  <a:lnTo>
                    <a:pt x="595346" y="1620452"/>
                  </a:lnTo>
                  <a:lnTo>
                    <a:pt x="593823" y="1619310"/>
                  </a:lnTo>
                  <a:lnTo>
                    <a:pt x="597249" y="1619310"/>
                  </a:lnTo>
                  <a:lnTo>
                    <a:pt x="597249" y="1629841"/>
                  </a:lnTo>
                  <a:lnTo>
                    <a:pt x="595726" y="1628699"/>
                  </a:lnTo>
                  <a:lnTo>
                    <a:pt x="599152" y="1628699"/>
                  </a:lnTo>
                  <a:lnTo>
                    <a:pt x="599152" y="1634663"/>
                  </a:lnTo>
                  <a:lnTo>
                    <a:pt x="597629" y="1633521"/>
                  </a:lnTo>
                  <a:lnTo>
                    <a:pt x="601055" y="1633521"/>
                  </a:lnTo>
                  <a:lnTo>
                    <a:pt x="601055" y="1639357"/>
                  </a:lnTo>
                  <a:lnTo>
                    <a:pt x="599533" y="1638215"/>
                  </a:lnTo>
                  <a:lnTo>
                    <a:pt x="603086" y="1638215"/>
                  </a:lnTo>
                  <a:lnTo>
                    <a:pt x="603086" y="1648874"/>
                  </a:lnTo>
                  <a:lnTo>
                    <a:pt x="601563" y="1647732"/>
                  </a:lnTo>
                  <a:lnTo>
                    <a:pt x="608795" y="1647732"/>
                  </a:lnTo>
                  <a:lnTo>
                    <a:pt x="608795" y="1653569"/>
                  </a:lnTo>
                  <a:lnTo>
                    <a:pt x="607273" y="1652427"/>
                  </a:lnTo>
                  <a:lnTo>
                    <a:pt x="612729" y="1652427"/>
                  </a:lnTo>
                  <a:lnTo>
                    <a:pt x="612729" y="1662958"/>
                  </a:lnTo>
                  <a:lnTo>
                    <a:pt x="611206" y="1661943"/>
                  </a:lnTo>
                  <a:lnTo>
                    <a:pt x="614632" y="1661943"/>
                  </a:lnTo>
                  <a:lnTo>
                    <a:pt x="614632" y="1667780"/>
                  </a:lnTo>
                  <a:lnTo>
                    <a:pt x="613109" y="1666638"/>
                  </a:lnTo>
                  <a:lnTo>
                    <a:pt x="624402" y="1666638"/>
                  </a:lnTo>
                  <a:lnTo>
                    <a:pt x="624402" y="1677169"/>
                  </a:lnTo>
                  <a:lnTo>
                    <a:pt x="622880" y="1676027"/>
                  </a:lnTo>
                  <a:lnTo>
                    <a:pt x="634046" y="1676027"/>
                  </a:lnTo>
                  <a:lnTo>
                    <a:pt x="634046" y="1686686"/>
                  </a:lnTo>
                  <a:lnTo>
                    <a:pt x="632523" y="1685671"/>
                  </a:lnTo>
                  <a:lnTo>
                    <a:pt x="637852" y="1685671"/>
                  </a:lnTo>
                  <a:lnTo>
                    <a:pt x="637852" y="1691507"/>
                  </a:lnTo>
                  <a:lnTo>
                    <a:pt x="636330" y="1690365"/>
                  </a:lnTo>
                  <a:lnTo>
                    <a:pt x="647495" y="1690365"/>
                  </a:lnTo>
                  <a:lnTo>
                    <a:pt x="647495" y="1696202"/>
                  </a:lnTo>
                  <a:lnTo>
                    <a:pt x="645973" y="1695187"/>
                  </a:lnTo>
                  <a:lnTo>
                    <a:pt x="649526" y="1695187"/>
                  </a:lnTo>
                  <a:lnTo>
                    <a:pt x="649526" y="1700897"/>
                  </a:lnTo>
                  <a:lnTo>
                    <a:pt x="648003" y="1699755"/>
                  </a:lnTo>
                  <a:lnTo>
                    <a:pt x="653332" y="1699755"/>
                  </a:lnTo>
                  <a:lnTo>
                    <a:pt x="653332" y="1715235"/>
                  </a:lnTo>
                  <a:lnTo>
                    <a:pt x="651810" y="1714093"/>
                  </a:lnTo>
                  <a:lnTo>
                    <a:pt x="655235" y="1714093"/>
                  </a:lnTo>
                  <a:lnTo>
                    <a:pt x="655235" y="1719930"/>
                  </a:lnTo>
                  <a:lnTo>
                    <a:pt x="653713" y="1718914"/>
                  </a:lnTo>
                  <a:lnTo>
                    <a:pt x="661072" y="1718914"/>
                  </a:lnTo>
                  <a:lnTo>
                    <a:pt x="661072" y="1724751"/>
                  </a:lnTo>
                  <a:lnTo>
                    <a:pt x="659550" y="1723609"/>
                  </a:lnTo>
                  <a:lnTo>
                    <a:pt x="665259" y="1723609"/>
                  </a:lnTo>
                  <a:lnTo>
                    <a:pt x="668939" y="1723609"/>
                  </a:lnTo>
                  <a:lnTo>
                    <a:pt x="668939" y="1729573"/>
                  </a:lnTo>
                  <a:lnTo>
                    <a:pt x="667416" y="1728431"/>
                  </a:lnTo>
                  <a:lnTo>
                    <a:pt x="670842" y="1728431"/>
                  </a:lnTo>
                  <a:lnTo>
                    <a:pt x="670842" y="1743911"/>
                  </a:lnTo>
                  <a:lnTo>
                    <a:pt x="669320" y="1742769"/>
                  </a:lnTo>
                  <a:lnTo>
                    <a:pt x="672746" y="1742769"/>
                  </a:lnTo>
                  <a:lnTo>
                    <a:pt x="672746" y="1753554"/>
                  </a:lnTo>
                  <a:lnTo>
                    <a:pt x="671223" y="1752412"/>
                  </a:lnTo>
                  <a:lnTo>
                    <a:pt x="676552" y="1752412"/>
                  </a:lnTo>
                  <a:lnTo>
                    <a:pt x="676552" y="1758249"/>
                  </a:lnTo>
                  <a:lnTo>
                    <a:pt x="675030" y="1757107"/>
                  </a:lnTo>
                  <a:lnTo>
                    <a:pt x="678582" y="1757107"/>
                  </a:lnTo>
                  <a:lnTo>
                    <a:pt x="678582" y="1763071"/>
                  </a:lnTo>
                  <a:lnTo>
                    <a:pt x="677060" y="1762056"/>
                  </a:lnTo>
                  <a:lnTo>
                    <a:pt x="688226" y="1762056"/>
                  </a:lnTo>
                  <a:lnTo>
                    <a:pt x="688226" y="1767892"/>
                  </a:lnTo>
                  <a:lnTo>
                    <a:pt x="686703" y="1766750"/>
                  </a:lnTo>
                  <a:lnTo>
                    <a:pt x="697869" y="1766750"/>
                  </a:lnTo>
                  <a:lnTo>
                    <a:pt x="697869" y="1772587"/>
                  </a:lnTo>
                  <a:lnTo>
                    <a:pt x="696346" y="1771572"/>
                  </a:lnTo>
                  <a:lnTo>
                    <a:pt x="707512" y="1771572"/>
                  </a:lnTo>
                  <a:lnTo>
                    <a:pt x="707512" y="1777409"/>
                  </a:lnTo>
                  <a:lnTo>
                    <a:pt x="705989" y="1776267"/>
                  </a:lnTo>
                  <a:lnTo>
                    <a:pt x="709415" y="1776267"/>
                  </a:lnTo>
                  <a:lnTo>
                    <a:pt x="709415" y="1787052"/>
                  </a:lnTo>
                  <a:lnTo>
                    <a:pt x="707893" y="1785910"/>
                  </a:lnTo>
                  <a:lnTo>
                    <a:pt x="715379" y="1785910"/>
                  </a:lnTo>
                  <a:lnTo>
                    <a:pt x="715379" y="1791873"/>
                  </a:lnTo>
                  <a:lnTo>
                    <a:pt x="713729" y="1790731"/>
                  </a:lnTo>
                  <a:lnTo>
                    <a:pt x="725022" y="1790731"/>
                  </a:lnTo>
                  <a:lnTo>
                    <a:pt x="725022" y="1796695"/>
                  </a:lnTo>
                  <a:lnTo>
                    <a:pt x="723500" y="1795553"/>
                  </a:lnTo>
                  <a:lnTo>
                    <a:pt x="728829" y="1795553"/>
                  </a:lnTo>
                  <a:lnTo>
                    <a:pt x="728829" y="1801644"/>
                  </a:lnTo>
                  <a:lnTo>
                    <a:pt x="727306" y="1800502"/>
                  </a:lnTo>
                  <a:lnTo>
                    <a:pt x="730732" y="1800502"/>
                  </a:lnTo>
                  <a:lnTo>
                    <a:pt x="730732" y="1806465"/>
                  </a:lnTo>
                  <a:lnTo>
                    <a:pt x="729210" y="1805323"/>
                  </a:lnTo>
                  <a:lnTo>
                    <a:pt x="732635" y="1805323"/>
                  </a:lnTo>
                  <a:lnTo>
                    <a:pt x="732635" y="1811287"/>
                  </a:lnTo>
                  <a:lnTo>
                    <a:pt x="731113" y="1810145"/>
                  </a:lnTo>
                  <a:lnTo>
                    <a:pt x="740756" y="1810145"/>
                  </a:lnTo>
                  <a:lnTo>
                    <a:pt x="748115" y="1810145"/>
                  </a:lnTo>
                  <a:lnTo>
                    <a:pt x="748115" y="1816109"/>
                  </a:lnTo>
                  <a:lnTo>
                    <a:pt x="746593" y="1815093"/>
                  </a:lnTo>
                  <a:lnTo>
                    <a:pt x="750019" y="1815093"/>
                  </a:lnTo>
                  <a:lnTo>
                    <a:pt x="750019" y="1821057"/>
                  </a:lnTo>
                  <a:lnTo>
                    <a:pt x="748496" y="1819915"/>
                  </a:lnTo>
                  <a:lnTo>
                    <a:pt x="755855" y="1819915"/>
                  </a:lnTo>
                  <a:lnTo>
                    <a:pt x="755855" y="1825879"/>
                  </a:lnTo>
                  <a:lnTo>
                    <a:pt x="754333" y="1824737"/>
                  </a:lnTo>
                  <a:lnTo>
                    <a:pt x="759662" y="1824737"/>
                  </a:lnTo>
                  <a:lnTo>
                    <a:pt x="759662" y="1830700"/>
                  </a:lnTo>
                  <a:lnTo>
                    <a:pt x="758139" y="1829558"/>
                  </a:lnTo>
                  <a:lnTo>
                    <a:pt x="761565" y="1829558"/>
                  </a:lnTo>
                  <a:lnTo>
                    <a:pt x="761565" y="1835649"/>
                  </a:lnTo>
                  <a:lnTo>
                    <a:pt x="760043" y="1834507"/>
                  </a:lnTo>
                  <a:lnTo>
                    <a:pt x="764103" y="1834507"/>
                  </a:lnTo>
                  <a:lnTo>
                    <a:pt x="773746" y="1834507"/>
                  </a:lnTo>
                  <a:lnTo>
                    <a:pt x="781106" y="1834507"/>
                  </a:lnTo>
                  <a:lnTo>
                    <a:pt x="781106" y="1840597"/>
                  </a:lnTo>
                  <a:lnTo>
                    <a:pt x="779583" y="1839455"/>
                  </a:lnTo>
                  <a:lnTo>
                    <a:pt x="783390" y="1839455"/>
                  </a:lnTo>
                  <a:lnTo>
                    <a:pt x="786815" y="1839455"/>
                  </a:lnTo>
                  <a:lnTo>
                    <a:pt x="786815" y="1845546"/>
                  </a:lnTo>
                  <a:lnTo>
                    <a:pt x="785293" y="1844404"/>
                  </a:lnTo>
                  <a:lnTo>
                    <a:pt x="790749" y="1844404"/>
                  </a:lnTo>
                  <a:lnTo>
                    <a:pt x="790749" y="1850495"/>
                  </a:lnTo>
                  <a:lnTo>
                    <a:pt x="789226" y="1849353"/>
                  </a:lnTo>
                  <a:lnTo>
                    <a:pt x="793033" y="1849353"/>
                  </a:lnTo>
                  <a:lnTo>
                    <a:pt x="794936" y="1849353"/>
                  </a:lnTo>
                  <a:lnTo>
                    <a:pt x="800392" y="1849353"/>
                  </a:lnTo>
                  <a:lnTo>
                    <a:pt x="800392" y="1855570"/>
                  </a:lnTo>
                  <a:lnTo>
                    <a:pt x="798869" y="1854428"/>
                  </a:lnTo>
                  <a:lnTo>
                    <a:pt x="802295" y="1854428"/>
                  </a:lnTo>
                  <a:lnTo>
                    <a:pt x="802295" y="1865594"/>
                  </a:lnTo>
                  <a:lnTo>
                    <a:pt x="800773" y="1864579"/>
                  </a:lnTo>
                  <a:lnTo>
                    <a:pt x="808513" y="1864579"/>
                  </a:lnTo>
                  <a:lnTo>
                    <a:pt x="815872" y="1864579"/>
                  </a:lnTo>
                  <a:lnTo>
                    <a:pt x="815872" y="1870796"/>
                  </a:lnTo>
                  <a:lnTo>
                    <a:pt x="814349" y="1869654"/>
                  </a:lnTo>
                  <a:lnTo>
                    <a:pt x="827419" y="1869654"/>
                  </a:lnTo>
                  <a:lnTo>
                    <a:pt x="827419" y="1886149"/>
                  </a:lnTo>
                  <a:lnTo>
                    <a:pt x="825896" y="1885007"/>
                  </a:lnTo>
                  <a:lnTo>
                    <a:pt x="829449" y="1885007"/>
                  </a:lnTo>
                  <a:lnTo>
                    <a:pt x="829449" y="1891225"/>
                  </a:lnTo>
                  <a:lnTo>
                    <a:pt x="827926" y="1890083"/>
                  </a:lnTo>
                  <a:lnTo>
                    <a:pt x="840995" y="1890083"/>
                  </a:lnTo>
                  <a:lnTo>
                    <a:pt x="840995" y="1901502"/>
                  </a:lnTo>
                  <a:lnTo>
                    <a:pt x="839473" y="1900360"/>
                  </a:lnTo>
                  <a:lnTo>
                    <a:pt x="848735" y="1900360"/>
                  </a:lnTo>
                  <a:lnTo>
                    <a:pt x="848735" y="1906705"/>
                  </a:lnTo>
                  <a:lnTo>
                    <a:pt x="847213" y="1905563"/>
                  </a:lnTo>
                  <a:lnTo>
                    <a:pt x="850639" y="1905563"/>
                  </a:lnTo>
                  <a:lnTo>
                    <a:pt x="850639" y="1911653"/>
                  </a:lnTo>
                  <a:lnTo>
                    <a:pt x="849116" y="1910511"/>
                  </a:lnTo>
                  <a:lnTo>
                    <a:pt x="852542" y="1910511"/>
                  </a:lnTo>
                  <a:lnTo>
                    <a:pt x="852542" y="1921931"/>
                  </a:lnTo>
                  <a:lnTo>
                    <a:pt x="851019" y="1920789"/>
                  </a:lnTo>
                  <a:lnTo>
                    <a:pt x="854953" y="1920789"/>
                  </a:lnTo>
                  <a:lnTo>
                    <a:pt x="864215" y="1920789"/>
                  </a:lnTo>
                  <a:lnTo>
                    <a:pt x="864215" y="1927133"/>
                  </a:lnTo>
                  <a:lnTo>
                    <a:pt x="862693" y="1925991"/>
                  </a:lnTo>
                  <a:lnTo>
                    <a:pt x="870052" y="1925991"/>
                  </a:lnTo>
                  <a:lnTo>
                    <a:pt x="870052" y="1932209"/>
                  </a:lnTo>
                  <a:lnTo>
                    <a:pt x="868530" y="1931067"/>
                  </a:lnTo>
                  <a:lnTo>
                    <a:pt x="871955" y="1931067"/>
                  </a:lnTo>
                  <a:lnTo>
                    <a:pt x="871955" y="1937411"/>
                  </a:lnTo>
                  <a:lnTo>
                    <a:pt x="870433" y="1936269"/>
                  </a:lnTo>
                  <a:lnTo>
                    <a:pt x="880076" y="1936269"/>
                  </a:lnTo>
                  <a:lnTo>
                    <a:pt x="885532" y="1936269"/>
                  </a:lnTo>
                  <a:lnTo>
                    <a:pt x="885532" y="1947815"/>
                  </a:lnTo>
                  <a:lnTo>
                    <a:pt x="884010" y="1946674"/>
                  </a:lnTo>
                  <a:lnTo>
                    <a:pt x="887816" y="1946674"/>
                  </a:lnTo>
                  <a:lnTo>
                    <a:pt x="897079" y="1946674"/>
                  </a:lnTo>
                  <a:lnTo>
                    <a:pt x="897079" y="1953018"/>
                  </a:lnTo>
                  <a:lnTo>
                    <a:pt x="895556" y="1951876"/>
                  </a:lnTo>
                  <a:lnTo>
                    <a:pt x="901266" y="1951876"/>
                  </a:lnTo>
                  <a:lnTo>
                    <a:pt x="904819" y="1951876"/>
                  </a:lnTo>
                  <a:lnTo>
                    <a:pt x="904819" y="1958220"/>
                  </a:lnTo>
                  <a:lnTo>
                    <a:pt x="903296" y="1957205"/>
                  </a:lnTo>
                  <a:lnTo>
                    <a:pt x="905199" y="1957205"/>
                  </a:lnTo>
                  <a:lnTo>
                    <a:pt x="908752" y="1957205"/>
                  </a:lnTo>
                  <a:lnTo>
                    <a:pt x="908752" y="1963549"/>
                  </a:lnTo>
                  <a:lnTo>
                    <a:pt x="907229" y="1962407"/>
                  </a:lnTo>
                  <a:lnTo>
                    <a:pt x="912686" y="1962407"/>
                  </a:lnTo>
                  <a:lnTo>
                    <a:pt x="912686" y="1968878"/>
                  </a:lnTo>
                  <a:lnTo>
                    <a:pt x="911163" y="1967736"/>
                  </a:lnTo>
                  <a:lnTo>
                    <a:pt x="918776" y="1967736"/>
                  </a:lnTo>
                  <a:lnTo>
                    <a:pt x="926516" y="1967736"/>
                  </a:lnTo>
                  <a:lnTo>
                    <a:pt x="935779" y="1967736"/>
                  </a:lnTo>
                  <a:lnTo>
                    <a:pt x="935779" y="1974208"/>
                  </a:lnTo>
                  <a:lnTo>
                    <a:pt x="934256" y="1973066"/>
                  </a:lnTo>
                  <a:lnTo>
                    <a:pt x="939585" y="1973066"/>
                  </a:lnTo>
                  <a:lnTo>
                    <a:pt x="939585" y="1984866"/>
                  </a:lnTo>
                  <a:lnTo>
                    <a:pt x="938063" y="1983724"/>
                  </a:lnTo>
                  <a:lnTo>
                    <a:pt x="949229" y="1983724"/>
                  </a:lnTo>
                  <a:lnTo>
                    <a:pt x="949229" y="1990322"/>
                  </a:lnTo>
                  <a:lnTo>
                    <a:pt x="947706" y="1989180"/>
                  </a:lnTo>
                  <a:lnTo>
                    <a:pt x="970672" y="1989180"/>
                  </a:lnTo>
                  <a:lnTo>
                    <a:pt x="970672" y="1995778"/>
                  </a:lnTo>
                  <a:lnTo>
                    <a:pt x="969150" y="1994636"/>
                  </a:lnTo>
                  <a:lnTo>
                    <a:pt x="974479" y="1994636"/>
                  </a:lnTo>
                  <a:lnTo>
                    <a:pt x="974479" y="2001107"/>
                  </a:lnTo>
                  <a:lnTo>
                    <a:pt x="972956" y="1999965"/>
                  </a:lnTo>
                  <a:lnTo>
                    <a:pt x="974859" y="1999965"/>
                  </a:lnTo>
                  <a:lnTo>
                    <a:pt x="980315" y="1999965"/>
                  </a:lnTo>
                  <a:lnTo>
                    <a:pt x="980315" y="2006563"/>
                  </a:lnTo>
                  <a:lnTo>
                    <a:pt x="978793" y="2005421"/>
                  </a:lnTo>
                  <a:lnTo>
                    <a:pt x="988055" y="2005421"/>
                  </a:lnTo>
                  <a:lnTo>
                    <a:pt x="988055" y="2012019"/>
                  </a:lnTo>
                  <a:lnTo>
                    <a:pt x="986533" y="2010877"/>
                  </a:lnTo>
                  <a:lnTo>
                    <a:pt x="993765" y="2010877"/>
                  </a:lnTo>
                  <a:lnTo>
                    <a:pt x="993765" y="2017349"/>
                  </a:lnTo>
                  <a:lnTo>
                    <a:pt x="992243" y="2016333"/>
                  </a:lnTo>
                  <a:lnTo>
                    <a:pt x="994146" y="2016333"/>
                  </a:lnTo>
                  <a:lnTo>
                    <a:pt x="996176" y="2016333"/>
                  </a:lnTo>
                  <a:lnTo>
                    <a:pt x="998079" y="2016333"/>
                  </a:lnTo>
                  <a:lnTo>
                    <a:pt x="1011275" y="2016333"/>
                  </a:lnTo>
                  <a:lnTo>
                    <a:pt x="1011275" y="2022932"/>
                  </a:lnTo>
                  <a:lnTo>
                    <a:pt x="1009753" y="2021790"/>
                  </a:lnTo>
                  <a:lnTo>
                    <a:pt x="1015589" y="2021790"/>
                  </a:lnTo>
                  <a:lnTo>
                    <a:pt x="1026755" y="2021790"/>
                  </a:lnTo>
                  <a:lnTo>
                    <a:pt x="1026755" y="2028515"/>
                  </a:lnTo>
                  <a:lnTo>
                    <a:pt x="1025233" y="2027373"/>
                  </a:lnTo>
                  <a:lnTo>
                    <a:pt x="1032465" y="2027373"/>
                  </a:lnTo>
                  <a:lnTo>
                    <a:pt x="1032465" y="2033970"/>
                  </a:lnTo>
                  <a:lnTo>
                    <a:pt x="1030943" y="2032955"/>
                  </a:lnTo>
                  <a:lnTo>
                    <a:pt x="1036399" y="2032955"/>
                  </a:lnTo>
                  <a:lnTo>
                    <a:pt x="1036399" y="2045136"/>
                  </a:lnTo>
                  <a:lnTo>
                    <a:pt x="1034876" y="2043995"/>
                  </a:lnTo>
                  <a:lnTo>
                    <a:pt x="1036779" y="2043995"/>
                  </a:lnTo>
                  <a:lnTo>
                    <a:pt x="1050229" y="2043995"/>
                  </a:lnTo>
                  <a:lnTo>
                    <a:pt x="1057715" y="2043995"/>
                  </a:lnTo>
                  <a:lnTo>
                    <a:pt x="1057715" y="2050719"/>
                  </a:lnTo>
                  <a:lnTo>
                    <a:pt x="1056193" y="2049578"/>
                  </a:lnTo>
                  <a:lnTo>
                    <a:pt x="1058096" y="2049578"/>
                  </a:lnTo>
                  <a:lnTo>
                    <a:pt x="1063552" y="2049578"/>
                  </a:lnTo>
                  <a:lnTo>
                    <a:pt x="1063552" y="2056429"/>
                  </a:lnTo>
                  <a:lnTo>
                    <a:pt x="1062030" y="2055287"/>
                  </a:lnTo>
                  <a:lnTo>
                    <a:pt x="1065455" y="2055287"/>
                  </a:lnTo>
                  <a:lnTo>
                    <a:pt x="1065455" y="2062139"/>
                  </a:lnTo>
                  <a:lnTo>
                    <a:pt x="1063933" y="2060997"/>
                  </a:lnTo>
                  <a:lnTo>
                    <a:pt x="1094385" y="2060997"/>
                  </a:lnTo>
                  <a:lnTo>
                    <a:pt x="1094385" y="2067722"/>
                  </a:lnTo>
                  <a:lnTo>
                    <a:pt x="1092863" y="2066580"/>
                  </a:lnTo>
                  <a:lnTo>
                    <a:pt x="1096289" y="2066580"/>
                  </a:lnTo>
                  <a:lnTo>
                    <a:pt x="1096289" y="2073432"/>
                  </a:lnTo>
                  <a:lnTo>
                    <a:pt x="1094766" y="2072290"/>
                  </a:lnTo>
                  <a:lnTo>
                    <a:pt x="1096669" y="2072290"/>
                  </a:lnTo>
                  <a:lnTo>
                    <a:pt x="1098572" y="2072290"/>
                  </a:lnTo>
                  <a:lnTo>
                    <a:pt x="1106059" y="2072290"/>
                  </a:lnTo>
                  <a:lnTo>
                    <a:pt x="1106059" y="2079142"/>
                  </a:lnTo>
                  <a:lnTo>
                    <a:pt x="1104536" y="2078000"/>
                  </a:lnTo>
                  <a:lnTo>
                    <a:pt x="1133085" y="2078000"/>
                  </a:lnTo>
                  <a:lnTo>
                    <a:pt x="1133085" y="2084852"/>
                  </a:lnTo>
                  <a:lnTo>
                    <a:pt x="1131563" y="2083836"/>
                  </a:lnTo>
                  <a:lnTo>
                    <a:pt x="1140825" y="2083836"/>
                  </a:lnTo>
                  <a:lnTo>
                    <a:pt x="1140825" y="2096398"/>
                  </a:lnTo>
                  <a:lnTo>
                    <a:pt x="1139303" y="2095256"/>
                  </a:lnTo>
                  <a:lnTo>
                    <a:pt x="1141206" y="2095256"/>
                  </a:lnTo>
                  <a:lnTo>
                    <a:pt x="1152879" y="2095256"/>
                  </a:lnTo>
                  <a:lnTo>
                    <a:pt x="1165949" y="2095256"/>
                  </a:lnTo>
                  <a:lnTo>
                    <a:pt x="1165949" y="2102235"/>
                  </a:lnTo>
                  <a:lnTo>
                    <a:pt x="1164426" y="2101093"/>
                  </a:lnTo>
                  <a:lnTo>
                    <a:pt x="1181429" y="2101093"/>
                  </a:lnTo>
                  <a:lnTo>
                    <a:pt x="1181429" y="2107945"/>
                  </a:lnTo>
                  <a:lnTo>
                    <a:pt x="1179906" y="2106803"/>
                  </a:lnTo>
                  <a:lnTo>
                    <a:pt x="1183332" y="2106803"/>
                  </a:lnTo>
                  <a:lnTo>
                    <a:pt x="1183332" y="2113781"/>
                  </a:lnTo>
                  <a:lnTo>
                    <a:pt x="1181809" y="2112640"/>
                  </a:lnTo>
                  <a:lnTo>
                    <a:pt x="1195005" y="2112640"/>
                  </a:lnTo>
                  <a:lnTo>
                    <a:pt x="1195005" y="2119618"/>
                  </a:lnTo>
                  <a:lnTo>
                    <a:pt x="1193483" y="2118476"/>
                  </a:lnTo>
                  <a:lnTo>
                    <a:pt x="1198939" y="2118476"/>
                  </a:lnTo>
                  <a:lnTo>
                    <a:pt x="1198939" y="2125582"/>
                  </a:lnTo>
                  <a:lnTo>
                    <a:pt x="1197416" y="2124440"/>
                  </a:lnTo>
                  <a:lnTo>
                    <a:pt x="1212389" y="2124440"/>
                  </a:lnTo>
                  <a:lnTo>
                    <a:pt x="1212389" y="2131292"/>
                  </a:lnTo>
                  <a:lnTo>
                    <a:pt x="1210866" y="2130150"/>
                  </a:lnTo>
                  <a:lnTo>
                    <a:pt x="1220129" y="2130150"/>
                  </a:lnTo>
                  <a:lnTo>
                    <a:pt x="1220129" y="2137255"/>
                  </a:lnTo>
                  <a:lnTo>
                    <a:pt x="1218606" y="2136113"/>
                  </a:lnTo>
                  <a:lnTo>
                    <a:pt x="1230153" y="2136113"/>
                  </a:lnTo>
                  <a:lnTo>
                    <a:pt x="1233705" y="2136113"/>
                  </a:lnTo>
                  <a:lnTo>
                    <a:pt x="1233705" y="2143219"/>
                  </a:lnTo>
                  <a:lnTo>
                    <a:pt x="1232183" y="2142077"/>
                  </a:lnTo>
                  <a:lnTo>
                    <a:pt x="1245379" y="2142077"/>
                  </a:lnTo>
                  <a:lnTo>
                    <a:pt x="1245379" y="2149056"/>
                  </a:lnTo>
                  <a:lnTo>
                    <a:pt x="1243729" y="2147914"/>
                  </a:lnTo>
                  <a:lnTo>
                    <a:pt x="1249185" y="2147914"/>
                  </a:lnTo>
                  <a:lnTo>
                    <a:pt x="1249185" y="2155019"/>
                  </a:lnTo>
                  <a:lnTo>
                    <a:pt x="1247663" y="2153877"/>
                  </a:lnTo>
                  <a:lnTo>
                    <a:pt x="1257306" y="2153877"/>
                  </a:lnTo>
                  <a:lnTo>
                    <a:pt x="1272786" y="2153877"/>
                  </a:lnTo>
                  <a:lnTo>
                    <a:pt x="1303365" y="2153877"/>
                  </a:lnTo>
                  <a:lnTo>
                    <a:pt x="1303365" y="2161110"/>
                  </a:lnTo>
                  <a:lnTo>
                    <a:pt x="1301843" y="2159968"/>
                  </a:lnTo>
                  <a:lnTo>
                    <a:pt x="1317323" y="2159968"/>
                  </a:lnTo>
                  <a:lnTo>
                    <a:pt x="1330392" y="2159968"/>
                  </a:lnTo>
                  <a:lnTo>
                    <a:pt x="1330392" y="2167327"/>
                  </a:lnTo>
                  <a:lnTo>
                    <a:pt x="1328869" y="2166185"/>
                  </a:lnTo>
                  <a:lnTo>
                    <a:pt x="1336229" y="2166185"/>
                  </a:lnTo>
                  <a:lnTo>
                    <a:pt x="1336229" y="2173418"/>
                  </a:lnTo>
                  <a:lnTo>
                    <a:pt x="1334706" y="2172276"/>
                  </a:lnTo>
                  <a:lnTo>
                    <a:pt x="1350186" y="2172276"/>
                  </a:lnTo>
                  <a:lnTo>
                    <a:pt x="1361352" y="2172276"/>
                  </a:lnTo>
                  <a:lnTo>
                    <a:pt x="1361352" y="2179635"/>
                  </a:lnTo>
                  <a:lnTo>
                    <a:pt x="1359829" y="2178620"/>
                  </a:lnTo>
                  <a:lnTo>
                    <a:pt x="1411725" y="2178620"/>
                  </a:lnTo>
                  <a:lnTo>
                    <a:pt x="1411725" y="2185852"/>
                  </a:lnTo>
                  <a:lnTo>
                    <a:pt x="1410203" y="2184710"/>
                  </a:lnTo>
                  <a:lnTo>
                    <a:pt x="1421749" y="2184710"/>
                  </a:lnTo>
                  <a:lnTo>
                    <a:pt x="1423653" y="2184710"/>
                  </a:lnTo>
                  <a:lnTo>
                    <a:pt x="1431393" y="2184710"/>
                  </a:lnTo>
                  <a:lnTo>
                    <a:pt x="1439259" y="2184710"/>
                  </a:lnTo>
                  <a:lnTo>
                    <a:pt x="1444969" y="2184710"/>
                  </a:lnTo>
                  <a:lnTo>
                    <a:pt x="1448522" y="2184710"/>
                  </a:lnTo>
                  <a:lnTo>
                    <a:pt x="1448522" y="2192450"/>
                  </a:lnTo>
                  <a:lnTo>
                    <a:pt x="1446999" y="2191308"/>
                  </a:lnTo>
                  <a:lnTo>
                    <a:pt x="1452328" y="2191308"/>
                  </a:lnTo>
                  <a:lnTo>
                    <a:pt x="1452328" y="2199048"/>
                  </a:lnTo>
                  <a:lnTo>
                    <a:pt x="1450806" y="2197906"/>
                  </a:lnTo>
                  <a:lnTo>
                    <a:pt x="1461972" y="2197906"/>
                  </a:lnTo>
                  <a:lnTo>
                    <a:pt x="1461972" y="2205646"/>
                  </a:lnTo>
                  <a:lnTo>
                    <a:pt x="1460449" y="2204504"/>
                  </a:lnTo>
                  <a:lnTo>
                    <a:pt x="1467809" y="2204504"/>
                  </a:lnTo>
                  <a:lnTo>
                    <a:pt x="1467809" y="2212244"/>
                  </a:lnTo>
                  <a:lnTo>
                    <a:pt x="1466286" y="2211102"/>
                  </a:lnTo>
                  <a:lnTo>
                    <a:pt x="1475422" y="2211102"/>
                  </a:lnTo>
                  <a:lnTo>
                    <a:pt x="1475422" y="2218842"/>
                  </a:lnTo>
                  <a:lnTo>
                    <a:pt x="1473899" y="2217701"/>
                  </a:lnTo>
                  <a:lnTo>
                    <a:pt x="1502575" y="2217701"/>
                  </a:lnTo>
                  <a:lnTo>
                    <a:pt x="1502575" y="2225441"/>
                  </a:lnTo>
                  <a:lnTo>
                    <a:pt x="1501052" y="2224298"/>
                  </a:lnTo>
                  <a:lnTo>
                    <a:pt x="1514629" y="2224298"/>
                  </a:lnTo>
                  <a:lnTo>
                    <a:pt x="1518055" y="2224298"/>
                  </a:lnTo>
                  <a:lnTo>
                    <a:pt x="1518055" y="2232038"/>
                  </a:lnTo>
                  <a:lnTo>
                    <a:pt x="1516532" y="2230897"/>
                  </a:lnTo>
                  <a:lnTo>
                    <a:pt x="1525795" y="2230897"/>
                  </a:lnTo>
                  <a:lnTo>
                    <a:pt x="1525795" y="2238763"/>
                  </a:lnTo>
                  <a:lnTo>
                    <a:pt x="1524272" y="2237621"/>
                  </a:lnTo>
                  <a:lnTo>
                    <a:pt x="1541783" y="2237621"/>
                  </a:lnTo>
                  <a:lnTo>
                    <a:pt x="1547112" y="2237621"/>
                  </a:lnTo>
                  <a:lnTo>
                    <a:pt x="1547112" y="2245488"/>
                  </a:lnTo>
                  <a:lnTo>
                    <a:pt x="1545589" y="2244346"/>
                  </a:lnTo>
                  <a:lnTo>
                    <a:pt x="1556755" y="2244346"/>
                  </a:lnTo>
                  <a:lnTo>
                    <a:pt x="1556755" y="2252213"/>
                  </a:lnTo>
                  <a:lnTo>
                    <a:pt x="1555232" y="2251071"/>
                  </a:lnTo>
                  <a:lnTo>
                    <a:pt x="1564876" y="2251071"/>
                  </a:lnTo>
                  <a:lnTo>
                    <a:pt x="1591648" y="2251071"/>
                  </a:lnTo>
                  <a:lnTo>
                    <a:pt x="1591648" y="2258938"/>
                  </a:lnTo>
                  <a:lnTo>
                    <a:pt x="1590126" y="2257796"/>
                  </a:lnTo>
                  <a:lnTo>
                    <a:pt x="1593932" y="2257796"/>
                  </a:lnTo>
                  <a:lnTo>
                    <a:pt x="1628318" y="2257796"/>
                  </a:lnTo>
                  <a:lnTo>
                    <a:pt x="1628318" y="2265790"/>
                  </a:lnTo>
                  <a:lnTo>
                    <a:pt x="1626796" y="2264648"/>
                  </a:lnTo>
                  <a:lnTo>
                    <a:pt x="1630348" y="2264648"/>
                  </a:lnTo>
                  <a:lnTo>
                    <a:pt x="1630348" y="2272642"/>
                  </a:lnTo>
                  <a:lnTo>
                    <a:pt x="1628699" y="2271627"/>
                  </a:lnTo>
                  <a:lnTo>
                    <a:pt x="1630729" y="2271627"/>
                  </a:lnTo>
                  <a:lnTo>
                    <a:pt x="1636185" y="2271627"/>
                  </a:lnTo>
                  <a:lnTo>
                    <a:pt x="1636185" y="2279620"/>
                  </a:lnTo>
                  <a:lnTo>
                    <a:pt x="1634663" y="2278478"/>
                  </a:lnTo>
                  <a:lnTo>
                    <a:pt x="1646209" y="2278478"/>
                  </a:lnTo>
                  <a:lnTo>
                    <a:pt x="1650016" y="2278478"/>
                  </a:lnTo>
                  <a:lnTo>
                    <a:pt x="1653442" y="2278478"/>
                  </a:lnTo>
                  <a:lnTo>
                    <a:pt x="1653442" y="2286599"/>
                  </a:lnTo>
                  <a:lnTo>
                    <a:pt x="1651919" y="2285457"/>
                  </a:lnTo>
                  <a:lnTo>
                    <a:pt x="1663593" y="2285457"/>
                  </a:lnTo>
                  <a:lnTo>
                    <a:pt x="1679073" y="2285457"/>
                  </a:lnTo>
                  <a:lnTo>
                    <a:pt x="1686812" y="2285457"/>
                  </a:lnTo>
                  <a:lnTo>
                    <a:pt x="1713458" y="2285457"/>
                  </a:lnTo>
                  <a:lnTo>
                    <a:pt x="1713458" y="2293958"/>
                  </a:lnTo>
                  <a:lnTo>
                    <a:pt x="1711936" y="2292817"/>
                  </a:lnTo>
                  <a:lnTo>
                    <a:pt x="1744799" y="2292817"/>
                  </a:lnTo>
                  <a:lnTo>
                    <a:pt x="1765608" y="2292817"/>
                  </a:lnTo>
                  <a:lnTo>
                    <a:pt x="1765608" y="2301318"/>
                  </a:lnTo>
                  <a:lnTo>
                    <a:pt x="1764086" y="2300303"/>
                  </a:lnTo>
                  <a:lnTo>
                    <a:pt x="1783118" y="2300303"/>
                  </a:lnTo>
                  <a:lnTo>
                    <a:pt x="1783118" y="2316163"/>
                  </a:lnTo>
                  <a:lnTo>
                    <a:pt x="1781596" y="2315021"/>
                  </a:lnTo>
                  <a:lnTo>
                    <a:pt x="1812429" y="2315021"/>
                  </a:lnTo>
                  <a:lnTo>
                    <a:pt x="1814459" y="2315021"/>
                  </a:lnTo>
                  <a:lnTo>
                    <a:pt x="1826133" y="2315021"/>
                  </a:lnTo>
                  <a:lnTo>
                    <a:pt x="1845038" y="2315021"/>
                  </a:lnTo>
                  <a:lnTo>
                    <a:pt x="1845038" y="2323777"/>
                  </a:lnTo>
                  <a:lnTo>
                    <a:pt x="1843516" y="2322634"/>
                  </a:lnTo>
                  <a:lnTo>
                    <a:pt x="1854682" y="2322634"/>
                  </a:lnTo>
                  <a:lnTo>
                    <a:pt x="1854682" y="2331390"/>
                  </a:lnTo>
                  <a:lnTo>
                    <a:pt x="1853159" y="2330248"/>
                  </a:lnTo>
                  <a:lnTo>
                    <a:pt x="1855062" y="2330248"/>
                  </a:lnTo>
                  <a:lnTo>
                    <a:pt x="1856966" y="2330248"/>
                  </a:lnTo>
                  <a:lnTo>
                    <a:pt x="1858869" y="2330248"/>
                  </a:lnTo>
                  <a:lnTo>
                    <a:pt x="1864325" y="2330248"/>
                  </a:lnTo>
                  <a:lnTo>
                    <a:pt x="1864325" y="2339510"/>
                  </a:lnTo>
                  <a:lnTo>
                    <a:pt x="1862802" y="2338495"/>
                  </a:lnTo>
                  <a:lnTo>
                    <a:pt x="1872573" y="2338495"/>
                  </a:lnTo>
                  <a:lnTo>
                    <a:pt x="1928656" y="2338495"/>
                  </a:lnTo>
                  <a:lnTo>
                    <a:pt x="1939822" y="2338495"/>
                  </a:lnTo>
                  <a:lnTo>
                    <a:pt x="1939822" y="2347885"/>
                  </a:lnTo>
                  <a:lnTo>
                    <a:pt x="1938299" y="2346743"/>
                  </a:lnTo>
                  <a:lnTo>
                    <a:pt x="1957205" y="2346743"/>
                  </a:lnTo>
                  <a:lnTo>
                    <a:pt x="1957205" y="2356259"/>
                  </a:lnTo>
                  <a:lnTo>
                    <a:pt x="1955682" y="2355117"/>
                  </a:lnTo>
                  <a:lnTo>
                    <a:pt x="1970782" y="2355117"/>
                  </a:lnTo>
                  <a:lnTo>
                    <a:pt x="1970782" y="2364633"/>
                  </a:lnTo>
                  <a:lnTo>
                    <a:pt x="1969259" y="2363492"/>
                  </a:lnTo>
                  <a:lnTo>
                    <a:pt x="2055795" y="2363492"/>
                  </a:lnTo>
                  <a:lnTo>
                    <a:pt x="2055795" y="2373008"/>
                  </a:lnTo>
                  <a:lnTo>
                    <a:pt x="2054272" y="2371866"/>
                  </a:lnTo>
                  <a:lnTo>
                    <a:pt x="2069498" y="2371866"/>
                  </a:lnTo>
                  <a:lnTo>
                    <a:pt x="2069498" y="2381382"/>
                  </a:lnTo>
                  <a:lnTo>
                    <a:pt x="2067976" y="2380240"/>
                  </a:lnTo>
                  <a:lnTo>
                    <a:pt x="2081045" y="2380240"/>
                  </a:lnTo>
                  <a:lnTo>
                    <a:pt x="2081045" y="2389757"/>
                  </a:lnTo>
                  <a:lnTo>
                    <a:pt x="2079522" y="2388615"/>
                  </a:lnTo>
                  <a:lnTo>
                    <a:pt x="2091069" y="2388615"/>
                  </a:lnTo>
                  <a:lnTo>
                    <a:pt x="2117842" y="2388615"/>
                  </a:lnTo>
                  <a:lnTo>
                    <a:pt x="2117842" y="2398258"/>
                  </a:lnTo>
                  <a:lnTo>
                    <a:pt x="2116319" y="2397116"/>
                  </a:lnTo>
                  <a:lnTo>
                    <a:pt x="2195115" y="2397116"/>
                  </a:lnTo>
                  <a:lnTo>
                    <a:pt x="2195115" y="2406759"/>
                  </a:lnTo>
                  <a:lnTo>
                    <a:pt x="2193592" y="2405618"/>
                  </a:lnTo>
                  <a:lnTo>
                    <a:pt x="2198921" y="2405618"/>
                  </a:lnTo>
                  <a:lnTo>
                    <a:pt x="2198921" y="2415261"/>
                  </a:lnTo>
                  <a:lnTo>
                    <a:pt x="2197399" y="2414119"/>
                  </a:lnTo>
                  <a:lnTo>
                    <a:pt x="2208691" y="2414119"/>
                  </a:lnTo>
                  <a:lnTo>
                    <a:pt x="2208691" y="2423762"/>
                  </a:lnTo>
                  <a:lnTo>
                    <a:pt x="2207042" y="2422620"/>
                  </a:lnTo>
                  <a:lnTo>
                    <a:pt x="2216431" y="2422620"/>
                  </a:lnTo>
                  <a:lnTo>
                    <a:pt x="2216431" y="2432263"/>
                  </a:lnTo>
                  <a:lnTo>
                    <a:pt x="2214909" y="2431121"/>
                  </a:lnTo>
                  <a:lnTo>
                    <a:pt x="2226582" y="2431121"/>
                  </a:lnTo>
                  <a:lnTo>
                    <a:pt x="2249675" y="2431121"/>
                  </a:lnTo>
                  <a:lnTo>
                    <a:pt x="2267186" y="2431121"/>
                  </a:lnTo>
                  <a:lnTo>
                    <a:pt x="2270992" y="2431121"/>
                  </a:lnTo>
                  <a:lnTo>
                    <a:pt x="2282666" y="2431121"/>
                  </a:lnTo>
                  <a:lnTo>
                    <a:pt x="2289898" y="2431121"/>
                  </a:lnTo>
                  <a:lnTo>
                    <a:pt x="2289898" y="2441526"/>
                  </a:lnTo>
                  <a:lnTo>
                    <a:pt x="2288375" y="2440384"/>
                  </a:lnTo>
                  <a:lnTo>
                    <a:pt x="2295735" y="2440384"/>
                  </a:lnTo>
                  <a:lnTo>
                    <a:pt x="2295735" y="2450789"/>
                  </a:lnTo>
                  <a:lnTo>
                    <a:pt x="2294212" y="2449647"/>
                  </a:lnTo>
                  <a:lnTo>
                    <a:pt x="2307789" y="2449647"/>
                  </a:lnTo>
                  <a:lnTo>
                    <a:pt x="2313626" y="2449647"/>
                  </a:lnTo>
                  <a:lnTo>
                    <a:pt x="2328979" y="2449647"/>
                  </a:lnTo>
                  <a:lnTo>
                    <a:pt x="2344459" y="2449647"/>
                  </a:lnTo>
                  <a:lnTo>
                    <a:pt x="2355751" y="2449647"/>
                  </a:lnTo>
                  <a:lnTo>
                    <a:pt x="2355751" y="2460813"/>
                  </a:lnTo>
                  <a:lnTo>
                    <a:pt x="2354229" y="2459671"/>
                  </a:lnTo>
                  <a:lnTo>
                    <a:pt x="2361588" y="2459671"/>
                  </a:lnTo>
                  <a:lnTo>
                    <a:pt x="2361588" y="2470710"/>
                  </a:lnTo>
                  <a:lnTo>
                    <a:pt x="2360066" y="2469695"/>
                  </a:lnTo>
                  <a:lnTo>
                    <a:pt x="2390899" y="2469695"/>
                  </a:lnTo>
                  <a:lnTo>
                    <a:pt x="2412216" y="2469695"/>
                  </a:lnTo>
                  <a:lnTo>
                    <a:pt x="2423889" y="2469695"/>
                  </a:lnTo>
                  <a:lnTo>
                    <a:pt x="2433025" y="2469695"/>
                  </a:lnTo>
                  <a:lnTo>
                    <a:pt x="2433025" y="2481495"/>
                  </a:lnTo>
                  <a:lnTo>
                    <a:pt x="2431502" y="2480353"/>
                  </a:lnTo>
                  <a:lnTo>
                    <a:pt x="2494945" y="2480353"/>
                  </a:lnTo>
                  <a:lnTo>
                    <a:pt x="2494945" y="2492153"/>
                  </a:lnTo>
                  <a:lnTo>
                    <a:pt x="2493422" y="2491011"/>
                  </a:lnTo>
                  <a:lnTo>
                    <a:pt x="2553439" y="2491011"/>
                  </a:lnTo>
                  <a:lnTo>
                    <a:pt x="2590108" y="2491011"/>
                  </a:lnTo>
                  <a:lnTo>
                    <a:pt x="2597976" y="2491011"/>
                  </a:lnTo>
                  <a:lnTo>
                    <a:pt x="2617262" y="2491011"/>
                  </a:lnTo>
                  <a:lnTo>
                    <a:pt x="2648222" y="2491011"/>
                  </a:lnTo>
                  <a:lnTo>
                    <a:pt x="2654059" y="2491011"/>
                  </a:lnTo>
                  <a:lnTo>
                    <a:pt x="2806829" y="2491011"/>
                  </a:lnTo>
                  <a:lnTo>
                    <a:pt x="2812285" y="2491011"/>
                  </a:lnTo>
                  <a:lnTo>
                    <a:pt x="2812285" y="2505222"/>
                  </a:lnTo>
                  <a:lnTo>
                    <a:pt x="2810762" y="2504080"/>
                  </a:lnTo>
                  <a:lnTo>
                    <a:pt x="2835885" y="2504080"/>
                  </a:lnTo>
                  <a:lnTo>
                    <a:pt x="2845529" y="2504080"/>
                  </a:lnTo>
                  <a:lnTo>
                    <a:pt x="2946148" y="2504080"/>
                  </a:lnTo>
                  <a:lnTo>
                    <a:pt x="2950082" y="2504080"/>
                  </a:lnTo>
                  <a:lnTo>
                    <a:pt x="2998045" y="2504080"/>
                  </a:lnTo>
                  <a:lnTo>
                    <a:pt x="2998045" y="2520068"/>
                  </a:lnTo>
                  <a:lnTo>
                    <a:pt x="2996522" y="2518926"/>
                  </a:lnTo>
                  <a:lnTo>
                    <a:pt x="3056031" y="2518926"/>
                  </a:lnTo>
                  <a:lnTo>
                    <a:pt x="3056031" y="2534914"/>
                  </a:lnTo>
                  <a:lnTo>
                    <a:pt x="3054509" y="2533772"/>
                  </a:lnTo>
                  <a:lnTo>
                    <a:pt x="3079632" y="2533772"/>
                  </a:lnTo>
                  <a:lnTo>
                    <a:pt x="3089275" y="2533772"/>
                  </a:lnTo>
                  <a:lnTo>
                    <a:pt x="3206898" y="2533772"/>
                  </a:lnTo>
                  <a:lnTo>
                    <a:pt x="3206898" y="2551028"/>
                  </a:lnTo>
                  <a:lnTo>
                    <a:pt x="3205375" y="2549886"/>
                  </a:lnTo>
                  <a:lnTo>
                    <a:pt x="3208801" y="2549886"/>
                  </a:lnTo>
                  <a:lnTo>
                    <a:pt x="3208801" y="2566889"/>
                  </a:lnTo>
                  <a:lnTo>
                    <a:pt x="3207278" y="2565873"/>
                  </a:lnTo>
                  <a:lnTo>
                    <a:pt x="3224789" y="2565873"/>
                  </a:lnTo>
                  <a:lnTo>
                    <a:pt x="3226692" y="2565873"/>
                  </a:lnTo>
                  <a:lnTo>
                    <a:pt x="3307898" y="2565873"/>
                  </a:lnTo>
                  <a:lnTo>
                    <a:pt x="3335052" y="2565873"/>
                  </a:lnTo>
                  <a:lnTo>
                    <a:pt x="3483508" y="2565873"/>
                  </a:lnTo>
                  <a:lnTo>
                    <a:pt x="3483508" y="2586048"/>
                  </a:lnTo>
                  <a:lnTo>
                    <a:pt x="3481985" y="2584906"/>
                  </a:lnTo>
                  <a:lnTo>
                    <a:pt x="3495562" y="2584906"/>
                  </a:lnTo>
                  <a:lnTo>
                    <a:pt x="3509012" y="2584906"/>
                  </a:lnTo>
                  <a:lnTo>
                    <a:pt x="3530328" y="2584906"/>
                  </a:lnTo>
                  <a:lnTo>
                    <a:pt x="3582605" y="2584906"/>
                  </a:lnTo>
                  <a:lnTo>
                    <a:pt x="3617498" y="2584906"/>
                  </a:lnTo>
                  <a:lnTo>
                    <a:pt x="3660005" y="2584906"/>
                  </a:lnTo>
                  <a:lnTo>
                    <a:pt x="3698578" y="2584906"/>
                  </a:lnTo>
                  <a:lnTo>
                    <a:pt x="3723828" y="2584906"/>
                  </a:lnTo>
                  <a:lnTo>
                    <a:pt x="3948288" y="2584906"/>
                  </a:lnTo>
                  <a:lnTo>
                    <a:pt x="4010081" y="2584906"/>
                  </a:lnTo>
                  <a:lnTo>
                    <a:pt x="4033301" y="2584906"/>
                  </a:lnTo>
                  <a:lnTo>
                    <a:pt x="4118441" y="2584906"/>
                  </a:lnTo>
                  <a:lnTo>
                    <a:pt x="4319555" y="2584906"/>
                  </a:lnTo>
                  <a:lnTo>
                    <a:pt x="4335161" y="2584906"/>
                  </a:lnTo>
                  <a:lnTo>
                    <a:pt x="4393148" y="2584906"/>
                  </a:lnTo>
                  <a:lnTo>
                    <a:pt x="4431848" y="2584906"/>
                  </a:lnTo>
                  <a:lnTo>
                    <a:pt x="4464330" y="2584906"/>
                  </a:lnTo>
                  <a:lnTo>
                    <a:pt x="4464330" y="2707731"/>
                  </a:lnTo>
                  <a:lnTo>
                    <a:pt x="4462808" y="2706589"/>
                  </a:lnTo>
                  <a:lnTo>
                    <a:pt x="4691075" y="2706589"/>
                  </a:lnTo>
                  <a:lnTo>
                    <a:pt x="5428024" y="2706589"/>
                  </a:lnTo>
                  <a:lnTo>
                    <a:pt x="5428024" y="2708746"/>
                  </a:lnTo>
                  <a:lnTo>
                    <a:pt x="4691075" y="2708746"/>
                  </a:lnTo>
                  <a:lnTo>
                    <a:pt x="4461285" y="2708746"/>
                  </a:lnTo>
                  <a:lnTo>
                    <a:pt x="4461285" y="2586048"/>
                  </a:lnTo>
                  <a:lnTo>
                    <a:pt x="4462808" y="2587190"/>
                  </a:lnTo>
                  <a:lnTo>
                    <a:pt x="4431848" y="2587190"/>
                  </a:lnTo>
                  <a:lnTo>
                    <a:pt x="4393148" y="2587190"/>
                  </a:lnTo>
                  <a:lnTo>
                    <a:pt x="4335161" y="2587190"/>
                  </a:lnTo>
                  <a:lnTo>
                    <a:pt x="4319555" y="2587190"/>
                  </a:lnTo>
                  <a:lnTo>
                    <a:pt x="4118441" y="2587190"/>
                  </a:lnTo>
                  <a:lnTo>
                    <a:pt x="4033301" y="2587190"/>
                  </a:lnTo>
                  <a:lnTo>
                    <a:pt x="4010081" y="2587190"/>
                  </a:lnTo>
                  <a:lnTo>
                    <a:pt x="3948288" y="2587190"/>
                  </a:lnTo>
                  <a:lnTo>
                    <a:pt x="3723828" y="2587190"/>
                  </a:lnTo>
                  <a:lnTo>
                    <a:pt x="3698578" y="2587190"/>
                  </a:lnTo>
                  <a:lnTo>
                    <a:pt x="3660005" y="2587190"/>
                  </a:lnTo>
                  <a:lnTo>
                    <a:pt x="3617498" y="2587190"/>
                  </a:lnTo>
                  <a:lnTo>
                    <a:pt x="3582605" y="2587190"/>
                  </a:lnTo>
                  <a:lnTo>
                    <a:pt x="3530328" y="2587190"/>
                  </a:lnTo>
                  <a:lnTo>
                    <a:pt x="3509012" y="2587190"/>
                  </a:lnTo>
                  <a:lnTo>
                    <a:pt x="3495562" y="2587190"/>
                  </a:lnTo>
                  <a:lnTo>
                    <a:pt x="3480462" y="2587190"/>
                  </a:lnTo>
                  <a:lnTo>
                    <a:pt x="3480462" y="2566889"/>
                  </a:lnTo>
                  <a:lnTo>
                    <a:pt x="3481985" y="2568031"/>
                  </a:lnTo>
                  <a:lnTo>
                    <a:pt x="3335052" y="2568031"/>
                  </a:lnTo>
                  <a:lnTo>
                    <a:pt x="3307898" y="2568031"/>
                  </a:lnTo>
                  <a:lnTo>
                    <a:pt x="3226692" y="2568031"/>
                  </a:lnTo>
                  <a:lnTo>
                    <a:pt x="3224789" y="2568031"/>
                  </a:lnTo>
                  <a:lnTo>
                    <a:pt x="3205756" y="2568031"/>
                  </a:lnTo>
                  <a:lnTo>
                    <a:pt x="3205756" y="2551028"/>
                  </a:lnTo>
                  <a:lnTo>
                    <a:pt x="3207278" y="2552043"/>
                  </a:lnTo>
                  <a:lnTo>
                    <a:pt x="3203852" y="2552043"/>
                  </a:lnTo>
                  <a:lnTo>
                    <a:pt x="3203852" y="2534914"/>
                  </a:lnTo>
                  <a:lnTo>
                    <a:pt x="3205375" y="2536056"/>
                  </a:lnTo>
                  <a:lnTo>
                    <a:pt x="3089275" y="2536056"/>
                  </a:lnTo>
                  <a:lnTo>
                    <a:pt x="3079632" y="2536056"/>
                  </a:lnTo>
                  <a:lnTo>
                    <a:pt x="3052986" y="2536056"/>
                  </a:lnTo>
                  <a:lnTo>
                    <a:pt x="3052986" y="2520068"/>
                  </a:lnTo>
                  <a:lnTo>
                    <a:pt x="3054509" y="2521210"/>
                  </a:lnTo>
                  <a:lnTo>
                    <a:pt x="2994999" y="2521210"/>
                  </a:lnTo>
                  <a:lnTo>
                    <a:pt x="2994999" y="2505222"/>
                  </a:lnTo>
                  <a:lnTo>
                    <a:pt x="2996522" y="2506364"/>
                  </a:lnTo>
                  <a:lnTo>
                    <a:pt x="2950082" y="2506364"/>
                  </a:lnTo>
                  <a:lnTo>
                    <a:pt x="2946148" y="2506364"/>
                  </a:lnTo>
                  <a:lnTo>
                    <a:pt x="2845529" y="2506364"/>
                  </a:lnTo>
                  <a:lnTo>
                    <a:pt x="2835885" y="2506364"/>
                  </a:lnTo>
                  <a:lnTo>
                    <a:pt x="2809239" y="2506364"/>
                  </a:lnTo>
                  <a:lnTo>
                    <a:pt x="2809239" y="2492153"/>
                  </a:lnTo>
                  <a:lnTo>
                    <a:pt x="2810762" y="2493295"/>
                  </a:lnTo>
                  <a:lnTo>
                    <a:pt x="2806829" y="2493295"/>
                  </a:lnTo>
                  <a:lnTo>
                    <a:pt x="2654059" y="2493295"/>
                  </a:lnTo>
                  <a:lnTo>
                    <a:pt x="2648222" y="2493295"/>
                  </a:lnTo>
                  <a:lnTo>
                    <a:pt x="2617262" y="2493295"/>
                  </a:lnTo>
                  <a:lnTo>
                    <a:pt x="2597976" y="2493295"/>
                  </a:lnTo>
                  <a:lnTo>
                    <a:pt x="2590108" y="2493295"/>
                  </a:lnTo>
                  <a:lnTo>
                    <a:pt x="2553439" y="2493295"/>
                  </a:lnTo>
                  <a:lnTo>
                    <a:pt x="2491899" y="2493295"/>
                  </a:lnTo>
                  <a:lnTo>
                    <a:pt x="2491899" y="2481495"/>
                  </a:lnTo>
                  <a:lnTo>
                    <a:pt x="2493422" y="2482637"/>
                  </a:lnTo>
                  <a:lnTo>
                    <a:pt x="2429979" y="2482637"/>
                  </a:lnTo>
                  <a:lnTo>
                    <a:pt x="2429979" y="2470710"/>
                  </a:lnTo>
                  <a:lnTo>
                    <a:pt x="2431502" y="2471852"/>
                  </a:lnTo>
                  <a:lnTo>
                    <a:pt x="2423889" y="2471852"/>
                  </a:lnTo>
                  <a:lnTo>
                    <a:pt x="2412216" y="2471852"/>
                  </a:lnTo>
                  <a:lnTo>
                    <a:pt x="2390899" y="2471852"/>
                  </a:lnTo>
                  <a:lnTo>
                    <a:pt x="2358543" y="2471852"/>
                  </a:lnTo>
                  <a:lnTo>
                    <a:pt x="2358543" y="2460813"/>
                  </a:lnTo>
                  <a:lnTo>
                    <a:pt x="2360066" y="2461828"/>
                  </a:lnTo>
                  <a:lnTo>
                    <a:pt x="2352579" y="2461828"/>
                  </a:lnTo>
                  <a:lnTo>
                    <a:pt x="2352579" y="2450789"/>
                  </a:lnTo>
                  <a:lnTo>
                    <a:pt x="2354229" y="2451931"/>
                  </a:lnTo>
                  <a:lnTo>
                    <a:pt x="2344459" y="2451931"/>
                  </a:lnTo>
                  <a:lnTo>
                    <a:pt x="2328979" y="2451931"/>
                  </a:lnTo>
                  <a:lnTo>
                    <a:pt x="2313626" y="2451931"/>
                  </a:lnTo>
                  <a:lnTo>
                    <a:pt x="2307789" y="2451931"/>
                  </a:lnTo>
                  <a:lnTo>
                    <a:pt x="2292689" y="2451931"/>
                  </a:lnTo>
                  <a:lnTo>
                    <a:pt x="2292689" y="2441526"/>
                  </a:lnTo>
                  <a:lnTo>
                    <a:pt x="2294212" y="2442668"/>
                  </a:lnTo>
                  <a:lnTo>
                    <a:pt x="2286853" y="2442668"/>
                  </a:lnTo>
                  <a:lnTo>
                    <a:pt x="2286853" y="2432263"/>
                  </a:lnTo>
                  <a:lnTo>
                    <a:pt x="2288375" y="2433405"/>
                  </a:lnTo>
                  <a:lnTo>
                    <a:pt x="2282666" y="2433405"/>
                  </a:lnTo>
                  <a:lnTo>
                    <a:pt x="2270992" y="2433405"/>
                  </a:lnTo>
                  <a:lnTo>
                    <a:pt x="2267186" y="2433405"/>
                  </a:lnTo>
                  <a:lnTo>
                    <a:pt x="2249675" y="2433405"/>
                  </a:lnTo>
                  <a:lnTo>
                    <a:pt x="2226582" y="2433405"/>
                  </a:lnTo>
                  <a:lnTo>
                    <a:pt x="2213386" y="2433405"/>
                  </a:lnTo>
                  <a:lnTo>
                    <a:pt x="2213386" y="2423762"/>
                  </a:lnTo>
                  <a:lnTo>
                    <a:pt x="2214909" y="2424904"/>
                  </a:lnTo>
                  <a:lnTo>
                    <a:pt x="2205519" y="2424904"/>
                  </a:lnTo>
                  <a:lnTo>
                    <a:pt x="2205519" y="2415261"/>
                  </a:lnTo>
                  <a:lnTo>
                    <a:pt x="2207042" y="2416403"/>
                  </a:lnTo>
                  <a:lnTo>
                    <a:pt x="2195876" y="2416403"/>
                  </a:lnTo>
                  <a:lnTo>
                    <a:pt x="2195876" y="2406759"/>
                  </a:lnTo>
                  <a:lnTo>
                    <a:pt x="2197399" y="2407901"/>
                  </a:lnTo>
                  <a:lnTo>
                    <a:pt x="2192070" y="2407901"/>
                  </a:lnTo>
                  <a:lnTo>
                    <a:pt x="2192070" y="2398258"/>
                  </a:lnTo>
                  <a:lnTo>
                    <a:pt x="2193592" y="2399400"/>
                  </a:lnTo>
                  <a:lnTo>
                    <a:pt x="2114796" y="2399400"/>
                  </a:lnTo>
                  <a:lnTo>
                    <a:pt x="2114796" y="2389757"/>
                  </a:lnTo>
                  <a:lnTo>
                    <a:pt x="2116319" y="2390899"/>
                  </a:lnTo>
                  <a:lnTo>
                    <a:pt x="2091069" y="2390899"/>
                  </a:lnTo>
                  <a:lnTo>
                    <a:pt x="2078000" y="2390899"/>
                  </a:lnTo>
                  <a:lnTo>
                    <a:pt x="2078000" y="2381382"/>
                  </a:lnTo>
                  <a:lnTo>
                    <a:pt x="2079522" y="2382524"/>
                  </a:lnTo>
                  <a:lnTo>
                    <a:pt x="2066453" y="2382524"/>
                  </a:lnTo>
                  <a:lnTo>
                    <a:pt x="2066453" y="2373008"/>
                  </a:lnTo>
                  <a:lnTo>
                    <a:pt x="2067976" y="2374150"/>
                  </a:lnTo>
                  <a:lnTo>
                    <a:pt x="2052750" y="2374150"/>
                  </a:lnTo>
                  <a:lnTo>
                    <a:pt x="2052750" y="2364633"/>
                  </a:lnTo>
                  <a:lnTo>
                    <a:pt x="2054272" y="2365776"/>
                  </a:lnTo>
                  <a:lnTo>
                    <a:pt x="1967736" y="2365776"/>
                  </a:lnTo>
                  <a:lnTo>
                    <a:pt x="1967736" y="2356259"/>
                  </a:lnTo>
                  <a:lnTo>
                    <a:pt x="1969259" y="2357401"/>
                  </a:lnTo>
                  <a:lnTo>
                    <a:pt x="1954160" y="2357401"/>
                  </a:lnTo>
                  <a:lnTo>
                    <a:pt x="1954160" y="2347885"/>
                  </a:lnTo>
                  <a:lnTo>
                    <a:pt x="1955682" y="2349027"/>
                  </a:lnTo>
                  <a:lnTo>
                    <a:pt x="1936776" y="2349027"/>
                  </a:lnTo>
                  <a:lnTo>
                    <a:pt x="1936776" y="2339510"/>
                  </a:lnTo>
                  <a:lnTo>
                    <a:pt x="1938299" y="2340652"/>
                  </a:lnTo>
                  <a:lnTo>
                    <a:pt x="1928656" y="2340652"/>
                  </a:lnTo>
                  <a:lnTo>
                    <a:pt x="1872573" y="2340652"/>
                  </a:lnTo>
                  <a:lnTo>
                    <a:pt x="1861280" y="2340652"/>
                  </a:lnTo>
                  <a:lnTo>
                    <a:pt x="1861280" y="2331390"/>
                  </a:lnTo>
                  <a:lnTo>
                    <a:pt x="1862802" y="2332532"/>
                  </a:lnTo>
                  <a:lnTo>
                    <a:pt x="1858869" y="2332532"/>
                  </a:lnTo>
                  <a:lnTo>
                    <a:pt x="1856966" y="2332532"/>
                  </a:lnTo>
                  <a:lnTo>
                    <a:pt x="1855062" y="2332532"/>
                  </a:lnTo>
                  <a:lnTo>
                    <a:pt x="1851636" y="2332532"/>
                  </a:lnTo>
                  <a:lnTo>
                    <a:pt x="1851636" y="2323777"/>
                  </a:lnTo>
                  <a:lnTo>
                    <a:pt x="1853159" y="2324919"/>
                  </a:lnTo>
                  <a:lnTo>
                    <a:pt x="1841993" y="2324919"/>
                  </a:lnTo>
                  <a:lnTo>
                    <a:pt x="1841993" y="2316163"/>
                  </a:lnTo>
                  <a:lnTo>
                    <a:pt x="1843516" y="2317179"/>
                  </a:lnTo>
                  <a:lnTo>
                    <a:pt x="1826133" y="2317179"/>
                  </a:lnTo>
                  <a:lnTo>
                    <a:pt x="1814459" y="2317179"/>
                  </a:lnTo>
                  <a:lnTo>
                    <a:pt x="1812429" y="2317179"/>
                  </a:lnTo>
                  <a:lnTo>
                    <a:pt x="1780073" y="2317179"/>
                  </a:lnTo>
                  <a:lnTo>
                    <a:pt x="1780073" y="2301318"/>
                  </a:lnTo>
                  <a:lnTo>
                    <a:pt x="1781596" y="2302460"/>
                  </a:lnTo>
                  <a:lnTo>
                    <a:pt x="1762563" y="2302460"/>
                  </a:lnTo>
                  <a:lnTo>
                    <a:pt x="1762563" y="2293958"/>
                  </a:lnTo>
                  <a:lnTo>
                    <a:pt x="1764086" y="2295100"/>
                  </a:lnTo>
                  <a:lnTo>
                    <a:pt x="1744799" y="2295100"/>
                  </a:lnTo>
                  <a:lnTo>
                    <a:pt x="1710413" y="2295100"/>
                  </a:lnTo>
                  <a:lnTo>
                    <a:pt x="1710413" y="2286599"/>
                  </a:lnTo>
                  <a:lnTo>
                    <a:pt x="1711936" y="2287741"/>
                  </a:lnTo>
                  <a:lnTo>
                    <a:pt x="1686812" y="2287741"/>
                  </a:lnTo>
                  <a:lnTo>
                    <a:pt x="1679073" y="2287741"/>
                  </a:lnTo>
                  <a:lnTo>
                    <a:pt x="1663593" y="2287741"/>
                  </a:lnTo>
                  <a:lnTo>
                    <a:pt x="1650396" y="2287741"/>
                  </a:lnTo>
                  <a:lnTo>
                    <a:pt x="1650396" y="2279620"/>
                  </a:lnTo>
                  <a:lnTo>
                    <a:pt x="1651919" y="2280763"/>
                  </a:lnTo>
                  <a:lnTo>
                    <a:pt x="1650016" y="2280763"/>
                  </a:lnTo>
                  <a:lnTo>
                    <a:pt x="1646209" y="2280763"/>
                  </a:lnTo>
                  <a:lnTo>
                    <a:pt x="1633140" y="2280763"/>
                  </a:lnTo>
                  <a:lnTo>
                    <a:pt x="1633140" y="2272642"/>
                  </a:lnTo>
                  <a:lnTo>
                    <a:pt x="1634663" y="2273784"/>
                  </a:lnTo>
                  <a:lnTo>
                    <a:pt x="1630729" y="2273784"/>
                  </a:lnTo>
                  <a:lnTo>
                    <a:pt x="1627176" y="2273784"/>
                  </a:lnTo>
                  <a:lnTo>
                    <a:pt x="1627176" y="2265790"/>
                  </a:lnTo>
                  <a:lnTo>
                    <a:pt x="1628699" y="2266932"/>
                  </a:lnTo>
                  <a:lnTo>
                    <a:pt x="1625273" y="2266932"/>
                  </a:lnTo>
                  <a:lnTo>
                    <a:pt x="1625273" y="2258938"/>
                  </a:lnTo>
                  <a:lnTo>
                    <a:pt x="1626796" y="2260080"/>
                  </a:lnTo>
                  <a:lnTo>
                    <a:pt x="1593932" y="2260080"/>
                  </a:lnTo>
                  <a:lnTo>
                    <a:pt x="1588603" y="2260080"/>
                  </a:lnTo>
                  <a:lnTo>
                    <a:pt x="1588603" y="2252213"/>
                  </a:lnTo>
                  <a:lnTo>
                    <a:pt x="1590126" y="2253228"/>
                  </a:lnTo>
                  <a:lnTo>
                    <a:pt x="1564876" y="2253228"/>
                  </a:lnTo>
                  <a:lnTo>
                    <a:pt x="1553710" y="2253228"/>
                  </a:lnTo>
                  <a:lnTo>
                    <a:pt x="1553710" y="2245488"/>
                  </a:lnTo>
                  <a:lnTo>
                    <a:pt x="1555232" y="2246503"/>
                  </a:lnTo>
                  <a:lnTo>
                    <a:pt x="1544066" y="2246503"/>
                  </a:lnTo>
                  <a:lnTo>
                    <a:pt x="1544066" y="2238763"/>
                  </a:lnTo>
                  <a:lnTo>
                    <a:pt x="1545589" y="2239778"/>
                  </a:lnTo>
                  <a:lnTo>
                    <a:pt x="1541783" y="2239778"/>
                  </a:lnTo>
                  <a:lnTo>
                    <a:pt x="1522750" y="2239778"/>
                  </a:lnTo>
                  <a:lnTo>
                    <a:pt x="1522750" y="2232038"/>
                  </a:lnTo>
                  <a:lnTo>
                    <a:pt x="1524272" y="2233181"/>
                  </a:lnTo>
                  <a:lnTo>
                    <a:pt x="1515010" y="2233181"/>
                  </a:lnTo>
                  <a:lnTo>
                    <a:pt x="1515010" y="2225441"/>
                  </a:lnTo>
                  <a:lnTo>
                    <a:pt x="1516532" y="2226582"/>
                  </a:lnTo>
                  <a:lnTo>
                    <a:pt x="1514629" y="2226582"/>
                  </a:lnTo>
                  <a:lnTo>
                    <a:pt x="1499530" y="2226582"/>
                  </a:lnTo>
                  <a:lnTo>
                    <a:pt x="1499530" y="2218842"/>
                  </a:lnTo>
                  <a:lnTo>
                    <a:pt x="1501052" y="2219984"/>
                  </a:lnTo>
                  <a:lnTo>
                    <a:pt x="1472376" y="2219984"/>
                  </a:lnTo>
                  <a:lnTo>
                    <a:pt x="1472376" y="2212244"/>
                  </a:lnTo>
                  <a:lnTo>
                    <a:pt x="1473899" y="2213386"/>
                  </a:lnTo>
                  <a:lnTo>
                    <a:pt x="1464763" y="2213386"/>
                  </a:lnTo>
                  <a:lnTo>
                    <a:pt x="1464763" y="2205646"/>
                  </a:lnTo>
                  <a:lnTo>
                    <a:pt x="1466286" y="2206788"/>
                  </a:lnTo>
                  <a:lnTo>
                    <a:pt x="1458927" y="2206788"/>
                  </a:lnTo>
                  <a:lnTo>
                    <a:pt x="1458927" y="2199048"/>
                  </a:lnTo>
                  <a:lnTo>
                    <a:pt x="1460449" y="2200190"/>
                  </a:lnTo>
                  <a:lnTo>
                    <a:pt x="1449283" y="2200190"/>
                  </a:lnTo>
                  <a:lnTo>
                    <a:pt x="1449283" y="2192450"/>
                  </a:lnTo>
                  <a:lnTo>
                    <a:pt x="1450806" y="2193592"/>
                  </a:lnTo>
                  <a:lnTo>
                    <a:pt x="1445477" y="2193592"/>
                  </a:lnTo>
                  <a:lnTo>
                    <a:pt x="1445477" y="2185852"/>
                  </a:lnTo>
                  <a:lnTo>
                    <a:pt x="1446999" y="2186994"/>
                  </a:lnTo>
                  <a:lnTo>
                    <a:pt x="1444969" y="2186994"/>
                  </a:lnTo>
                  <a:lnTo>
                    <a:pt x="1439259" y="2186994"/>
                  </a:lnTo>
                  <a:lnTo>
                    <a:pt x="1431393" y="2186994"/>
                  </a:lnTo>
                  <a:lnTo>
                    <a:pt x="1423653" y="2186994"/>
                  </a:lnTo>
                  <a:lnTo>
                    <a:pt x="1421749" y="2186994"/>
                  </a:lnTo>
                  <a:lnTo>
                    <a:pt x="1408680" y="2186994"/>
                  </a:lnTo>
                  <a:lnTo>
                    <a:pt x="1408680" y="2179635"/>
                  </a:lnTo>
                  <a:lnTo>
                    <a:pt x="1410203" y="2180777"/>
                  </a:lnTo>
                  <a:lnTo>
                    <a:pt x="1358307" y="2180777"/>
                  </a:lnTo>
                  <a:lnTo>
                    <a:pt x="1358307" y="2173418"/>
                  </a:lnTo>
                  <a:lnTo>
                    <a:pt x="1359829" y="2174559"/>
                  </a:lnTo>
                  <a:lnTo>
                    <a:pt x="1350186" y="2174559"/>
                  </a:lnTo>
                  <a:lnTo>
                    <a:pt x="1333183" y="2174559"/>
                  </a:lnTo>
                  <a:lnTo>
                    <a:pt x="1333183" y="2167327"/>
                  </a:lnTo>
                  <a:lnTo>
                    <a:pt x="1334706" y="2168342"/>
                  </a:lnTo>
                  <a:lnTo>
                    <a:pt x="1327347" y="2168342"/>
                  </a:lnTo>
                  <a:lnTo>
                    <a:pt x="1327347" y="2161110"/>
                  </a:lnTo>
                  <a:lnTo>
                    <a:pt x="1328869" y="2162252"/>
                  </a:lnTo>
                  <a:lnTo>
                    <a:pt x="1317323" y="2162252"/>
                  </a:lnTo>
                  <a:lnTo>
                    <a:pt x="1300320" y="2162252"/>
                  </a:lnTo>
                  <a:lnTo>
                    <a:pt x="1300320" y="2155019"/>
                  </a:lnTo>
                  <a:lnTo>
                    <a:pt x="1301843" y="2156161"/>
                  </a:lnTo>
                  <a:lnTo>
                    <a:pt x="1272786" y="2156161"/>
                  </a:lnTo>
                  <a:lnTo>
                    <a:pt x="1257306" y="2156161"/>
                  </a:lnTo>
                  <a:lnTo>
                    <a:pt x="1246140" y="2156161"/>
                  </a:lnTo>
                  <a:lnTo>
                    <a:pt x="1246140" y="2149056"/>
                  </a:lnTo>
                  <a:lnTo>
                    <a:pt x="1247663" y="2150197"/>
                  </a:lnTo>
                  <a:lnTo>
                    <a:pt x="1242207" y="2150197"/>
                  </a:lnTo>
                  <a:lnTo>
                    <a:pt x="1242207" y="2143219"/>
                  </a:lnTo>
                  <a:lnTo>
                    <a:pt x="1243729" y="2144234"/>
                  </a:lnTo>
                  <a:lnTo>
                    <a:pt x="1230660" y="2144234"/>
                  </a:lnTo>
                  <a:lnTo>
                    <a:pt x="1230660" y="2137255"/>
                  </a:lnTo>
                  <a:lnTo>
                    <a:pt x="1232183" y="2138270"/>
                  </a:lnTo>
                  <a:lnTo>
                    <a:pt x="1230153" y="2138270"/>
                  </a:lnTo>
                  <a:lnTo>
                    <a:pt x="1217083" y="2138270"/>
                  </a:lnTo>
                  <a:lnTo>
                    <a:pt x="1217083" y="2131292"/>
                  </a:lnTo>
                  <a:lnTo>
                    <a:pt x="1218606" y="2132434"/>
                  </a:lnTo>
                  <a:lnTo>
                    <a:pt x="1209343" y="2132434"/>
                  </a:lnTo>
                  <a:lnTo>
                    <a:pt x="1209343" y="2125582"/>
                  </a:lnTo>
                  <a:lnTo>
                    <a:pt x="1210866" y="2126597"/>
                  </a:lnTo>
                  <a:lnTo>
                    <a:pt x="1195767" y="2126597"/>
                  </a:lnTo>
                  <a:lnTo>
                    <a:pt x="1195767" y="2119618"/>
                  </a:lnTo>
                  <a:lnTo>
                    <a:pt x="1197416" y="2120760"/>
                  </a:lnTo>
                  <a:lnTo>
                    <a:pt x="1191960" y="2120760"/>
                  </a:lnTo>
                  <a:lnTo>
                    <a:pt x="1191960" y="2113781"/>
                  </a:lnTo>
                  <a:lnTo>
                    <a:pt x="1193483" y="2114923"/>
                  </a:lnTo>
                  <a:lnTo>
                    <a:pt x="1180287" y="2114923"/>
                  </a:lnTo>
                  <a:lnTo>
                    <a:pt x="1180287" y="2107945"/>
                  </a:lnTo>
                  <a:lnTo>
                    <a:pt x="1181809" y="2109087"/>
                  </a:lnTo>
                  <a:lnTo>
                    <a:pt x="1178383" y="2109087"/>
                  </a:lnTo>
                  <a:lnTo>
                    <a:pt x="1178383" y="2102235"/>
                  </a:lnTo>
                  <a:lnTo>
                    <a:pt x="1179906" y="2103250"/>
                  </a:lnTo>
                  <a:lnTo>
                    <a:pt x="1162903" y="2103250"/>
                  </a:lnTo>
                  <a:lnTo>
                    <a:pt x="1162903" y="2096398"/>
                  </a:lnTo>
                  <a:lnTo>
                    <a:pt x="1164426" y="2097540"/>
                  </a:lnTo>
                  <a:lnTo>
                    <a:pt x="1152879" y="2097540"/>
                  </a:lnTo>
                  <a:lnTo>
                    <a:pt x="1141206" y="2097540"/>
                  </a:lnTo>
                  <a:lnTo>
                    <a:pt x="1137780" y="2097540"/>
                  </a:lnTo>
                  <a:lnTo>
                    <a:pt x="1137780" y="2084852"/>
                  </a:lnTo>
                  <a:lnTo>
                    <a:pt x="1139303" y="2085994"/>
                  </a:lnTo>
                  <a:lnTo>
                    <a:pt x="1130040" y="2085994"/>
                  </a:lnTo>
                  <a:lnTo>
                    <a:pt x="1130040" y="2079142"/>
                  </a:lnTo>
                  <a:lnTo>
                    <a:pt x="1131563" y="2080284"/>
                  </a:lnTo>
                  <a:lnTo>
                    <a:pt x="1103013" y="2080284"/>
                  </a:lnTo>
                  <a:lnTo>
                    <a:pt x="1103013" y="2073432"/>
                  </a:lnTo>
                  <a:lnTo>
                    <a:pt x="1104536" y="2074574"/>
                  </a:lnTo>
                  <a:lnTo>
                    <a:pt x="1098572" y="2074574"/>
                  </a:lnTo>
                  <a:lnTo>
                    <a:pt x="1096669" y="2074574"/>
                  </a:lnTo>
                  <a:lnTo>
                    <a:pt x="1093243" y="2074574"/>
                  </a:lnTo>
                  <a:lnTo>
                    <a:pt x="1093243" y="2067722"/>
                  </a:lnTo>
                  <a:lnTo>
                    <a:pt x="1094766" y="2068864"/>
                  </a:lnTo>
                  <a:lnTo>
                    <a:pt x="1091340" y="2068864"/>
                  </a:lnTo>
                  <a:lnTo>
                    <a:pt x="1091340" y="2062139"/>
                  </a:lnTo>
                  <a:lnTo>
                    <a:pt x="1092863" y="2063281"/>
                  </a:lnTo>
                  <a:lnTo>
                    <a:pt x="1062410" y="2063281"/>
                  </a:lnTo>
                  <a:lnTo>
                    <a:pt x="1062410" y="2056429"/>
                  </a:lnTo>
                  <a:lnTo>
                    <a:pt x="1063933" y="2057571"/>
                  </a:lnTo>
                  <a:lnTo>
                    <a:pt x="1060507" y="2057571"/>
                  </a:lnTo>
                  <a:lnTo>
                    <a:pt x="1060507" y="2050719"/>
                  </a:lnTo>
                  <a:lnTo>
                    <a:pt x="1062030" y="2051861"/>
                  </a:lnTo>
                  <a:lnTo>
                    <a:pt x="1058096" y="2051861"/>
                  </a:lnTo>
                  <a:lnTo>
                    <a:pt x="1054670" y="2051861"/>
                  </a:lnTo>
                  <a:lnTo>
                    <a:pt x="1054670" y="2045136"/>
                  </a:lnTo>
                  <a:lnTo>
                    <a:pt x="1056193" y="2046278"/>
                  </a:lnTo>
                  <a:lnTo>
                    <a:pt x="1050229" y="2046278"/>
                  </a:lnTo>
                  <a:lnTo>
                    <a:pt x="1036779" y="2046278"/>
                  </a:lnTo>
                  <a:lnTo>
                    <a:pt x="1033353" y="2046278"/>
                  </a:lnTo>
                  <a:lnTo>
                    <a:pt x="1033353" y="2033970"/>
                  </a:lnTo>
                  <a:lnTo>
                    <a:pt x="1034876" y="2035113"/>
                  </a:lnTo>
                  <a:lnTo>
                    <a:pt x="1029420" y="2035113"/>
                  </a:lnTo>
                  <a:lnTo>
                    <a:pt x="1029420" y="2028515"/>
                  </a:lnTo>
                  <a:lnTo>
                    <a:pt x="1030943" y="2029656"/>
                  </a:lnTo>
                  <a:lnTo>
                    <a:pt x="1023710" y="2029656"/>
                  </a:lnTo>
                  <a:lnTo>
                    <a:pt x="1023710" y="2022932"/>
                  </a:lnTo>
                  <a:lnTo>
                    <a:pt x="1025233" y="2024073"/>
                  </a:lnTo>
                  <a:lnTo>
                    <a:pt x="1015589" y="2024073"/>
                  </a:lnTo>
                  <a:lnTo>
                    <a:pt x="1008230" y="2024073"/>
                  </a:lnTo>
                  <a:lnTo>
                    <a:pt x="1008230" y="2017349"/>
                  </a:lnTo>
                  <a:lnTo>
                    <a:pt x="1009753" y="2018490"/>
                  </a:lnTo>
                  <a:lnTo>
                    <a:pt x="998079" y="2018490"/>
                  </a:lnTo>
                  <a:lnTo>
                    <a:pt x="996176" y="2018490"/>
                  </a:lnTo>
                  <a:lnTo>
                    <a:pt x="994146" y="2018490"/>
                  </a:lnTo>
                  <a:lnTo>
                    <a:pt x="990720" y="2018490"/>
                  </a:lnTo>
                  <a:lnTo>
                    <a:pt x="990720" y="2012019"/>
                  </a:lnTo>
                  <a:lnTo>
                    <a:pt x="992243" y="2013035"/>
                  </a:lnTo>
                  <a:lnTo>
                    <a:pt x="985010" y="2013035"/>
                  </a:lnTo>
                  <a:lnTo>
                    <a:pt x="985010" y="2006563"/>
                  </a:lnTo>
                  <a:lnTo>
                    <a:pt x="986533" y="2007705"/>
                  </a:lnTo>
                  <a:lnTo>
                    <a:pt x="977270" y="2007705"/>
                  </a:lnTo>
                  <a:lnTo>
                    <a:pt x="977270" y="2001107"/>
                  </a:lnTo>
                  <a:lnTo>
                    <a:pt x="978793" y="2002249"/>
                  </a:lnTo>
                  <a:lnTo>
                    <a:pt x="974859" y="2002249"/>
                  </a:lnTo>
                  <a:lnTo>
                    <a:pt x="971433" y="2002249"/>
                  </a:lnTo>
                  <a:lnTo>
                    <a:pt x="971433" y="1995778"/>
                  </a:lnTo>
                  <a:lnTo>
                    <a:pt x="972956" y="1996793"/>
                  </a:lnTo>
                  <a:lnTo>
                    <a:pt x="967627" y="1996793"/>
                  </a:lnTo>
                  <a:lnTo>
                    <a:pt x="967627" y="1990322"/>
                  </a:lnTo>
                  <a:lnTo>
                    <a:pt x="969150" y="1991464"/>
                  </a:lnTo>
                  <a:lnTo>
                    <a:pt x="946183" y="1991464"/>
                  </a:lnTo>
                  <a:lnTo>
                    <a:pt x="946183" y="1984866"/>
                  </a:lnTo>
                  <a:lnTo>
                    <a:pt x="947706" y="1986008"/>
                  </a:lnTo>
                  <a:lnTo>
                    <a:pt x="936540" y="1986008"/>
                  </a:lnTo>
                  <a:lnTo>
                    <a:pt x="936540" y="1974208"/>
                  </a:lnTo>
                  <a:lnTo>
                    <a:pt x="938063" y="1975223"/>
                  </a:lnTo>
                  <a:lnTo>
                    <a:pt x="932733" y="1975223"/>
                  </a:lnTo>
                  <a:lnTo>
                    <a:pt x="932733" y="1968878"/>
                  </a:lnTo>
                  <a:lnTo>
                    <a:pt x="934256" y="1969894"/>
                  </a:lnTo>
                  <a:lnTo>
                    <a:pt x="926516" y="1969894"/>
                  </a:lnTo>
                  <a:lnTo>
                    <a:pt x="918776" y="1969894"/>
                  </a:lnTo>
                  <a:lnTo>
                    <a:pt x="909640" y="1969894"/>
                  </a:lnTo>
                  <a:lnTo>
                    <a:pt x="909640" y="1963549"/>
                  </a:lnTo>
                  <a:lnTo>
                    <a:pt x="911163" y="1964691"/>
                  </a:lnTo>
                  <a:lnTo>
                    <a:pt x="905580" y="1964691"/>
                  </a:lnTo>
                  <a:lnTo>
                    <a:pt x="905580" y="1958220"/>
                  </a:lnTo>
                  <a:lnTo>
                    <a:pt x="907229" y="1959362"/>
                  </a:lnTo>
                  <a:lnTo>
                    <a:pt x="905199" y="1959362"/>
                  </a:lnTo>
                  <a:lnTo>
                    <a:pt x="901773" y="1959362"/>
                  </a:lnTo>
                  <a:lnTo>
                    <a:pt x="901773" y="1953018"/>
                  </a:lnTo>
                  <a:lnTo>
                    <a:pt x="903296" y="1954160"/>
                  </a:lnTo>
                  <a:lnTo>
                    <a:pt x="901266" y="1954160"/>
                  </a:lnTo>
                  <a:lnTo>
                    <a:pt x="894033" y="1954160"/>
                  </a:lnTo>
                  <a:lnTo>
                    <a:pt x="894033" y="1947815"/>
                  </a:lnTo>
                  <a:lnTo>
                    <a:pt x="895556" y="1948957"/>
                  </a:lnTo>
                  <a:lnTo>
                    <a:pt x="887816" y="1948957"/>
                  </a:lnTo>
                  <a:lnTo>
                    <a:pt x="882487" y="1948957"/>
                  </a:lnTo>
                  <a:lnTo>
                    <a:pt x="882487" y="1937411"/>
                  </a:lnTo>
                  <a:lnTo>
                    <a:pt x="884010" y="1938426"/>
                  </a:lnTo>
                  <a:lnTo>
                    <a:pt x="880076" y="1938426"/>
                  </a:lnTo>
                  <a:lnTo>
                    <a:pt x="868910" y="1938426"/>
                  </a:lnTo>
                  <a:lnTo>
                    <a:pt x="868910" y="1932209"/>
                  </a:lnTo>
                  <a:lnTo>
                    <a:pt x="870433" y="1933351"/>
                  </a:lnTo>
                  <a:lnTo>
                    <a:pt x="867007" y="1933351"/>
                  </a:lnTo>
                  <a:lnTo>
                    <a:pt x="867007" y="1927133"/>
                  </a:lnTo>
                  <a:lnTo>
                    <a:pt x="868530" y="1928275"/>
                  </a:lnTo>
                  <a:lnTo>
                    <a:pt x="861170" y="1928275"/>
                  </a:lnTo>
                  <a:lnTo>
                    <a:pt x="861170" y="1921931"/>
                  </a:lnTo>
                  <a:lnTo>
                    <a:pt x="862693" y="1923073"/>
                  </a:lnTo>
                  <a:lnTo>
                    <a:pt x="854953" y="1923073"/>
                  </a:lnTo>
                  <a:lnTo>
                    <a:pt x="849497" y="1923073"/>
                  </a:lnTo>
                  <a:lnTo>
                    <a:pt x="849497" y="1911653"/>
                  </a:lnTo>
                  <a:lnTo>
                    <a:pt x="851019" y="1912795"/>
                  </a:lnTo>
                  <a:lnTo>
                    <a:pt x="847593" y="1912795"/>
                  </a:lnTo>
                  <a:lnTo>
                    <a:pt x="847593" y="1906705"/>
                  </a:lnTo>
                  <a:lnTo>
                    <a:pt x="849116" y="1907720"/>
                  </a:lnTo>
                  <a:lnTo>
                    <a:pt x="845690" y="1907720"/>
                  </a:lnTo>
                  <a:lnTo>
                    <a:pt x="845690" y="1901502"/>
                  </a:lnTo>
                  <a:lnTo>
                    <a:pt x="847213" y="1902644"/>
                  </a:lnTo>
                  <a:lnTo>
                    <a:pt x="837950" y="1902644"/>
                  </a:lnTo>
                  <a:lnTo>
                    <a:pt x="837950" y="1891225"/>
                  </a:lnTo>
                  <a:lnTo>
                    <a:pt x="839473" y="1892367"/>
                  </a:lnTo>
                  <a:lnTo>
                    <a:pt x="826404" y="1892367"/>
                  </a:lnTo>
                  <a:lnTo>
                    <a:pt x="826404" y="1886149"/>
                  </a:lnTo>
                  <a:lnTo>
                    <a:pt x="827926" y="1887164"/>
                  </a:lnTo>
                  <a:lnTo>
                    <a:pt x="824373" y="1887164"/>
                  </a:lnTo>
                  <a:lnTo>
                    <a:pt x="824373" y="1870796"/>
                  </a:lnTo>
                  <a:lnTo>
                    <a:pt x="825896" y="1871938"/>
                  </a:lnTo>
                  <a:lnTo>
                    <a:pt x="812827" y="1871938"/>
                  </a:lnTo>
                  <a:lnTo>
                    <a:pt x="812827" y="1865594"/>
                  </a:lnTo>
                  <a:lnTo>
                    <a:pt x="814349" y="1866736"/>
                  </a:lnTo>
                  <a:lnTo>
                    <a:pt x="808513" y="1866736"/>
                  </a:lnTo>
                  <a:lnTo>
                    <a:pt x="799250" y="1866736"/>
                  </a:lnTo>
                  <a:lnTo>
                    <a:pt x="799250" y="1855570"/>
                  </a:lnTo>
                  <a:lnTo>
                    <a:pt x="800773" y="1856712"/>
                  </a:lnTo>
                  <a:lnTo>
                    <a:pt x="797347" y="1856712"/>
                  </a:lnTo>
                  <a:lnTo>
                    <a:pt x="797347" y="1850495"/>
                  </a:lnTo>
                  <a:lnTo>
                    <a:pt x="798869" y="1851636"/>
                  </a:lnTo>
                  <a:lnTo>
                    <a:pt x="794936" y="1851636"/>
                  </a:lnTo>
                  <a:lnTo>
                    <a:pt x="793033" y="1851636"/>
                  </a:lnTo>
                  <a:lnTo>
                    <a:pt x="787704" y="1851636"/>
                  </a:lnTo>
                  <a:lnTo>
                    <a:pt x="787704" y="1845546"/>
                  </a:lnTo>
                  <a:lnTo>
                    <a:pt x="789226" y="1846688"/>
                  </a:lnTo>
                  <a:lnTo>
                    <a:pt x="783770" y="1846688"/>
                  </a:lnTo>
                  <a:lnTo>
                    <a:pt x="783770" y="1840597"/>
                  </a:lnTo>
                  <a:lnTo>
                    <a:pt x="785293" y="1841739"/>
                  </a:lnTo>
                  <a:lnTo>
                    <a:pt x="783390" y="1841739"/>
                  </a:lnTo>
                  <a:lnTo>
                    <a:pt x="778060" y="1841739"/>
                  </a:lnTo>
                  <a:lnTo>
                    <a:pt x="778060" y="1835649"/>
                  </a:lnTo>
                  <a:lnTo>
                    <a:pt x="779583" y="1836791"/>
                  </a:lnTo>
                  <a:lnTo>
                    <a:pt x="773746" y="1836791"/>
                  </a:lnTo>
                  <a:lnTo>
                    <a:pt x="764103" y="1836791"/>
                  </a:lnTo>
                  <a:lnTo>
                    <a:pt x="758520" y="1836791"/>
                  </a:lnTo>
                  <a:lnTo>
                    <a:pt x="758520" y="1830700"/>
                  </a:lnTo>
                  <a:lnTo>
                    <a:pt x="760043" y="1831842"/>
                  </a:lnTo>
                  <a:lnTo>
                    <a:pt x="756617" y="1831842"/>
                  </a:lnTo>
                  <a:lnTo>
                    <a:pt x="756617" y="1825879"/>
                  </a:lnTo>
                  <a:lnTo>
                    <a:pt x="758139" y="1827021"/>
                  </a:lnTo>
                  <a:lnTo>
                    <a:pt x="752810" y="1827021"/>
                  </a:lnTo>
                  <a:lnTo>
                    <a:pt x="752810" y="1821057"/>
                  </a:lnTo>
                  <a:lnTo>
                    <a:pt x="754333" y="1822072"/>
                  </a:lnTo>
                  <a:lnTo>
                    <a:pt x="746973" y="1822072"/>
                  </a:lnTo>
                  <a:lnTo>
                    <a:pt x="746973" y="1816109"/>
                  </a:lnTo>
                  <a:lnTo>
                    <a:pt x="748496" y="1817250"/>
                  </a:lnTo>
                  <a:lnTo>
                    <a:pt x="745070" y="1817250"/>
                  </a:lnTo>
                  <a:lnTo>
                    <a:pt x="745070" y="1811287"/>
                  </a:lnTo>
                  <a:lnTo>
                    <a:pt x="746593" y="1812429"/>
                  </a:lnTo>
                  <a:lnTo>
                    <a:pt x="740756" y="1812429"/>
                  </a:lnTo>
                  <a:lnTo>
                    <a:pt x="729590" y="1812429"/>
                  </a:lnTo>
                  <a:lnTo>
                    <a:pt x="729590" y="1806465"/>
                  </a:lnTo>
                  <a:lnTo>
                    <a:pt x="731113" y="1807607"/>
                  </a:lnTo>
                  <a:lnTo>
                    <a:pt x="727687" y="1807607"/>
                  </a:lnTo>
                  <a:lnTo>
                    <a:pt x="727687" y="1801644"/>
                  </a:lnTo>
                  <a:lnTo>
                    <a:pt x="729210" y="1802659"/>
                  </a:lnTo>
                  <a:lnTo>
                    <a:pt x="725784" y="1802659"/>
                  </a:lnTo>
                  <a:lnTo>
                    <a:pt x="725784" y="1796695"/>
                  </a:lnTo>
                  <a:lnTo>
                    <a:pt x="727306" y="1797837"/>
                  </a:lnTo>
                  <a:lnTo>
                    <a:pt x="721977" y="1797837"/>
                  </a:lnTo>
                  <a:lnTo>
                    <a:pt x="721977" y="1791873"/>
                  </a:lnTo>
                  <a:lnTo>
                    <a:pt x="723500" y="1793016"/>
                  </a:lnTo>
                  <a:lnTo>
                    <a:pt x="712207" y="1793016"/>
                  </a:lnTo>
                  <a:lnTo>
                    <a:pt x="712207" y="1787052"/>
                  </a:lnTo>
                  <a:lnTo>
                    <a:pt x="713729" y="1788194"/>
                  </a:lnTo>
                  <a:lnTo>
                    <a:pt x="706370" y="1788194"/>
                  </a:lnTo>
                  <a:lnTo>
                    <a:pt x="706370" y="1777409"/>
                  </a:lnTo>
                  <a:lnTo>
                    <a:pt x="707893" y="1778551"/>
                  </a:lnTo>
                  <a:lnTo>
                    <a:pt x="704467" y="1778551"/>
                  </a:lnTo>
                  <a:lnTo>
                    <a:pt x="704467" y="1772587"/>
                  </a:lnTo>
                  <a:lnTo>
                    <a:pt x="705989" y="1773729"/>
                  </a:lnTo>
                  <a:lnTo>
                    <a:pt x="694824" y="1773729"/>
                  </a:lnTo>
                  <a:lnTo>
                    <a:pt x="694824" y="1767892"/>
                  </a:lnTo>
                  <a:lnTo>
                    <a:pt x="696346" y="1769034"/>
                  </a:lnTo>
                  <a:lnTo>
                    <a:pt x="685180" y="1769034"/>
                  </a:lnTo>
                  <a:lnTo>
                    <a:pt x="685180" y="1763071"/>
                  </a:lnTo>
                  <a:lnTo>
                    <a:pt x="686703" y="1764213"/>
                  </a:lnTo>
                  <a:lnTo>
                    <a:pt x="675537" y="1764213"/>
                  </a:lnTo>
                  <a:lnTo>
                    <a:pt x="675537" y="1758249"/>
                  </a:lnTo>
                  <a:lnTo>
                    <a:pt x="677060" y="1759391"/>
                  </a:lnTo>
                  <a:lnTo>
                    <a:pt x="673507" y="1759391"/>
                  </a:lnTo>
                  <a:lnTo>
                    <a:pt x="673507" y="1753554"/>
                  </a:lnTo>
                  <a:lnTo>
                    <a:pt x="675030" y="1754569"/>
                  </a:lnTo>
                  <a:lnTo>
                    <a:pt x="669700" y="1754569"/>
                  </a:lnTo>
                  <a:lnTo>
                    <a:pt x="669700" y="1743911"/>
                  </a:lnTo>
                  <a:lnTo>
                    <a:pt x="671223" y="1745053"/>
                  </a:lnTo>
                  <a:lnTo>
                    <a:pt x="667797" y="1745053"/>
                  </a:lnTo>
                  <a:lnTo>
                    <a:pt x="667797" y="1729573"/>
                  </a:lnTo>
                  <a:lnTo>
                    <a:pt x="669320" y="1730715"/>
                  </a:lnTo>
                  <a:lnTo>
                    <a:pt x="665767" y="1730715"/>
                  </a:lnTo>
                  <a:lnTo>
                    <a:pt x="665767" y="1724751"/>
                  </a:lnTo>
                  <a:lnTo>
                    <a:pt x="667416" y="1725893"/>
                  </a:lnTo>
                  <a:lnTo>
                    <a:pt x="665259" y="1725893"/>
                  </a:lnTo>
                  <a:lnTo>
                    <a:pt x="658027" y="1725893"/>
                  </a:lnTo>
                  <a:lnTo>
                    <a:pt x="658027" y="1719930"/>
                  </a:lnTo>
                  <a:lnTo>
                    <a:pt x="659550" y="1721072"/>
                  </a:lnTo>
                  <a:lnTo>
                    <a:pt x="652190" y="1721072"/>
                  </a:lnTo>
                  <a:lnTo>
                    <a:pt x="652190" y="1715235"/>
                  </a:lnTo>
                  <a:lnTo>
                    <a:pt x="653713" y="1716377"/>
                  </a:lnTo>
                  <a:lnTo>
                    <a:pt x="650287" y="1716377"/>
                  </a:lnTo>
                  <a:lnTo>
                    <a:pt x="650287" y="1700897"/>
                  </a:lnTo>
                  <a:lnTo>
                    <a:pt x="651810" y="1702039"/>
                  </a:lnTo>
                  <a:lnTo>
                    <a:pt x="646480" y="1702039"/>
                  </a:lnTo>
                  <a:lnTo>
                    <a:pt x="646480" y="1696202"/>
                  </a:lnTo>
                  <a:lnTo>
                    <a:pt x="648003" y="1697344"/>
                  </a:lnTo>
                  <a:lnTo>
                    <a:pt x="644450" y="1697344"/>
                  </a:lnTo>
                  <a:lnTo>
                    <a:pt x="644450" y="1691507"/>
                  </a:lnTo>
                  <a:lnTo>
                    <a:pt x="645973" y="1692649"/>
                  </a:lnTo>
                  <a:lnTo>
                    <a:pt x="634807" y="1692649"/>
                  </a:lnTo>
                  <a:lnTo>
                    <a:pt x="634807" y="1686686"/>
                  </a:lnTo>
                  <a:lnTo>
                    <a:pt x="636330" y="1687828"/>
                  </a:lnTo>
                  <a:lnTo>
                    <a:pt x="631000" y="1687828"/>
                  </a:lnTo>
                  <a:lnTo>
                    <a:pt x="631000" y="1677169"/>
                  </a:lnTo>
                  <a:lnTo>
                    <a:pt x="632523" y="1678311"/>
                  </a:lnTo>
                  <a:lnTo>
                    <a:pt x="621357" y="1678311"/>
                  </a:lnTo>
                  <a:lnTo>
                    <a:pt x="621357" y="1667780"/>
                  </a:lnTo>
                  <a:lnTo>
                    <a:pt x="622880" y="1668922"/>
                  </a:lnTo>
                  <a:lnTo>
                    <a:pt x="611587" y="1668922"/>
                  </a:lnTo>
                  <a:lnTo>
                    <a:pt x="611587" y="1662958"/>
                  </a:lnTo>
                  <a:lnTo>
                    <a:pt x="613109" y="1664100"/>
                  </a:lnTo>
                  <a:lnTo>
                    <a:pt x="609684" y="1664100"/>
                  </a:lnTo>
                  <a:lnTo>
                    <a:pt x="609684" y="1653569"/>
                  </a:lnTo>
                  <a:lnTo>
                    <a:pt x="611206" y="1654710"/>
                  </a:lnTo>
                  <a:lnTo>
                    <a:pt x="605750" y="1654710"/>
                  </a:lnTo>
                  <a:lnTo>
                    <a:pt x="605750" y="1648874"/>
                  </a:lnTo>
                  <a:lnTo>
                    <a:pt x="607273" y="1649889"/>
                  </a:lnTo>
                  <a:lnTo>
                    <a:pt x="600040" y="1649889"/>
                  </a:lnTo>
                  <a:lnTo>
                    <a:pt x="600040" y="1639357"/>
                  </a:lnTo>
                  <a:lnTo>
                    <a:pt x="601563" y="1640499"/>
                  </a:lnTo>
                  <a:lnTo>
                    <a:pt x="598010" y="1640499"/>
                  </a:lnTo>
                  <a:lnTo>
                    <a:pt x="598010" y="1634663"/>
                  </a:lnTo>
                  <a:lnTo>
                    <a:pt x="599533" y="1635805"/>
                  </a:lnTo>
                  <a:lnTo>
                    <a:pt x="596107" y="1635805"/>
                  </a:lnTo>
                  <a:lnTo>
                    <a:pt x="596107" y="1629841"/>
                  </a:lnTo>
                  <a:lnTo>
                    <a:pt x="597629" y="1630983"/>
                  </a:lnTo>
                  <a:lnTo>
                    <a:pt x="594204" y="1630983"/>
                  </a:lnTo>
                  <a:lnTo>
                    <a:pt x="594204" y="1620452"/>
                  </a:lnTo>
                  <a:lnTo>
                    <a:pt x="595726" y="1621593"/>
                  </a:lnTo>
                  <a:lnTo>
                    <a:pt x="592300" y="1621593"/>
                  </a:lnTo>
                  <a:lnTo>
                    <a:pt x="592300" y="1615630"/>
                  </a:lnTo>
                  <a:lnTo>
                    <a:pt x="593823" y="1616772"/>
                  </a:lnTo>
                  <a:lnTo>
                    <a:pt x="588367" y="1616772"/>
                  </a:lnTo>
                  <a:lnTo>
                    <a:pt x="588367" y="1611062"/>
                  </a:lnTo>
                  <a:lnTo>
                    <a:pt x="589890" y="1612077"/>
                  </a:lnTo>
                  <a:lnTo>
                    <a:pt x="586464" y="1612077"/>
                  </a:lnTo>
                  <a:lnTo>
                    <a:pt x="586464" y="1606240"/>
                  </a:lnTo>
                  <a:lnTo>
                    <a:pt x="587986" y="1607382"/>
                  </a:lnTo>
                  <a:lnTo>
                    <a:pt x="584560" y="1607382"/>
                  </a:lnTo>
                  <a:lnTo>
                    <a:pt x="584560" y="1601419"/>
                  </a:lnTo>
                  <a:lnTo>
                    <a:pt x="586083" y="1602561"/>
                  </a:lnTo>
                  <a:lnTo>
                    <a:pt x="582657" y="1602561"/>
                  </a:lnTo>
                  <a:lnTo>
                    <a:pt x="582657" y="1596724"/>
                  </a:lnTo>
                  <a:lnTo>
                    <a:pt x="584180" y="1597866"/>
                  </a:lnTo>
                  <a:lnTo>
                    <a:pt x="576820" y="1597866"/>
                  </a:lnTo>
                  <a:lnTo>
                    <a:pt x="576820" y="1592029"/>
                  </a:lnTo>
                  <a:lnTo>
                    <a:pt x="578343" y="1593171"/>
                  </a:lnTo>
                  <a:lnTo>
                    <a:pt x="573014" y="1593171"/>
                  </a:lnTo>
                  <a:lnTo>
                    <a:pt x="573014" y="1582513"/>
                  </a:lnTo>
                  <a:lnTo>
                    <a:pt x="574536" y="1583655"/>
                  </a:lnTo>
                  <a:lnTo>
                    <a:pt x="570984" y="1583655"/>
                  </a:lnTo>
                  <a:lnTo>
                    <a:pt x="570984" y="1573123"/>
                  </a:lnTo>
                  <a:lnTo>
                    <a:pt x="572506" y="1574265"/>
                  </a:lnTo>
                  <a:lnTo>
                    <a:pt x="568953" y="1574265"/>
                  </a:lnTo>
                  <a:lnTo>
                    <a:pt x="568953" y="1568302"/>
                  </a:lnTo>
                  <a:lnTo>
                    <a:pt x="570603" y="1569444"/>
                  </a:lnTo>
                  <a:lnTo>
                    <a:pt x="567050" y="1569444"/>
                  </a:lnTo>
                  <a:lnTo>
                    <a:pt x="567050" y="1563607"/>
                  </a:lnTo>
                  <a:lnTo>
                    <a:pt x="568573" y="1564749"/>
                  </a:lnTo>
                  <a:lnTo>
                    <a:pt x="563244" y="1564749"/>
                  </a:lnTo>
                  <a:lnTo>
                    <a:pt x="563244" y="1558912"/>
                  </a:lnTo>
                  <a:lnTo>
                    <a:pt x="564766" y="1560054"/>
                  </a:lnTo>
                  <a:lnTo>
                    <a:pt x="557407" y="1560054"/>
                  </a:lnTo>
                  <a:lnTo>
                    <a:pt x="557407" y="1554091"/>
                  </a:lnTo>
                  <a:lnTo>
                    <a:pt x="558930" y="1555233"/>
                  </a:lnTo>
                  <a:lnTo>
                    <a:pt x="555504" y="1555233"/>
                  </a:lnTo>
                  <a:lnTo>
                    <a:pt x="555504" y="1549396"/>
                  </a:lnTo>
                  <a:lnTo>
                    <a:pt x="557026" y="1550538"/>
                  </a:lnTo>
                  <a:lnTo>
                    <a:pt x="553600" y="1550538"/>
                  </a:lnTo>
                  <a:lnTo>
                    <a:pt x="553600" y="1544701"/>
                  </a:lnTo>
                  <a:lnTo>
                    <a:pt x="555123" y="1545843"/>
                  </a:lnTo>
                  <a:lnTo>
                    <a:pt x="541927" y="1545843"/>
                  </a:lnTo>
                  <a:lnTo>
                    <a:pt x="541927" y="1539879"/>
                  </a:lnTo>
                  <a:lnTo>
                    <a:pt x="543450" y="1541021"/>
                  </a:lnTo>
                  <a:lnTo>
                    <a:pt x="540024" y="1541021"/>
                  </a:lnTo>
                  <a:lnTo>
                    <a:pt x="540024" y="1535185"/>
                  </a:lnTo>
                  <a:lnTo>
                    <a:pt x="541546" y="1536327"/>
                  </a:lnTo>
                  <a:lnTo>
                    <a:pt x="538120" y="1536327"/>
                  </a:lnTo>
                  <a:lnTo>
                    <a:pt x="538120" y="1530490"/>
                  </a:lnTo>
                  <a:lnTo>
                    <a:pt x="539643" y="1531632"/>
                  </a:lnTo>
                  <a:lnTo>
                    <a:pt x="532284" y="1531632"/>
                  </a:lnTo>
                  <a:lnTo>
                    <a:pt x="532284" y="1525795"/>
                  </a:lnTo>
                  <a:lnTo>
                    <a:pt x="533806" y="1526810"/>
                  </a:lnTo>
                  <a:lnTo>
                    <a:pt x="530000" y="1526810"/>
                  </a:lnTo>
                  <a:lnTo>
                    <a:pt x="524671" y="1526810"/>
                  </a:lnTo>
                  <a:lnTo>
                    <a:pt x="524671" y="1520974"/>
                  </a:lnTo>
                  <a:lnTo>
                    <a:pt x="526193" y="1522115"/>
                  </a:lnTo>
                  <a:lnTo>
                    <a:pt x="522640" y="1522115"/>
                  </a:lnTo>
                  <a:lnTo>
                    <a:pt x="522640" y="1506889"/>
                  </a:lnTo>
                  <a:lnTo>
                    <a:pt x="524163" y="1508031"/>
                  </a:lnTo>
                  <a:lnTo>
                    <a:pt x="514773" y="1508031"/>
                  </a:lnTo>
                  <a:lnTo>
                    <a:pt x="514773" y="1502068"/>
                  </a:lnTo>
                  <a:lnTo>
                    <a:pt x="516296" y="1503210"/>
                  </a:lnTo>
                  <a:lnTo>
                    <a:pt x="510967" y="1503210"/>
                  </a:lnTo>
                  <a:lnTo>
                    <a:pt x="510967" y="1497500"/>
                  </a:lnTo>
                  <a:lnTo>
                    <a:pt x="512490" y="1498515"/>
                  </a:lnTo>
                  <a:lnTo>
                    <a:pt x="503227" y="1498515"/>
                  </a:lnTo>
                  <a:lnTo>
                    <a:pt x="503227" y="1492678"/>
                  </a:lnTo>
                  <a:lnTo>
                    <a:pt x="504750" y="1493820"/>
                  </a:lnTo>
                  <a:lnTo>
                    <a:pt x="501324" y="1493820"/>
                  </a:lnTo>
                  <a:lnTo>
                    <a:pt x="501324" y="1487983"/>
                  </a:lnTo>
                  <a:lnTo>
                    <a:pt x="502846" y="1489125"/>
                  </a:lnTo>
                  <a:lnTo>
                    <a:pt x="499040" y="1489125"/>
                  </a:lnTo>
                  <a:lnTo>
                    <a:pt x="491680" y="1489125"/>
                  </a:lnTo>
                  <a:lnTo>
                    <a:pt x="491680" y="1478594"/>
                  </a:lnTo>
                  <a:lnTo>
                    <a:pt x="493203" y="1479736"/>
                  </a:lnTo>
                  <a:lnTo>
                    <a:pt x="489777" y="1479736"/>
                  </a:lnTo>
                  <a:lnTo>
                    <a:pt x="489777" y="1473899"/>
                  </a:lnTo>
                  <a:lnTo>
                    <a:pt x="491300" y="1475041"/>
                  </a:lnTo>
                  <a:lnTo>
                    <a:pt x="487874" y="1475041"/>
                  </a:lnTo>
                  <a:lnTo>
                    <a:pt x="487874" y="1469204"/>
                  </a:lnTo>
                  <a:lnTo>
                    <a:pt x="489396" y="1470346"/>
                  </a:lnTo>
                  <a:lnTo>
                    <a:pt x="485844" y="1470346"/>
                  </a:lnTo>
                  <a:lnTo>
                    <a:pt x="485844" y="1459815"/>
                  </a:lnTo>
                  <a:lnTo>
                    <a:pt x="487366" y="1460957"/>
                  </a:lnTo>
                  <a:lnTo>
                    <a:pt x="483940" y="1460957"/>
                  </a:lnTo>
                  <a:lnTo>
                    <a:pt x="483940" y="1455120"/>
                  </a:lnTo>
                  <a:lnTo>
                    <a:pt x="485463" y="1456262"/>
                  </a:lnTo>
                  <a:lnTo>
                    <a:pt x="482037" y="1456262"/>
                  </a:lnTo>
                  <a:lnTo>
                    <a:pt x="482037" y="1450425"/>
                  </a:lnTo>
                  <a:lnTo>
                    <a:pt x="483560" y="1451567"/>
                  </a:lnTo>
                  <a:lnTo>
                    <a:pt x="480134" y="1451567"/>
                  </a:lnTo>
                  <a:lnTo>
                    <a:pt x="480134" y="1441163"/>
                  </a:lnTo>
                  <a:lnTo>
                    <a:pt x="481656" y="1442305"/>
                  </a:lnTo>
                  <a:lnTo>
                    <a:pt x="476200" y="1442305"/>
                  </a:lnTo>
                  <a:lnTo>
                    <a:pt x="476200" y="1431646"/>
                  </a:lnTo>
                  <a:lnTo>
                    <a:pt x="477723" y="1432788"/>
                  </a:lnTo>
                  <a:lnTo>
                    <a:pt x="474297" y="1432788"/>
                  </a:lnTo>
                  <a:lnTo>
                    <a:pt x="474297" y="1427078"/>
                  </a:lnTo>
                  <a:lnTo>
                    <a:pt x="475820" y="1428220"/>
                  </a:lnTo>
                  <a:lnTo>
                    <a:pt x="472267" y="1428220"/>
                  </a:lnTo>
                  <a:lnTo>
                    <a:pt x="472267" y="1403605"/>
                  </a:lnTo>
                  <a:lnTo>
                    <a:pt x="473916" y="1404747"/>
                  </a:lnTo>
                  <a:lnTo>
                    <a:pt x="470364" y="1404747"/>
                  </a:lnTo>
                  <a:lnTo>
                    <a:pt x="470364" y="1394215"/>
                  </a:lnTo>
                  <a:lnTo>
                    <a:pt x="471886" y="1395230"/>
                  </a:lnTo>
                  <a:lnTo>
                    <a:pt x="468460" y="1395230"/>
                  </a:lnTo>
                  <a:lnTo>
                    <a:pt x="468460" y="1389520"/>
                  </a:lnTo>
                  <a:lnTo>
                    <a:pt x="469983" y="1390662"/>
                  </a:lnTo>
                  <a:lnTo>
                    <a:pt x="466430" y="1390662"/>
                  </a:lnTo>
                  <a:lnTo>
                    <a:pt x="466430" y="1384826"/>
                  </a:lnTo>
                  <a:lnTo>
                    <a:pt x="467953" y="1385968"/>
                  </a:lnTo>
                  <a:lnTo>
                    <a:pt x="462624" y="1385968"/>
                  </a:lnTo>
                  <a:lnTo>
                    <a:pt x="462624" y="1380131"/>
                  </a:lnTo>
                  <a:lnTo>
                    <a:pt x="464146" y="1381273"/>
                  </a:lnTo>
                  <a:lnTo>
                    <a:pt x="460720" y="1381273"/>
                  </a:lnTo>
                  <a:lnTo>
                    <a:pt x="460720" y="1366047"/>
                  </a:lnTo>
                  <a:lnTo>
                    <a:pt x="462243" y="1367189"/>
                  </a:lnTo>
                  <a:lnTo>
                    <a:pt x="456787" y="1367189"/>
                  </a:lnTo>
                  <a:lnTo>
                    <a:pt x="456787" y="1356784"/>
                  </a:lnTo>
                  <a:lnTo>
                    <a:pt x="458310" y="1357799"/>
                  </a:lnTo>
                  <a:lnTo>
                    <a:pt x="454884" y="1357799"/>
                  </a:lnTo>
                  <a:lnTo>
                    <a:pt x="454884" y="1347268"/>
                  </a:lnTo>
                  <a:lnTo>
                    <a:pt x="456406" y="1348410"/>
                  </a:lnTo>
                  <a:lnTo>
                    <a:pt x="452980" y="1348410"/>
                  </a:lnTo>
                  <a:lnTo>
                    <a:pt x="452980" y="1342573"/>
                  </a:lnTo>
                  <a:lnTo>
                    <a:pt x="454503" y="1343715"/>
                  </a:lnTo>
                  <a:lnTo>
                    <a:pt x="450570" y="1343715"/>
                  </a:lnTo>
                  <a:lnTo>
                    <a:pt x="445240" y="1343715"/>
                  </a:lnTo>
                  <a:lnTo>
                    <a:pt x="445240" y="1328615"/>
                  </a:lnTo>
                  <a:lnTo>
                    <a:pt x="446763" y="1329757"/>
                  </a:lnTo>
                  <a:lnTo>
                    <a:pt x="443337" y="1329757"/>
                  </a:lnTo>
                  <a:lnTo>
                    <a:pt x="443337" y="1323921"/>
                  </a:lnTo>
                  <a:lnTo>
                    <a:pt x="444860" y="1325063"/>
                  </a:lnTo>
                  <a:lnTo>
                    <a:pt x="441434" y="1325063"/>
                  </a:lnTo>
                  <a:lnTo>
                    <a:pt x="441434" y="1319226"/>
                  </a:lnTo>
                  <a:lnTo>
                    <a:pt x="442956" y="1320368"/>
                  </a:lnTo>
                  <a:lnTo>
                    <a:pt x="439404" y="1320368"/>
                  </a:lnTo>
                  <a:lnTo>
                    <a:pt x="439404" y="1300574"/>
                  </a:lnTo>
                  <a:lnTo>
                    <a:pt x="440926" y="1301716"/>
                  </a:lnTo>
                  <a:lnTo>
                    <a:pt x="435597" y="1301716"/>
                  </a:lnTo>
                  <a:lnTo>
                    <a:pt x="435597" y="1295879"/>
                  </a:lnTo>
                  <a:lnTo>
                    <a:pt x="437120" y="1297021"/>
                  </a:lnTo>
                  <a:lnTo>
                    <a:pt x="433694" y="1297021"/>
                  </a:lnTo>
                  <a:lnTo>
                    <a:pt x="433694" y="1291184"/>
                  </a:lnTo>
                  <a:lnTo>
                    <a:pt x="435216" y="1292326"/>
                  </a:lnTo>
                  <a:lnTo>
                    <a:pt x="429760" y="1292326"/>
                  </a:lnTo>
                  <a:lnTo>
                    <a:pt x="429760" y="1286490"/>
                  </a:lnTo>
                  <a:lnTo>
                    <a:pt x="431283" y="1287632"/>
                  </a:lnTo>
                  <a:lnTo>
                    <a:pt x="425954" y="1287632"/>
                  </a:lnTo>
                  <a:lnTo>
                    <a:pt x="425954" y="1277227"/>
                  </a:lnTo>
                  <a:lnTo>
                    <a:pt x="427476" y="1278242"/>
                  </a:lnTo>
                  <a:lnTo>
                    <a:pt x="423924" y="1278242"/>
                  </a:lnTo>
                  <a:lnTo>
                    <a:pt x="423924" y="1272532"/>
                  </a:lnTo>
                  <a:lnTo>
                    <a:pt x="425573" y="1273674"/>
                  </a:lnTo>
                  <a:lnTo>
                    <a:pt x="419990" y="1273674"/>
                  </a:lnTo>
                  <a:lnTo>
                    <a:pt x="419990" y="1267837"/>
                  </a:lnTo>
                  <a:lnTo>
                    <a:pt x="421513" y="1268979"/>
                  </a:lnTo>
                  <a:lnTo>
                    <a:pt x="418087" y="1268979"/>
                  </a:lnTo>
                  <a:lnTo>
                    <a:pt x="418087" y="1258448"/>
                  </a:lnTo>
                  <a:lnTo>
                    <a:pt x="419610" y="1259590"/>
                  </a:lnTo>
                  <a:lnTo>
                    <a:pt x="416184" y="1259590"/>
                  </a:lnTo>
                  <a:lnTo>
                    <a:pt x="416184" y="1253880"/>
                  </a:lnTo>
                  <a:lnTo>
                    <a:pt x="417706" y="1255022"/>
                  </a:lnTo>
                  <a:lnTo>
                    <a:pt x="412377" y="1255022"/>
                  </a:lnTo>
                  <a:lnTo>
                    <a:pt x="412377" y="1244617"/>
                  </a:lnTo>
                  <a:lnTo>
                    <a:pt x="413900" y="1245632"/>
                  </a:lnTo>
                  <a:lnTo>
                    <a:pt x="411870" y="1245632"/>
                  </a:lnTo>
                  <a:lnTo>
                    <a:pt x="408444" y="1245632"/>
                  </a:lnTo>
                  <a:lnTo>
                    <a:pt x="408444" y="1230660"/>
                  </a:lnTo>
                  <a:lnTo>
                    <a:pt x="409966" y="1231802"/>
                  </a:lnTo>
                  <a:lnTo>
                    <a:pt x="406540" y="1231802"/>
                  </a:lnTo>
                  <a:lnTo>
                    <a:pt x="406540" y="1221397"/>
                  </a:lnTo>
                  <a:lnTo>
                    <a:pt x="408063" y="1222539"/>
                  </a:lnTo>
                  <a:lnTo>
                    <a:pt x="402734" y="1222539"/>
                  </a:lnTo>
                  <a:lnTo>
                    <a:pt x="402734" y="1216703"/>
                  </a:lnTo>
                  <a:lnTo>
                    <a:pt x="404256" y="1217845"/>
                  </a:lnTo>
                  <a:lnTo>
                    <a:pt x="398800" y="1217845"/>
                  </a:lnTo>
                  <a:lnTo>
                    <a:pt x="398800" y="1207440"/>
                  </a:lnTo>
                  <a:lnTo>
                    <a:pt x="400323" y="1208582"/>
                  </a:lnTo>
                  <a:lnTo>
                    <a:pt x="393091" y="1208582"/>
                  </a:lnTo>
                  <a:lnTo>
                    <a:pt x="393091" y="1202872"/>
                  </a:lnTo>
                  <a:lnTo>
                    <a:pt x="394613" y="1204014"/>
                  </a:lnTo>
                  <a:lnTo>
                    <a:pt x="391060" y="1204014"/>
                  </a:lnTo>
                  <a:lnTo>
                    <a:pt x="391060" y="1198304"/>
                  </a:lnTo>
                  <a:lnTo>
                    <a:pt x="392583" y="1199319"/>
                  </a:lnTo>
                  <a:lnTo>
                    <a:pt x="389157" y="1199319"/>
                  </a:lnTo>
                  <a:lnTo>
                    <a:pt x="389157" y="1193610"/>
                  </a:lnTo>
                  <a:lnTo>
                    <a:pt x="390680" y="1194752"/>
                  </a:lnTo>
                  <a:lnTo>
                    <a:pt x="385351" y="1194752"/>
                  </a:lnTo>
                  <a:lnTo>
                    <a:pt x="385351" y="1188915"/>
                  </a:lnTo>
                  <a:lnTo>
                    <a:pt x="386873" y="1190057"/>
                  </a:lnTo>
                  <a:lnTo>
                    <a:pt x="383320" y="1190057"/>
                  </a:lnTo>
                  <a:lnTo>
                    <a:pt x="383320" y="1184347"/>
                  </a:lnTo>
                  <a:lnTo>
                    <a:pt x="384843" y="1185489"/>
                  </a:lnTo>
                  <a:lnTo>
                    <a:pt x="379514" y="1185489"/>
                  </a:lnTo>
                  <a:lnTo>
                    <a:pt x="379514" y="1179779"/>
                  </a:lnTo>
                  <a:lnTo>
                    <a:pt x="381036" y="1180921"/>
                  </a:lnTo>
                  <a:lnTo>
                    <a:pt x="375580" y="1180921"/>
                  </a:lnTo>
                  <a:lnTo>
                    <a:pt x="375580" y="1170516"/>
                  </a:lnTo>
                  <a:lnTo>
                    <a:pt x="377103" y="1171658"/>
                  </a:lnTo>
                  <a:lnTo>
                    <a:pt x="367840" y="1171658"/>
                  </a:lnTo>
                  <a:lnTo>
                    <a:pt x="367840" y="1161254"/>
                  </a:lnTo>
                  <a:lnTo>
                    <a:pt x="369363" y="1162396"/>
                  </a:lnTo>
                  <a:lnTo>
                    <a:pt x="365937" y="1162396"/>
                  </a:lnTo>
                  <a:lnTo>
                    <a:pt x="365937" y="1156686"/>
                  </a:lnTo>
                  <a:lnTo>
                    <a:pt x="367460" y="1157828"/>
                  </a:lnTo>
                  <a:lnTo>
                    <a:pt x="363907" y="1157828"/>
                  </a:lnTo>
                  <a:lnTo>
                    <a:pt x="363907" y="1147423"/>
                  </a:lnTo>
                  <a:lnTo>
                    <a:pt x="365430" y="1148565"/>
                  </a:lnTo>
                  <a:lnTo>
                    <a:pt x="356294" y="1148565"/>
                  </a:lnTo>
                  <a:lnTo>
                    <a:pt x="356294" y="1138161"/>
                  </a:lnTo>
                  <a:lnTo>
                    <a:pt x="357816" y="1139303"/>
                  </a:lnTo>
                  <a:lnTo>
                    <a:pt x="352360" y="1139303"/>
                  </a:lnTo>
                  <a:lnTo>
                    <a:pt x="352360" y="1129025"/>
                  </a:lnTo>
                  <a:lnTo>
                    <a:pt x="353883" y="1130040"/>
                  </a:lnTo>
                  <a:lnTo>
                    <a:pt x="342717" y="1130040"/>
                  </a:lnTo>
                  <a:lnTo>
                    <a:pt x="342717" y="1119762"/>
                  </a:lnTo>
                  <a:lnTo>
                    <a:pt x="344240" y="1120904"/>
                  </a:lnTo>
                  <a:lnTo>
                    <a:pt x="340814" y="1120904"/>
                  </a:lnTo>
                  <a:lnTo>
                    <a:pt x="340814" y="1110627"/>
                  </a:lnTo>
                  <a:lnTo>
                    <a:pt x="342336" y="1111642"/>
                  </a:lnTo>
                  <a:lnTo>
                    <a:pt x="338911" y="1111642"/>
                  </a:lnTo>
                  <a:lnTo>
                    <a:pt x="338911" y="1105932"/>
                  </a:lnTo>
                  <a:lnTo>
                    <a:pt x="340433" y="1107074"/>
                  </a:lnTo>
                  <a:lnTo>
                    <a:pt x="337007" y="1107074"/>
                  </a:lnTo>
                  <a:lnTo>
                    <a:pt x="337007" y="1101364"/>
                  </a:lnTo>
                  <a:lnTo>
                    <a:pt x="338530" y="1102506"/>
                  </a:lnTo>
                  <a:lnTo>
                    <a:pt x="333074" y="1102506"/>
                  </a:lnTo>
                  <a:lnTo>
                    <a:pt x="333074" y="1092101"/>
                  </a:lnTo>
                  <a:lnTo>
                    <a:pt x="334596" y="1093243"/>
                  </a:lnTo>
                  <a:lnTo>
                    <a:pt x="331170" y="1093243"/>
                  </a:lnTo>
                  <a:lnTo>
                    <a:pt x="331170" y="1087533"/>
                  </a:lnTo>
                  <a:lnTo>
                    <a:pt x="332693" y="1088676"/>
                  </a:lnTo>
                  <a:lnTo>
                    <a:pt x="329267" y="1088676"/>
                  </a:lnTo>
                  <a:lnTo>
                    <a:pt x="329267" y="1082839"/>
                  </a:lnTo>
                  <a:lnTo>
                    <a:pt x="330790" y="1083981"/>
                  </a:lnTo>
                  <a:lnTo>
                    <a:pt x="327237" y="1083981"/>
                  </a:lnTo>
                  <a:lnTo>
                    <a:pt x="327237" y="1059746"/>
                  </a:lnTo>
                  <a:lnTo>
                    <a:pt x="328760" y="1060888"/>
                  </a:lnTo>
                  <a:lnTo>
                    <a:pt x="325207" y="1060888"/>
                  </a:lnTo>
                  <a:lnTo>
                    <a:pt x="325207" y="1041347"/>
                  </a:lnTo>
                  <a:lnTo>
                    <a:pt x="326730" y="1042489"/>
                  </a:lnTo>
                  <a:lnTo>
                    <a:pt x="323304" y="1042489"/>
                  </a:lnTo>
                  <a:lnTo>
                    <a:pt x="323304" y="1032085"/>
                  </a:lnTo>
                  <a:lnTo>
                    <a:pt x="324826" y="1033227"/>
                  </a:lnTo>
                  <a:lnTo>
                    <a:pt x="321400" y="1033227"/>
                  </a:lnTo>
                  <a:lnTo>
                    <a:pt x="321400" y="1022949"/>
                  </a:lnTo>
                  <a:lnTo>
                    <a:pt x="322923" y="1023964"/>
                  </a:lnTo>
                  <a:lnTo>
                    <a:pt x="319497" y="1023964"/>
                  </a:lnTo>
                  <a:lnTo>
                    <a:pt x="319497" y="1013686"/>
                  </a:lnTo>
                  <a:lnTo>
                    <a:pt x="321020" y="1014828"/>
                  </a:lnTo>
                  <a:lnTo>
                    <a:pt x="313660" y="1014828"/>
                  </a:lnTo>
                  <a:lnTo>
                    <a:pt x="313660" y="1004550"/>
                  </a:lnTo>
                  <a:lnTo>
                    <a:pt x="315183" y="1005566"/>
                  </a:lnTo>
                  <a:lnTo>
                    <a:pt x="311757" y="1005566"/>
                  </a:lnTo>
                  <a:lnTo>
                    <a:pt x="311757" y="990593"/>
                  </a:lnTo>
                  <a:lnTo>
                    <a:pt x="313280" y="991735"/>
                  </a:lnTo>
                  <a:lnTo>
                    <a:pt x="309854" y="991735"/>
                  </a:lnTo>
                  <a:lnTo>
                    <a:pt x="309854" y="986025"/>
                  </a:lnTo>
                  <a:lnTo>
                    <a:pt x="311376" y="987167"/>
                  </a:lnTo>
                  <a:lnTo>
                    <a:pt x="307824" y="987167"/>
                  </a:lnTo>
                  <a:lnTo>
                    <a:pt x="307824" y="976763"/>
                  </a:lnTo>
                  <a:lnTo>
                    <a:pt x="309346" y="977905"/>
                  </a:lnTo>
                  <a:lnTo>
                    <a:pt x="305920" y="977905"/>
                  </a:lnTo>
                  <a:lnTo>
                    <a:pt x="305920" y="972195"/>
                  </a:lnTo>
                  <a:lnTo>
                    <a:pt x="307443" y="973337"/>
                  </a:lnTo>
                  <a:lnTo>
                    <a:pt x="304017" y="973337"/>
                  </a:lnTo>
                  <a:lnTo>
                    <a:pt x="304017" y="962932"/>
                  </a:lnTo>
                  <a:lnTo>
                    <a:pt x="305540" y="964074"/>
                  </a:lnTo>
                  <a:lnTo>
                    <a:pt x="302114" y="964074"/>
                  </a:lnTo>
                  <a:lnTo>
                    <a:pt x="302114" y="958364"/>
                  </a:lnTo>
                  <a:lnTo>
                    <a:pt x="303636" y="959506"/>
                  </a:lnTo>
                  <a:lnTo>
                    <a:pt x="300211" y="959506"/>
                  </a:lnTo>
                  <a:lnTo>
                    <a:pt x="300211" y="949102"/>
                  </a:lnTo>
                  <a:lnTo>
                    <a:pt x="301733" y="950244"/>
                  </a:lnTo>
                  <a:lnTo>
                    <a:pt x="296277" y="950244"/>
                  </a:lnTo>
                  <a:lnTo>
                    <a:pt x="296277" y="939966"/>
                  </a:lnTo>
                  <a:lnTo>
                    <a:pt x="297800" y="941108"/>
                  </a:lnTo>
                  <a:lnTo>
                    <a:pt x="294374" y="941108"/>
                  </a:lnTo>
                  <a:lnTo>
                    <a:pt x="294374" y="935271"/>
                  </a:lnTo>
                  <a:lnTo>
                    <a:pt x="295896" y="936413"/>
                  </a:lnTo>
                  <a:lnTo>
                    <a:pt x="290567" y="936413"/>
                  </a:lnTo>
                  <a:lnTo>
                    <a:pt x="290567" y="930703"/>
                  </a:lnTo>
                  <a:lnTo>
                    <a:pt x="292090" y="931845"/>
                  </a:lnTo>
                  <a:lnTo>
                    <a:pt x="288537" y="931845"/>
                  </a:lnTo>
                  <a:lnTo>
                    <a:pt x="288537" y="921568"/>
                  </a:lnTo>
                  <a:lnTo>
                    <a:pt x="290060" y="922710"/>
                  </a:lnTo>
                  <a:lnTo>
                    <a:pt x="286634" y="922710"/>
                  </a:lnTo>
                  <a:lnTo>
                    <a:pt x="286634" y="912305"/>
                  </a:lnTo>
                  <a:lnTo>
                    <a:pt x="288156" y="913447"/>
                  </a:lnTo>
                  <a:lnTo>
                    <a:pt x="284731" y="913447"/>
                  </a:lnTo>
                  <a:lnTo>
                    <a:pt x="284731" y="898474"/>
                  </a:lnTo>
                  <a:lnTo>
                    <a:pt x="286253" y="899616"/>
                  </a:lnTo>
                  <a:lnTo>
                    <a:pt x="280797" y="899616"/>
                  </a:lnTo>
                  <a:lnTo>
                    <a:pt x="280797" y="893907"/>
                  </a:lnTo>
                  <a:lnTo>
                    <a:pt x="282447" y="895049"/>
                  </a:lnTo>
                  <a:lnTo>
                    <a:pt x="278767" y="895049"/>
                  </a:lnTo>
                  <a:lnTo>
                    <a:pt x="278767" y="884771"/>
                  </a:lnTo>
                  <a:lnTo>
                    <a:pt x="280290" y="885913"/>
                  </a:lnTo>
                  <a:lnTo>
                    <a:pt x="276864" y="885913"/>
                  </a:lnTo>
                  <a:lnTo>
                    <a:pt x="276864" y="870940"/>
                  </a:lnTo>
                  <a:lnTo>
                    <a:pt x="278386" y="872082"/>
                  </a:lnTo>
                  <a:lnTo>
                    <a:pt x="274960" y="872082"/>
                  </a:lnTo>
                  <a:lnTo>
                    <a:pt x="274960" y="861805"/>
                  </a:lnTo>
                  <a:lnTo>
                    <a:pt x="276483" y="862947"/>
                  </a:lnTo>
                  <a:lnTo>
                    <a:pt x="273057" y="862947"/>
                  </a:lnTo>
                  <a:lnTo>
                    <a:pt x="273057" y="847974"/>
                  </a:lnTo>
                  <a:lnTo>
                    <a:pt x="274580" y="849116"/>
                  </a:lnTo>
                  <a:lnTo>
                    <a:pt x="269124" y="849116"/>
                  </a:lnTo>
                  <a:lnTo>
                    <a:pt x="269124" y="843406"/>
                  </a:lnTo>
                  <a:lnTo>
                    <a:pt x="270646" y="844548"/>
                  </a:lnTo>
                  <a:lnTo>
                    <a:pt x="267220" y="844548"/>
                  </a:lnTo>
                  <a:lnTo>
                    <a:pt x="267220" y="834271"/>
                  </a:lnTo>
                  <a:lnTo>
                    <a:pt x="268743" y="835413"/>
                  </a:lnTo>
                  <a:lnTo>
                    <a:pt x="263414" y="835413"/>
                  </a:lnTo>
                  <a:lnTo>
                    <a:pt x="263414" y="829703"/>
                  </a:lnTo>
                  <a:lnTo>
                    <a:pt x="264936" y="830845"/>
                  </a:lnTo>
                  <a:lnTo>
                    <a:pt x="259480" y="830845"/>
                  </a:lnTo>
                  <a:lnTo>
                    <a:pt x="259480" y="815872"/>
                  </a:lnTo>
                  <a:lnTo>
                    <a:pt x="261003" y="817014"/>
                  </a:lnTo>
                  <a:lnTo>
                    <a:pt x="257577" y="817014"/>
                  </a:lnTo>
                  <a:lnTo>
                    <a:pt x="257577" y="792906"/>
                  </a:lnTo>
                  <a:lnTo>
                    <a:pt x="259100" y="794048"/>
                  </a:lnTo>
                  <a:lnTo>
                    <a:pt x="255674" y="794048"/>
                  </a:lnTo>
                  <a:lnTo>
                    <a:pt x="255674" y="788338"/>
                  </a:lnTo>
                  <a:lnTo>
                    <a:pt x="257196" y="789480"/>
                  </a:lnTo>
                  <a:lnTo>
                    <a:pt x="253771" y="789480"/>
                  </a:lnTo>
                  <a:lnTo>
                    <a:pt x="253771" y="774634"/>
                  </a:lnTo>
                  <a:lnTo>
                    <a:pt x="255293" y="775649"/>
                  </a:lnTo>
                  <a:lnTo>
                    <a:pt x="249837" y="775649"/>
                  </a:lnTo>
                  <a:lnTo>
                    <a:pt x="249837" y="760804"/>
                  </a:lnTo>
                  <a:lnTo>
                    <a:pt x="251360" y="761946"/>
                  </a:lnTo>
                  <a:lnTo>
                    <a:pt x="244127" y="761946"/>
                  </a:lnTo>
                  <a:lnTo>
                    <a:pt x="244127" y="737838"/>
                  </a:lnTo>
                  <a:lnTo>
                    <a:pt x="245650" y="738980"/>
                  </a:lnTo>
                  <a:lnTo>
                    <a:pt x="242097" y="738980"/>
                  </a:lnTo>
                  <a:lnTo>
                    <a:pt x="242097" y="728702"/>
                  </a:lnTo>
                  <a:lnTo>
                    <a:pt x="243620" y="729717"/>
                  </a:lnTo>
                  <a:lnTo>
                    <a:pt x="240194" y="729717"/>
                  </a:lnTo>
                  <a:lnTo>
                    <a:pt x="240194" y="710304"/>
                  </a:lnTo>
                  <a:lnTo>
                    <a:pt x="241716" y="711319"/>
                  </a:lnTo>
                  <a:lnTo>
                    <a:pt x="238290" y="711319"/>
                  </a:lnTo>
                  <a:lnTo>
                    <a:pt x="238290" y="701041"/>
                  </a:lnTo>
                  <a:lnTo>
                    <a:pt x="239813" y="702183"/>
                  </a:lnTo>
                  <a:lnTo>
                    <a:pt x="236387" y="702183"/>
                  </a:lnTo>
                  <a:lnTo>
                    <a:pt x="236387" y="687337"/>
                  </a:lnTo>
                  <a:lnTo>
                    <a:pt x="237910" y="688352"/>
                  </a:lnTo>
                  <a:lnTo>
                    <a:pt x="232327" y="688352"/>
                  </a:lnTo>
                  <a:lnTo>
                    <a:pt x="232327" y="668939"/>
                  </a:lnTo>
                  <a:lnTo>
                    <a:pt x="233976" y="670081"/>
                  </a:lnTo>
                  <a:lnTo>
                    <a:pt x="230424" y="670081"/>
                  </a:lnTo>
                  <a:lnTo>
                    <a:pt x="230424" y="664371"/>
                  </a:lnTo>
                  <a:lnTo>
                    <a:pt x="231946" y="665513"/>
                  </a:lnTo>
                  <a:lnTo>
                    <a:pt x="228520" y="665513"/>
                  </a:lnTo>
                  <a:lnTo>
                    <a:pt x="228520" y="659803"/>
                  </a:lnTo>
                  <a:lnTo>
                    <a:pt x="230043" y="660945"/>
                  </a:lnTo>
                  <a:lnTo>
                    <a:pt x="226617" y="660945"/>
                  </a:lnTo>
                  <a:lnTo>
                    <a:pt x="226617" y="655109"/>
                  </a:lnTo>
                  <a:lnTo>
                    <a:pt x="228140" y="656251"/>
                  </a:lnTo>
                  <a:lnTo>
                    <a:pt x="224714" y="656251"/>
                  </a:lnTo>
                  <a:lnTo>
                    <a:pt x="224714" y="650541"/>
                  </a:lnTo>
                  <a:lnTo>
                    <a:pt x="226236" y="651683"/>
                  </a:lnTo>
                  <a:lnTo>
                    <a:pt x="220780" y="651683"/>
                  </a:lnTo>
                  <a:lnTo>
                    <a:pt x="220780" y="645973"/>
                  </a:lnTo>
                  <a:lnTo>
                    <a:pt x="222303" y="647115"/>
                  </a:lnTo>
                  <a:lnTo>
                    <a:pt x="218877" y="647115"/>
                  </a:lnTo>
                  <a:lnTo>
                    <a:pt x="218877" y="641405"/>
                  </a:lnTo>
                  <a:lnTo>
                    <a:pt x="220400" y="642547"/>
                  </a:lnTo>
                  <a:lnTo>
                    <a:pt x="216974" y="642547"/>
                  </a:lnTo>
                  <a:lnTo>
                    <a:pt x="216974" y="632269"/>
                  </a:lnTo>
                  <a:lnTo>
                    <a:pt x="218496" y="633411"/>
                  </a:lnTo>
                  <a:lnTo>
                    <a:pt x="215070" y="633411"/>
                  </a:lnTo>
                  <a:lnTo>
                    <a:pt x="215070" y="627701"/>
                  </a:lnTo>
                  <a:lnTo>
                    <a:pt x="216593" y="628843"/>
                  </a:lnTo>
                  <a:lnTo>
                    <a:pt x="213040" y="628843"/>
                  </a:lnTo>
                  <a:lnTo>
                    <a:pt x="213040" y="609430"/>
                  </a:lnTo>
                  <a:lnTo>
                    <a:pt x="214563" y="610572"/>
                  </a:lnTo>
                  <a:lnTo>
                    <a:pt x="205427" y="610572"/>
                  </a:lnTo>
                  <a:lnTo>
                    <a:pt x="205427" y="604862"/>
                  </a:lnTo>
                  <a:lnTo>
                    <a:pt x="206950" y="606004"/>
                  </a:lnTo>
                  <a:lnTo>
                    <a:pt x="203397" y="606004"/>
                  </a:lnTo>
                  <a:lnTo>
                    <a:pt x="203397" y="600294"/>
                  </a:lnTo>
                  <a:lnTo>
                    <a:pt x="204920" y="601309"/>
                  </a:lnTo>
                  <a:lnTo>
                    <a:pt x="201494" y="601309"/>
                  </a:lnTo>
                  <a:lnTo>
                    <a:pt x="201494" y="595726"/>
                  </a:lnTo>
                  <a:lnTo>
                    <a:pt x="203016" y="596741"/>
                  </a:lnTo>
                  <a:lnTo>
                    <a:pt x="199591" y="596741"/>
                  </a:lnTo>
                  <a:lnTo>
                    <a:pt x="199591" y="591158"/>
                  </a:lnTo>
                  <a:lnTo>
                    <a:pt x="201113" y="592173"/>
                  </a:lnTo>
                  <a:lnTo>
                    <a:pt x="195784" y="592173"/>
                  </a:lnTo>
                  <a:lnTo>
                    <a:pt x="195784" y="586464"/>
                  </a:lnTo>
                  <a:lnTo>
                    <a:pt x="197307" y="587606"/>
                  </a:lnTo>
                  <a:lnTo>
                    <a:pt x="193754" y="587606"/>
                  </a:lnTo>
                  <a:lnTo>
                    <a:pt x="193754" y="581896"/>
                  </a:lnTo>
                  <a:lnTo>
                    <a:pt x="195276" y="583038"/>
                  </a:lnTo>
                  <a:lnTo>
                    <a:pt x="191851" y="583038"/>
                  </a:lnTo>
                  <a:lnTo>
                    <a:pt x="191851" y="572887"/>
                  </a:lnTo>
                  <a:lnTo>
                    <a:pt x="193373" y="574029"/>
                  </a:lnTo>
                  <a:lnTo>
                    <a:pt x="189947" y="574029"/>
                  </a:lnTo>
                  <a:lnTo>
                    <a:pt x="189947" y="563751"/>
                  </a:lnTo>
                  <a:lnTo>
                    <a:pt x="191470" y="564893"/>
                  </a:lnTo>
                  <a:lnTo>
                    <a:pt x="188044" y="564893"/>
                  </a:lnTo>
                  <a:lnTo>
                    <a:pt x="188044" y="554615"/>
                  </a:lnTo>
                  <a:lnTo>
                    <a:pt x="189567" y="555757"/>
                  </a:lnTo>
                  <a:lnTo>
                    <a:pt x="186014" y="555757"/>
                  </a:lnTo>
                  <a:lnTo>
                    <a:pt x="186014" y="545480"/>
                  </a:lnTo>
                  <a:lnTo>
                    <a:pt x="187536" y="546495"/>
                  </a:lnTo>
                  <a:lnTo>
                    <a:pt x="182080" y="546495"/>
                  </a:lnTo>
                  <a:lnTo>
                    <a:pt x="182080" y="531776"/>
                  </a:lnTo>
                  <a:lnTo>
                    <a:pt x="183603" y="532918"/>
                  </a:lnTo>
                  <a:lnTo>
                    <a:pt x="180177" y="532918"/>
                  </a:lnTo>
                  <a:lnTo>
                    <a:pt x="180177" y="527208"/>
                  </a:lnTo>
                  <a:lnTo>
                    <a:pt x="181700" y="528350"/>
                  </a:lnTo>
                  <a:lnTo>
                    <a:pt x="178274" y="528350"/>
                  </a:lnTo>
                  <a:lnTo>
                    <a:pt x="178274" y="522640"/>
                  </a:lnTo>
                  <a:lnTo>
                    <a:pt x="179796" y="523782"/>
                  </a:lnTo>
                  <a:lnTo>
                    <a:pt x="174340" y="523782"/>
                  </a:lnTo>
                  <a:lnTo>
                    <a:pt x="174340" y="513505"/>
                  </a:lnTo>
                  <a:lnTo>
                    <a:pt x="175863" y="514647"/>
                  </a:lnTo>
                  <a:lnTo>
                    <a:pt x="172437" y="514647"/>
                  </a:lnTo>
                  <a:lnTo>
                    <a:pt x="172437" y="509064"/>
                  </a:lnTo>
                  <a:lnTo>
                    <a:pt x="173960" y="510079"/>
                  </a:lnTo>
                  <a:lnTo>
                    <a:pt x="168631" y="510079"/>
                  </a:lnTo>
                  <a:lnTo>
                    <a:pt x="168631" y="486224"/>
                  </a:lnTo>
                  <a:lnTo>
                    <a:pt x="170153" y="487366"/>
                  </a:lnTo>
                  <a:lnTo>
                    <a:pt x="166600" y="487366"/>
                  </a:lnTo>
                  <a:lnTo>
                    <a:pt x="166600" y="477089"/>
                  </a:lnTo>
                  <a:lnTo>
                    <a:pt x="168123" y="478230"/>
                  </a:lnTo>
                  <a:lnTo>
                    <a:pt x="162794" y="478230"/>
                  </a:lnTo>
                  <a:lnTo>
                    <a:pt x="162794" y="449681"/>
                  </a:lnTo>
                  <a:lnTo>
                    <a:pt x="164316" y="450823"/>
                  </a:lnTo>
                  <a:lnTo>
                    <a:pt x="160890" y="450823"/>
                  </a:lnTo>
                  <a:lnTo>
                    <a:pt x="160890" y="445240"/>
                  </a:lnTo>
                  <a:lnTo>
                    <a:pt x="162413" y="446382"/>
                  </a:lnTo>
                  <a:lnTo>
                    <a:pt x="158987" y="446382"/>
                  </a:lnTo>
                  <a:lnTo>
                    <a:pt x="158987" y="440672"/>
                  </a:lnTo>
                  <a:lnTo>
                    <a:pt x="160510" y="441814"/>
                  </a:lnTo>
                  <a:lnTo>
                    <a:pt x="156957" y="441814"/>
                  </a:lnTo>
                  <a:lnTo>
                    <a:pt x="156957" y="436105"/>
                  </a:lnTo>
                  <a:lnTo>
                    <a:pt x="158480" y="437247"/>
                  </a:lnTo>
                  <a:lnTo>
                    <a:pt x="155054" y="437247"/>
                  </a:lnTo>
                  <a:lnTo>
                    <a:pt x="155054" y="426969"/>
                  </a:lnTo>
                  <a:lnTo>
                    <a:pt x="156576" y="428111"/>
                  </a:lnTo>
                  <a:lnTo>
                    <a:pt x="153150" y="428111"/>
                  </a:lnTo>
                  <a:lnTo>
                    <a:pt x="153150" y="413265"/>
                  </a:lnTo>
                  <a:lnTo>
                    <a:pt x="154673" y="414407"/>
                  </a:lnTo>
                  <a:lnTo>
                    <a:pt x="151247" y="414407"/>
                  </a:lnTo>
                  <a:lnTo>
                    <a:pt x="151247" y="404256"/>
                  </a:lnTo>
                  <a:lnTo>
                    <a:pt x="152770" y="405398"/>
                  </a:lnTo>
                  <a:lnTo>
                    <a:pt x="149344" y="405398"/>
                  </a:lnTo>
                  <a:lnTo>
                    <a:pt x="149344" y="395121"/>
                  </a:lnTo>
                  <a:lnTo>
                    <a:pt x="150867" y="396263"/>
                  </a:lnTo>
                  <a:lnTo>
                    <a:pt x="147314" y="396263"/>
                  </a:lnTo>
                  <a:lnTo>
                    <a:pt x="147314" y="381417"/>
                  </a:lnTo>
                  <a:lnTo>
                    <a:pt x="148836" y="382559"/>
                  </a:lnTo>
                  <a:lnTo>
                    <a:pt x="143507" y="382559"/>
                  </a:lnTo>
                  <a:lnTo>
                    <a:pt x="143507" y="372281"/>
                  </a:lnTo>
                  <a:lnTo>
                    <a:pt x="145030" y="373423"/>
                  </a:lnTo>
                  <a:lnTo>
                    <a:pt x="141604" y="373423"/>
                  </a:lnTo>
                  <a:lnTo>
                    <a:pt x="141604" y="367713"/>
                  </a:lnTo>
                  <a:lnTo>
                    <a:pt x="143127" y="368855"/>
                  </a:lnTo>
                  <a:lnTo>
                    <a:pt x="141223" y="368855"/>
                  </a:lnTo>
                  <a:lnTo>
                    <a:pt x="137670" y="368855"/>
                  </a:lnTo>
                  <a:lnTo>
                    <a:pt x="137670" y="358705"/>
                  </a:lnTo>
                  <a:lnTo>
                    <a:pt x="139193" y="359847"/>
                  </a:lnTo>
                  <a:lnTo>
                    <a:pt x="137290" y="359847"/>
                  </a:lnTo>
                  <a:lnTo>
                    <a:pt x="133737" y="359847"/>
                  </a:lnTo>
                  <a:lnTo>
                    <a:pt x="133737" y="340433"/>
                  </a:lnTo>
                  <a:lnTo>
                    <a:pt x="135260" y="341575"/>
                  </a:lnTo>
                  <a:lnTo>
                    <a:pt x="131834" y="341575"/>
                  </a:lnTo>
                  <a:lnTo>
                    <a:pt x="131834" y="335992"/>
                  </a:lnTo>
                  <a:lnTo>
                    <a:pt x="133356" y="337134"/>
                  </a:lnTo>
                  <a:lnTo>
                    <a:pt x="129930" y="337134"/>
                  </a:lnTo>
                  <a:lnTo>
                    <a:pt x="129930" y="331424"/>
                  </a:lnTo>
                  <a:lnTo>
                    <a:pt x="131453" y="332566"/>
                  </a:lnTo>
                  <a:lnTo>
                    <a:pt x="127900" y="332566"/>
                  </a:lnTo>
                  <a:lnTo>
                    <a:pt x="127900" y="326983"/>
                  </a:lnTo>
                  <a:lnTo>
                    <a:pt x="129423" y="327998"/>
                  </a:lnTo>
                  <a:lnTo>
                    <a:pt x="125997" y="327998"/>
                  </a:lnTo>
                  <a:lnTo>
                    <a:pt x="125997" y="317721"/>
                  </a:lnTo>
                  <a:lnTo>
                    <a:pt x="127520" y="318863"/>
                  </a:lnTo>
                  <a:lnTo>
                    <a:pt x="124094" y="318863"/>
                  </a:lnTo>
                  <a:lnTo>
                    <a:pt x="124094" y="313280"/>
                  </a:lnTo>
                  <a:lnTo>
                    <a:pt x="125616" y="314422"/>
                  </a:lnTo>
                  <a:lnTo>
                    <a:pt x="122191" y="314422"/>
                  </a:lnTo>
                  <a:lnTo>
                    <a:pt x="122191" y="308712"/>
                  </a:lnTo>
                  <a:lnTo>
                    <a:pt x="123713" y="309854"/>
                  </a:lnTo>
                  <a:lnTo>
                    <a:pt x="120160" y="309854"/>
                  </a:lnTo>
                  <a:lnTo>
                    <a:pt x="120160" y="295135"/>
                  </a:lnTo>
                  <a:lnTo>
                    <a:pt x="121683" y="296277"/>
                  </a:lnTo>
                  <a:lnTo>
                    <a:pt x="118257" y="296277"/>
                  </a:lnTo>
                  <a:lnTo>
                    <a:pt x="118257" y="290567"/>
                  </a:lnTo>
                  <a:lnTo>
                    <a:pt x="119780" y="291709"/>
                  </a:lnTo>
                  <a:lnTo>
                    <a:pt x="116354" y="291709"/>
                  </a:lnTo>
                  <a:lnTo>
                    <a:pt x="116354" y="286126"/>
                  </a:lnTo>
                  <a:lnTo>
                    <a:pt x="117876" y="287268"/>
                  </a:lnTo>
                  <a:lnTo>
                    <a:pt x="114450" y="287268"/>
                  </a:lnTo>
                  <a:lnTo>
                    <a:pt x="114450" y="281558"/>
                  </a:lnTo>
                  <a:lnTo>
                    <a:pt x="115973" y="282700"/>
                  </a:lnTo>
                  <a:lnTo>
                    <a:pt x="110517" y="282700"/>
                  </a:lnTo>
                  <a:lnTo>
                    <a:pt x="110517" y="272423"/>
                  </a:lnTo>
                  <a:lnTo>
                    <a:pt x="112040" y="273565"/>
                  </a:lnTo>
                  <a:lnTo>
                    <a:pt x="108614" y="273565"/>
                  </a:lnTo>
                  <a:lnTo>
                    <a:pt x="108614" y="254405"/>
                  </a:lnTo>
                  <a:lnTo>
                    <a:pt x="110136" y="255547"/>
                  </a:lnTo>
                  <a:lnTo>
                    <a:pt x="106710" y="255547"/>
                  </a:lnTo>
                  <a:lnTo>
                    <a:pt x="106710" y="245396"/>
                  </a:lnTo>
                  <a:lnTo>
                    <a:pt x="108233" y="246538"/>
                  </a:lnTo>
                  <a:lnTo>
                    <a:pt x="102904" y="246538"/>
                  </a:lnTo>
                  <a:lnTo>
                    <a:pt x="102904" y="236387"/>
                  </a:lnTo>
                  <a:lnTo>
                    <a:pt x="104427" y="237529"/>
                  </a:lnTo>
                  <a:lnTo>
                    <a:pt x="100874" y="237529"/>
                  </a:lnTo>
                  <a:lnTo>
                    <a:pt x="100874" y="222684"/>
                  </a:lnTo>
                  <a:lnTo>
                    <a:pt x="102396" y="223826"/>
                  </a:lnTo>
                  <a:lnTo>
                    <a:pt x="97067" y="223826"/>
                  </a:lnTo>
                  <a:lnTo>
                    <a:pt x="97067" y="218243"/>
                  </a:lnTo>
                  <a:lnTo>
                    <a:pt x="98590" y="219385"/>
                  </a:lnTo>
                  <a:lnTo>
                    <a:pt x="95164" y="219385"/>
                  </a:lnTo>
                  <a:lnTo>
                    <a:pt x="95164" y="204666"/>
                  </a:lnTo>
                  <a:lnTo>
                    <a:pt x="96687" y="205808"/>
                  </a:lnTo>
                  <a:lnTo>
                    <a:pt x="93261" y="205808"/>
                  </a:lnTo>
                  <a:lnTo>
                    <a:pt x="93261" y="191089"/>
                  </a:lnTo>
                  <a:lnTo>
                    <a:pt x="94783" y="192231"/>
                  </a:lnTo>
                  <a:lnTo>
                    <a:pt x="91230" y="192231"/>
                  </a:lnTo>
                  <a:lnTo>
                    <a:pt x="91230" y="186521"/>
                  </a:lnTo>
                  <a:lnTo>
                    <a:pt x="92753" y="187663"/>
                  </a:lnTo>
                  <a:lnTo>
                    <a:pt x="81460" y="187663"/>
                  </a:lnTo>
                  <a:lnTo>
                    <a:pt x="81460" y="181953"/>
                  </a:lnTo>
                  <a:lnTo>
                    <a:pt x="82983" y="183095"/>
                  </a:lnTo>
                  <a:lnTo>
                    <a:pt x="68011" y="183095"/>
                  </a:lnTo>
                  <a:lnTo>
                    <a:pt x="68011" y="177512"/>
                  </a:lnTo>
                  <a:lnTo>
                    <a:pt x="69533" y="178654"/>
                  </a:lnTo>
                  <a:lnTo>
                    <a:pt x="66107" y="178654"/>
                  </a:lnTo>
                  <a:lnTo>
                    <a:pt x="66107" y="173071"/>
                  </a:lnTo>
                  <a:lnTo>
                    <a:pt x="67630" y="174213"/>
                  </a:lnTo>
                  <a:lnTo>
                    <a:pt x="62174" y="174213"/>
                  </a:lnTo>
                  <a:lnTo>
                    <a:pt x="62174" y="168504"/>
                  </a:lnTo>
                  <a:lnTo>
                    <a:pt x="63696" y="169519"/>
                  </a:lnTo>
                  <a:lnTo>
                    <a:pt x="56464" y="169519"/>
                  </a:lnTo>
                  <a:lnTo>
                    <a:pt x="56464" y="159368"/>
                  </a:lnTo>
                  <a:lnTo>
                    <a:pt x="57987" y="160510"/>
                  </a:lnTo>
                  <a:lnTo>
                    <a:pt x="54434" y="160510"/>
                  </a:lnTo>
                  <a:lnTo>
                    <a:pt x="54434" y="154927"/>
                  </a:lnTo>
                  <a:lnTo>
                    <a:pt x="55956" y="156069"/>
                  </a:lnTo>
                  <a:lnTo>
                    <a:pt x="52530" y="156069"/>
                  </a:lnTo>
                  <a:lnTo>
                    <a:pt x="52530" y="145918"/>
                  </a:lnTo>
                  <a:lnTo>
                    <a:pt x="54053" y="146933"/>
                  </a:lnTo>
                  <a:lnTo>
                    <a:pt x="50627" y="146933"/>
                  </a:lnTo>
                  <a:lnTo>
                    <a:pt x="50627" y="136782"/>
                  </a:lnTo>
                  <a:lnTo>
                    <a:pt x="52150" y="137924"/>
                  </a:lnTo>
                  <a:lnTo>
                    <a:pt x="48724" y="137924"/>
                  </a:lnTo>
                  <a:lnTo>
                    <a:pt x="48724" y="132341"/>
                  </a:lnTo>
                  <a:lnTo>
                    <a:pt x="50247" y="133483"/>
                  </a:lnTo>
                  <a:lnTo>
                    <a:pt x="42887" y="133483"/>
                  </a:lnTo>
                  <a:lnTo>
                    <a:pt x="42887" y="118638"/>
                  </a:lnTo>
                  <a:lnTo>
                    <a:pt x="44410" y="119780"/>
                  </a:lnTo>
                  <a:lnTo>
                    <a:pt x="40984" y="119780"/>
                  </a:lnTo>
                  <a:lnTo>
                    <a:pt x="40984" y="105188"/>
                  </a:lnTo>
                  <a:lnTo>
                    <a:pt x="42507" y="106203"/>
                  </a:lnTo>
                  <a:lnTo>
                    <a:pt x="38954" y="106203"/>
                  </a:lnTo>
                  <a:lnTo>
                    <a:pt x="38954" y="91484"/>
                  </a:lnTo>
                  <a:lnTo>
                    <a:pt x="40603" y="92626"/>
                  </a:lnTo>
                  <a:lnTo>
                    <a:pt x="37050" y="92626"/>
                  </a:lnTo>
                  <a:lnTo>
                    <a:pt x="37050" y="78034"/>
                  </a:lnTo>
                  <a:lnTo>
                    <a:pt x="38573" y="79050"/>
                  </a:lnTo>
                  <a:lnTo>
                    <a:pt x="35020" y="79050"/>
                  </a:lnTo>
                  <a:lnTo>
                    <a:pt x="35020" y="73467"/>
                  </a:lnTo>
                  <a:lnTo>
                    <a:pt x="36543" y="74609"/>
                  </a:lnTo>
                  <a:lnTo>
                    <a:pt x="33117" y="74609"/>
                  </a:lnTo>
                  <a:lnTo>
                    <a:pt x="33117" y="68899"/>
                  </a:lnTo>
                  <a:lnTo>
                    <a:pt x="34640" y="70041"/>
                  </a:lnTo>
                  <a:lnTo>
                    <a:pt x="31214" y="70041"/>
                  </a:lnTo>
                  <a:lnTo>
                    <a:pt x="31214" y="64458"/>
                  </a:lnTo>
                  <a:lnTo>
                    <a:pt x="32736" y="65600"/>
                  </a:lnTo>
                  <a:lnTo>
                    <a:pt x="29310" y="65600"/>
                  </a:lnTo>
                  <a:lnTo>
                    <a:pt x="29310" y="55322"/>
                  </a:lnTo>
                  <a:lnTo>
                    <a:pt x="30833" y="56464"/>
                  </a:lnTo>
                  <a:lnTo>
                    <a:pt x="27407" y="56464"/>
                  </a:lnTo>
                  <a:lnTo>
                    <a:pt x="27407" y="46313"/>
                  </a:lnTo>
                  <a:lnTo>
                    <a:pt x="28930" y="47455"/>
                  </a:lnTo>
                  <a:lnTo>
                    <a:pt x="23474" y="47455"/>
                  </a:lnTo>
                  <a:lnTo>
                    <a:pt x="23474" y="37304"/>
                  </a:lnTo>
                  <a:lnTo>
                    <a:pt x="24996" y="38319"/>
                  </a:lnTo>
                  <a:lnTo>
                    <a:pt x="19667" y="38319"/>
                  </a:lnTo>
                  <a:lnTo>
                    <a:pt x="19667" y="32736"/>
                  </a:lnTo>
                  <a:lnTo>
                    <a:pt x="21190" y="33878"/>
                  </a:lnTo>
                  <a:lnTo>
                    <a:pt x="15734" y="33878"/>
                  </a:lnTo>
                  <a:lnTo>
                    <a:pt x="15734" y="28169"/>
                  </a:lnTo>
                  <a:lnTo>
                    <a:pt x="17256" y="29310"/>
                  </a:lnTo>
                  <a:lnTo>
                    <a:pt x="13830" y="29310"/>
                  </a:lnTo>
                  <a:lnTo>
                    <a:pt x="13830" y="23728"/>
                  </a:lnTo>
                  <a:lnTo>
                    <a:pt x="15353" y="24870"/>
                  </a:lnTo>
                  <a:lnTo>
                    <a:pt x="11927" y="24870"/>
                  </a:lnTo>
                  <a:lnTo>
                    <a:pt x="11927" y="19160"/>
                  </a:lnTo>
                  <a:lnTo>
                    <a:pt x="13450" y="20302"/>
                  </a:lnTo>
                  <a:lnTo>
                    <a:pt x="10024" y="20302"/>
                  </a:lnTo>
                  <a:lnTo>
                    <a:pt x="10024" y="14719"/>
                  </a:lnTo>
                  <a:lnTo>
                    <a:pt x="11547" y="15734"/>
                  </a:lnTo>
                  <a:lnTo>
                    <a:pt x="3807" y="15734"/>
                  </a:lnTo>
                  <a:lnTo>
                    <a:pt x="381" y="15734"/>
                  </a:lnTo>
                  <a:lnTo>
                    <a:pt x="381" y="1142"/>
                  </a:lnTo>
                  <a:lnTo>
                    <a:pt x="1903" y="2284"/>
                  </a:lnTo>
                  <a:lnTo>
                    <a:pt x="0" y="22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460A9"/>
            </a:solidFill>
            <a:ln w="6340" cap="flat">
              <a:solidFill>
                <a:srgbClr val="0460A9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55" name="Freihandform: Form 154">
              <a:extLst>
                <a:ext uri="{FF2B5EF4-FFF2-40B4-BE49-F238E27FC236}">
                  <a16:creationId xmlns:a16="http://schemas.microsoft.com/office/drawing/2014/main" id="{DA93E8D6-2756-757A-93A8-80C18700B193}"/>
                </a:ext>
              </a:extLst>
            </p:cNvPr>
            <p:cNvSpPr/>
            <p:nvPr/>
          </p:nvSpPr>
          <p:spPr>
            <a:xfrm>
              <a:off x="1319627" y="1720534"/>
              <a:ext cx="57225" cy="41999"/>
            </a:xfrm>
            <a:custGeom>
              <a:avLst/>
              <a:gdLst>
                <a:gd name="connsiteX0" fmla="*/ 0 w 57225"/>
                <a:gd name="connsiteY0" fmla="*/ 28042 h 41999"/>
                <a:gd name="connsiteX1" fmla="*/ 0 w 57225"/>
                <a:gd name="connsiteY1" fmla="*/ 13957 h 41999"/>
                <a:gd name="connsiteX2" fmla="*/ 19033 w 57225"/>
                <a:gd name="connsiteY2" fmla="*/ 13957 h 41999"/>
                <a:gd name="connsiteX3" fmla="*/ 19033 w 57225"/>
                <a:gd name="connsiteY3" fmla="*/ 0 h 41999"/>
                <a:gd name="connsiteX4" fmla="*/ 38192 w 57225"/>
                <a:gd name="connsiteY4" fmla="*/ 0 h 41999"/>
                <a:gd name="connsiteX5" fmla="*/ 38192 w 57225"/>
                <a:gd name="connsiteY5" fmla="*/ 13957 h 41999"/>
                <a:gd name="connsiteX6" fmla="*/ 57225 w 57225"/>
                <a:gd name="connsiteY6" fmla="*/ 13957 h 41999"/>
                <a:gd name="connsiteX7" fmla="*/ 57225 w 57225"/>
                <a:gd name="connsiteY7" fmla="*/ 28042 h 41999"/>
                <a:gd name="connsiteX8" fmla="*/ 38192 w 57225"/>
                <a:gd name="connsiteY8" fmla="*/ 28042 h 41999"/>
                <a:gd name="connsiteX9" fmla="*/ 38192 w 57225"/>
                <a:gd name="connsiteY9" fmla="*/ 41999 h 41999"/>
                <a:gd name="connsiteX10" fmla="*/ 19033 w 57225"/>
                <a:gd name="connsiteY10" fmla="*/ 41999 h 41999"/>
                <a:gd name="connsiteX11" fmla="*/ 19033 w 57225"/>
                <a:gd name="connsiteY11" fmla="*/ 28042 h 41999"/>
                <a:gd name="connsiteX12" fmla="*/ 0 w 57225"/>
                <a:gd name="connsiteY12" fmla="*/ 28042 h 4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9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56" name="Freihandform: Form 155">
              <a:extLst>
                <a:ext uri="{FF2B5EF4-FFF2-40B4-BE49-F238E27FC236}">
                  <a16:creationId xmlns:a16="http://schemas.microsoft.com/office/drawing/2014/main" id="{A732065E-095D-D13D-2EDD-451DBBA14F7B}"/>
                </a:ext>
              </a:extLst>
            </p:cNvPr>
            <p:cNvSpPr/>
            <p:nvPr/>
          </p:nvSpPr>
          <p:spPr>
            <a:xfrm>
              <a:off x="1433824" y="1996509"/>
              <a:ext cx="57225" cy="41999"/>
            </a:xfrm>
            <a:custGeom>
              <a:avLst/>
              <a:gdLst>
                <a:gd name="connsiteX0" fmla="*/ 0 w 57225"/>
                <a:gd name="connsiteY0" fmla="*/ 27915 h 41999"/>
                <a:gd name="connsiteX1" fmla="*/ 0 w 57225"/>
                <a:gd name="connsiteY1" fmla="*/ 13957 h 41999"/>
                <a:gd name="connsiteX2" fmla="*/ 19033 w 57225"/>
                <a:gd name="connsiteY2" fmla="*/ 13957 h 41999"/>
                <a:gd name="connsiteX3" fmla="*/ 19033 w 57225"/>
                <a:gd name="connsiteY3" fmla="*/ 0 h 41999"/>
                <a:gd name="connsiteX4" fmla="*/ 38066 w 57225"/>
                <a:gd name="connsiteY4" fmla="*/ 0 h 41999"/>
                <a:gd name="connsiteX5" fmla="*/ 38066 w 57225"/>
                <a:gd name="connsiteY5" fmla="*/ 13957 h 41999"/>
                <a:gd name="connsiteX6" fmla="*/ 57225 w 57225"/>
                <a:gd name="connsiteY6" fmla="*/ 13957 h 41999"/>
                <a:gd name="connsiteX7" fmla="*/ 57225 w 57225"/>
                <a:gd name="connsiteY7" fmla="*/ 27915 h 41999"/>
                <a:gd name="connsiteX8" fmla="*/ 38066 w 57225"/>
                <a:gd name="connsiteY8" fmla="*/ 27915 h 41999"/>
                <a:gd name="connsiteX9" fmla="*/ 38066 w 57225"/>
                <a:gd name="connsiteY9" fmla="*/ 41999 h 41999"/>
                <a:gd name="connsiteX10" fmla="*/ 19033 w 57225"/>
                <a:gd name="connsiteY10" fmla="*/ 41999 h 41999"/>
                <a:gd name="connsiteX11" fmla="*/ 19033 w 57225"/>
                <a:gd name="connsiteY11" fmla="*/ 27915 h 41999"/>
                <a:gd name="connsiteX12" fmla="*/ 0 w 57225"/>
                <a:gd name="connsiteY12" fmla="*/ 27915 h 4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9">
                  <a:moveTo>
                    <a:pt x="0" y="27915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066" y="27915"/>
                  </a:lnTo>
                  <a:lnTo>
                    <a:pt x="38066" y="41999"/>
                  </a:lnTo>
                  <a:lnTo>
                    <a:pt x="19033" y="41999"/>
                  </a:lnTo>
                  <a:lnTo>
                    <a:pt x="19033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57" name="Freihandform: Form 156">
              <a:extLst>
                <a:ext uri="{FF2B5EF4-FFF2-40B4-BE49-F238E27FC236}">
                  <a16:creationId xmlns:a16="http://schemas.microsoft.com/office/drawing/2014/main" id="{D37B969F-9225-B058-D789-27FA00545BC4}"/>
                </a:ext>
              </a:extLst>
            </p:cNvPr>
            <p:cNvSpPr/>
            <p:nvPr/>
          </p:nvSpPr>
          <p:spPr>
            <a:xfrm>
              <a:off x="1441564" y="2023663"/>
              <a:ext cx="57225" cy="41999"/>
            </a:xfrm>
            <a:custGeom>
              <a:avLst/>
              <a:gdLst>
                <a:gd name="connsiteX0" fmla="*/ 0 w 57225"/>
                <a:gd name="connsiteY0" fmla="*/ 28042 h 41999"/>
                <a:gd name="connsiteX1" fmla="*/ 0 w 57225"/>
                <a:gd name="connsiteY1" fmla="*/ 13957 h 41999"/>
                <a:gd name="connsiteX2" fmla="*/ 19033 w 57225"/>
                <a:gd name="connsiteY2" fmla="*/ 13957 h 41999"/>
                <a:gd name="connsiteX3" fmla="*/ 19033 w 57225"/>
                <a:gd name="connsiteY3" fmla="*/ 0 h 41999"/>
                <a:gd name="connsiteX4" fmla="*/ 38066 w 57225"/>
                <a:gd name="connsiteY4" fmla="*/ 0 h 41999"/>
                <a:gd name="connsiteX5" fmla="*/ 38066 w 57225"/>
                <a:gd name="connsiteY5" fmla="*/ 13957 h 41999"/>
                <a:gd name="connsiteX6" fmla="*/ 57225 w 57225"/>
                <a:gd name="connsiteY6" fmla="*/ 13957 h 41999"/>
                <a:gd name="connsiteX7" fmla="*/ 57225 w 57225"/>
                <a:gd name="connsiteY7" fmla="*/ 28042 h 41999"/>
                <a:gd name="connsiteX8" fmla="*/ 38066 w 57225"/>
                <a:gd name="connsiteY8" fmla="*/ 28042 h 41999"/>
                <a:gd name="connsiteX9" fmla="*/ 38066 w 57225"/>
                <a:gd name="connsiteY9" fmla="*/ 41999 h 41999"/>
                <a:gd name="connsiteX10" fmla="*/ 19033 w 57225"/>
                <a:gd name="connsiteY10" fmla="*/ 41999 h 41999"/>
                <a:gd name="connsiteX11" fmla="*/ 19033 w 57225"/>
                <a:gd name="connsiteY11" fmla="*/ 28042 h 41999"/>
                <a:gd name="connsiteX12" fmla="*/ 0 w 57225"/>
                <a:gd name="connsiteY12" fmla="*/ 28042 h 4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9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066" y="28042"/>
                  </a:lnTo>
                  <a:lnTo>
                    <a:pt x="38066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58" name="Freihandform: Form 157">
              <a:extLst>
                <a:ext uri="{FF2B5EF4-FFF2-40B4-BE49-F238E27FC236}">
                  <a16:creationId xmlns:a16="http://schemas.microsoft.com/office/drawing/2014/main" id="{AAA3D610-375B-8E48-593C-BAD013C6415E}"/>
                </a:ext>
              </a:extLst>
            </p:cNvPr>
            <p:cNvSpPr/>
            <p:nvPr/>
          </p:nvSpPr>
          <p:spPr>
            <a:xfrm>
              <a:off x="1453110" y="2064520"/>
              <a:ext cx="57225" cy="41999"/>
            </a:xfrm>
            <a:custGeom>
              <a:avLst/>
              <a:gdLst>
                <a:gd name="connsiteX0" fmla="*/ 0 w 57225"/>
                <a:gd name="connsiteY0" fmla="*/ 28042 h 41999"/>
                <a:gd name="connsiteX1" fmla="*/ 0 w 57225"/>
                <a:gd name="connsiteY1" fmla="*/ 14084 h 41999"/>
                <a:gd name="connsiteX2" fmla="*/ 19033 w 57225"/>
                <a:gd name="connsiteY2" fmla="*/ 14084 h 41999"/>
                <a:gd name="connsiteX3" fmla="*/ 19033 w 57225"/>
                <a:gd name="connsiteY3" fmla="*/ 0 h 41999"/>
                <a:gd name="connsiteX4" fmla="*/ 38192 w 57225"/>
                <a:gd name="connsiteY4" fmla="*/ 0 h 41999"/>
                <a:gd name="connsiteX5" fmla="*/ 38192 w 57225"/>
                <a:gd name="connsiteY5" fmla="*/ 14084 h 41999"/>
                <a:gd name="connsiteX6" fmla="*/ 57225 w 57225"/>
                <a:gd name="connsiteY6" fmla="*/ 14084 h 41999"/>
                <a:gd name="connsiteX7" fmla="*/ 57225 w 57225"/>
                <a:gd name="connsiteY7" fmla="*/ 28042 h 41999"/>
                <a:gd name="connsiteX8" fmla="*/ 38192 w 57225"/>
                <a:gd name="connsiteY8" fmla="*/ 28042 h 41999"/>
                <a:gd name="connsiteX9" fmla="*/ 38192 w 57225"/>
                <a:gd name="connsiteY9" fmla="*/ 41999 h 41999"/>
                <a:gd name="connsiteX10" fmla="*/ 19033 w 57225"/>
                <a:gd name="connsiteY10" fmla="*/ 41999 h 41999"/>
                <a:gd name="connsiteX11" fmla="*/ 19033 w 57225"/>
                <a:gd name="connsiteY11" fmla="*/ 28042 h 41999"/>
                <a:gd name="connsiteX12" fmla="*/ 0 w 57225"/>
                <a:gd name="connsiteY12" fmla="*/ 28042 h 4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9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59" name="Freihandform: Form 158">
              <a:extLst>
                <a:ext uri="{FF2B5EF4-FFF2-40B4-BE49-F238E27FC236}">
                  <a16:creationId xmlns:a16="http://schemas.microsoft.com/office/drawing/2014/main" id="{2CCB6BB9-F063-0D6F-B487-BC796A30B5E7}"/>
                </a:ext>
              </a:extLst>
            </p:cNvPr>
            <p:cNvSpPr/>
            <p:nvPr/>
          </p:nvSpPr>
          <p:spPr>
            <a:xfrm>
              <a:off x="1457044" y="2073655"/>
              <a:ext cx="57225" cy="41999"/>
            </a:xfrm>
            <a:custGeom>
              <a:avLst/>
              <a:gdLst>
                <a:gd name="connsiteX0" fmla="*/ 0 w 57225"/>
                <a:gd name="connsiteY0" fmla="*/ 27915 h 41999"/>
                <a:gd name="connsiteX1" fmla="*/ 0 w 57225"/>
                <a:gd name="connsiteY1" fmla="*/ 13957 h 41999"/>
                <a:gd name="connsiteX2" fmla="*/ 19033 w 57225"/>
                <a:gd name="connsiteY2" fmla="*/ 13957 h 41999"/>
                <a:gd name="connsiteX3" fmla="*/ 19033 w 57225"/>
                <a:gd name="connsiteY3" fmla="*/ 0 h 41999"/>
                <a:gd name="connsiteX4" fmla="*/ 38192 w 57225"/>
                <a:gd name="connsiteY4" fmla="*/ 0 h 41999"/>
                <a:gd name="connsiteX5" fmla="*/ 38192 w 57225"/>
                <a:gd name="connsiteY5" fmla="*/ 13957 h 41999"/>
                <a:gd name="connsiteX6" fmla="*/ 57225 w 57225"/>
                <a:gd name="connsiteY6" fmla="*/ 13957 h 41999"/>
                <a:gd name="connsiteX7" fmla="*/ 57225 w 57225"/>
                <a:gd name="connsiteY7" fmla="*/ 27915 h 41999"/>
                <a:gd name="connsiteX8" fmla="*/ 38192 w 57225"/>
                <a:gd name="connsiteY8" fmla="*/ 27915 h 41999"/>
                <a:gd name="connsiteX9" fmla="*/ 38192 w 57225"/>
                <a:gd name="connsiteY9" fmla="*/ 41999 h 41999"/>
                <a:gd name="connsiteX10" fmla="*/ 19033 w 57225"/>
                <a:gd name="connsiteY10" fmla="*/ 41999 h 41999"/>
                <a:gd name="connsiteX11" fmla="*/ 19033 w 57225"/>
                <a:gd name="connsiteY11" fmla="*/ 27915 h 41999"/>
                <a:gd name="connsiteX12" fmla="*/ 0 w 57225"/>
                <a:gd name="connsiteY12" fmla="*/ 27915 h 4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9">
                  <a:moveTo>
                    <a:pt x="0" y="27915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0" name="Freihandform: Form 159">
              <a:extLst>
                <a:ext uri="{FF2B5EF4-FFF2-40B4-BE49-F238E27FC236}">
                  <a16:creationId xmlns:a16="http://schemas.microsoft.com/office/drawing/2014/main" id="{45105AD6-2456-B293-06A9-9AA99F8241A5}"/>
                </a:ext>
              </a:extLst>
            </p:cNvPr>
            <p:cNvSpPr/>
            <p:nvPr/>
          </p:nvSpPr>
          <p:spPr>
            <a:xfrm>
              <a:off x="1495744" y="2233150"/>
              <a:ext cx="57225" cy="41998"/>
            </a:xfrm>
            <a:custGeom>
              <a:avLst/>
              <a:gdLst>
                <a:gd name="connsiteX0" fmla="*/ 0 w 57225"/>
                <a:gd name="connsiteY0" fmla="*/ 27915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7915 h 41998"/>
                <a:gd name="connsiteX8" fmla="*/ 38192 w 57225"/>
                <a:gd name="connsiteY8" fmla="*/ 27915 h 41998"/>
                <a:gd name="connsiteX9" fmla="*/ 38192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7915 h 41998"/>
                <a:gd name="connsiteX12" fmla="*/ 0 w 57225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7915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1" name="Freihandform: Form 160">
              <a:extLst>
                <a:ext uri="{FF2B5EF4-FFF2-40B4-BE49-F238E27FC236}">
                  <a16:creationId xmlns:a16="http://schemas.microsoft.com/office/drawing/2014/main" id="{BA85FC9B-43FB-945B-4340-09C60CFF1099}"/>
                </a:ext>
              </a:extLst>
            </p:cNvPr>
            <p:cNvSpPr/>
            <p:nvPr/>
          </p:nvSpPr>
          <p:spPr>
            <a:xfrm>
              <a:off x="1518837" y="2306109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160 w 57225"/>
                <a:gd name="connsiteY2" fmla="*/ 13957 h 41998"/>
                <a:gd name="connsiteX3" fmla="*/ 19160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2 w 57225"/>
                <a:gd name="connsiteY8" fmla="*/ 28042 h 41998"/>
                <a:gd name="connsiteX9" fmla="*/ 38192 w 57225"/>
                <a:gd name="connsiteY9" fmla="*/ 41999 h 41998"/>
                <a:gd name="connsiteX10" fmla="*/ 19160 w 57225"/>
                <a:gd name="connsiteY10" fmla="*/ 41999 h 41998"/>
                <a:gd name="connsiteX11" fmla="*/ 19160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2" name="Freihandform: Form 161">
              <a:extLst>
                <a:ext uri="{FF2B5EF4-FFF2-40B4-BE49-F238E27FC236}">
                  <a16:creationId xmlns:a16="http://schemas.microsoft.com/office/drawing/2014/main" id="{7740D321-6111-6BB1-F2C3-61EAF3DF03BF}"/>
                </a:ext>
              </a:extLst>
            </p:cNvPr>
            <p:cNvSpPr/>
            <p:nvPr/>
          </p:nvSpPr>
          <p:spPr>
            <a:xfrm>
              <a:off x="1522770" y="2315245"/>
              <a:ext cx="57352" cy="41999"/>
            </a:xfrm>
            <a:custGeom>
              <a:avLst/>
              <a:gdLst>
                <a:gd name="connsiteX0" fmla="*/ 0 w 57352"/>
                <a:gd name="connsiteY0" fmla="*/ 28042 h 41999"/>
                <a:gd name="connsiteX1" fmla="*/ 0 w 57352"/>
                <a:gd name="connsiteY1" fmla="*/ 14084 h 41999"/>
                <a:gd name="connsiteX2" fmla="*/ 19160 w 57352"/>
                <a:gd name="connsiteY2" fmla="*/ 14084 h 41999"/>
                <a:gd name="connsiteX3" fmla="*/ 19160 w 57352"/>
                <a:gd name="connsiteY3" fmla="*/ 0 h 41999"/>
                <a:gd name="connsiteX4" fmla="*/ 38192 w 57352"/>
                <a:gd name="connsiteY4" fmla="*/ 0 h 41999"/>
                <a:gd name="connsiteX5" fmla="*/ 38192 w 57352"/>
                <a:gd name="connsiteY5" fmla="*/ 14084 h 41999"/>
                <a:gd name="connsiteX6" fmla="*/ 57352 w 57352"/>
                <a:gd name="connsiteY6" fmla="*/ 14084 h 41999"/>
                <a:gd name="connsiteX7" fmla="*/ 57352 w 57352"/>
                <a:gd name="connsiteY7" fmla="*/ 28042 h 41999"/>
                <a:gd name="connsiteX8" fmla="*/ 38192 w 57352"/>
                <a:gd name="connsiteY8" fmla="*/ 28042 h 41999"/>
                <a:gd name="connsiteX9" fmla="*/ 38192 w 57352"/>
                <a:gd name="connsiteY9" fmla="*/ 41999 h 41999"/>
                <a:gd name="connsiteX10" fmla="*/ 19160 w 57352"/>
                <a:gd name="connsiteY10" fmla="*/ 41999 h 41999"/>
                <a:gd name="connsiteX11" fmla="*/ 19160 w 57352"/>
                <a:gd name="connsiteY11" fmla="*/ 28042 h 41999"/>
                <a:gd name="connsiteX12" fmla="*/ 0 w 57352"/>
                <a:gd name="connsiteY12" fmla="*/ 28042 h 4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2" h="41999">
                  <a:moveTo>
                    <a:pt x="0" y="28042"/>
                  </a:moveTo>
                  <a:lnTo>
                    <a:pt x="0" y="14084"/>
                  </a:lnTo>
                  <a:lnTo>
                    <a:pt x="19160" y="14084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352" y="14084"/>
                  </a:lnTo>
                  <a:lnTo>
                    <a:pt x="57352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3" name="Freihandform: Form 162">
              <a:extLst>
                <a:ext uri="{FF2B5EF4-FFF2-40B4-BE49-F238E27FC236}">
                  <a16:creationId xmlns:a16="http://schemas.microsoft.com/office/drawing/2014/main" id="{CFF0F2E3-125A-BCD2-F548-2FEB92374C69}"/>
                </a:ext>
              </a:extLst>
            </p:cNvPr>
            <p:cNvSpPr/>
            <p:nvPr/>
          </p:nvSpPr>
          <p:spPr>
            <a:xfrm>
              <a:off x="1545990" y="2370313"/>
              <a:ext cx="57225" cy="41999"/>
            </a:xfrm>
            <a:custGeom>
              <a:avLst/>
              <a:gdLst>
                <a:gd name="connsiteX0" fmla="*/ 0 w 57225"/>
                <a:gd name="connsiteY0" fmla="*/ 27915 h 41999"/>
                <a:gd name="connsiteX1" fmla="*/ 0 w 57225"/>
                <a:gd name="connsiteY1" fmla="*/ 13957 h 41999"/>
                <a:gd name="connsiteX2" fmla="*/ 19033 w 57225"/>
                <a:gd name="connsiteY2" fmla="*/ 13957 h 41999"/>
                <a:gd name="connsiteX3" fmla="*/ 19033 w 57225"/>
                <a:gd name="connsiteY3" fmla="*/ 0 h 41999"/>
                <a:gd name="connsiteX4" fmla="*/ 38192 w 57225"/>
                <a:gd name="connsiteY4" fmla="*/ 0 h 41999"/>
                <a:gd name="connsiteX5" fmla="*/ 38192 w 57225"/>
                <a:gd name="connsiteY5" fmla="*/ 13957 h 41999"/>
                <a:gd name="connsiteX6" fmla="*/ 57225 w 57225"/>
                <a:gd name="connsiteY6" fmla="*/ 13957 h 41999"/>
                <a:gd name="connsiteX7" fmla="*/ 57225 w 57225"/>
                <a:gd name="connsiteY7" fmla="*/ 27915 h 41999"/>
                <a:gd name="connsiteX8" fmla="*/ 38192 w 57225"/>
                <a:gd name="connsiteY8" fmla="*/ 27915 h 41999"/>
                <a:gd name="connsiteX9" fmla="*/ 38192 w 57225"/>
                <a:gd name="connsiteY9" fmla="*/ 41999 h 41999"/>
                <a:gd name="connsiteX10" fmla="*/ 19033 w 57225"/>
                <a:gd name="connsiteY10" fmla="*/ 41999 h 41999"/>
                <a:gd name="connsiteX11" fmla="*/ 19033 w 57225"/>
                <a:gd name="connsiteY11" fmla="*/ 27915 h 41999"/>
                <a:gd name="connsiteX12" fmla="*/ 0 w 57225"/>
                <a:gd name="connsiteY12" fmla="*/ 27915 h 4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9">
                  <a:moveTo>
                    <a:pt x="0" y="27915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4" name="Freihandform: Form 163">
              <a:extLst>
                <a:ext uri="{FF2B5EF4-FFF2-40B4-BE49-F238E27FC236}">
                  <a16:creationId xmlns:a16="http://schemas.microsoft.com/office/drawing/2014/main" id="{809D68DD-43E4-5232-E362-0DA0C1AF624C}"/>
                </a:ext>
              </a:extLst>
            </p:cNvPr>
            <p:cNvSpPr/>
            <p:nvPr/>
          </p:nvSpPr>
          <p:spPr>
            <a:xfrm>
              <a:off x="1598267" y="2604416"/>
              <a:ext cx="57225" cy="41998"/>
            </a:xfrm>
            <a:custGeom>
              <a:avLst/>
              <a:gdLst>
                <a:gd name="connsiteX0" fmla="*/ 0 w 57225"/>
                <a:gd name="connsiteY0" fmla="*/ 27915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7915 h 41998"/>
                <a:gd name="connsiteX8" fmla="*/ 38192 w 57225"/>
                <a:gd name="connsiteY8" fmla="*/ 27915 h 41998"/>
                <a:gd name="connsiteX9" fmla="*/ 38192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7915 h 41998"/>
                <a:gd name="connsiteX12" fmla="*/ 0 w 57225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7915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5" name="Freihandform: Form 164">
              <a:extLst>
                <a:ext uri="{FF2B5EF4-FFF2-40B4-BE49-F238E27FC236}">
                  <a16:creationId xmlns:a16="http://schemas.microsoft.com/office/drawing/2014/main" id="{0258E57D-688D-18AC-7A14-458907C25804}"/>
                </a:ext>
              </a:extLst>
            </p:cNvPr>
            <p:cNvSpPr/>
            <p:nvPr/>
          </p:nvSpPr>
          <p:spPr>
            <a:xfrm>
              <a:off x="1617553" y="2664179"/>
              <a:ext cx="57352" cy="42125"/>
            </a:xfrm>
            <a:custGeom>
              <a:avLst/>
              <a:gdLst>
                <a:gd name="connsiteX0" fmla="*/ 0 w 57352"/>
                <a:gd name="connsiteY0" fmla="*/ 28042 h 42125"/>
                <a:gd name="connsiteX1" fmla="*/ 0 w 57352"/>
                <a:gd name="connsiteY1" fmla="*/ 14084 h 42125"/>
                <a:gd name="connsiteX2" fmla="*/ 19160 w 57352"/>
                <a:gd name="connsiteY2" fmla="*/ 14084 h 42125"/>
                <a:gd name="connsiteX3" fmla="*/ 19160 w 57352"/>
                <a:gd name="connsiteY3" fmla="*/ 0 h 42125"/>
                <a:gd name="connsiteX4" fmla="*/ 38192 w 57352"/>
                <a:gd name="connsiteY4" fmla="*/ 0 h 42125"/>
                <a:gd name="connsiteX5" fmla="*/ 38192 w 57352"/>
                <a:gd name="connsiteY5" fmla="*/ 14084 h 42125"/>
                <a:gd name="connsiteX6" fmla="*/ 57352 w 57352"/>
                <a:gd name="connsiteY6" fmla="*/ 14084 h 42125"/>
                <a:gd name="connsiteX7" fmla="*/ 57352 w 57352"/>
                <a:gd name="connsiteY7" fmla="*/ 28042 h 42125"/>
                <a:gd name="connsiteX8" fmla="*/ 38192 w 57352"/>
                <a:gd name="connsiteY8" fmla="*/ 28042 h 42125"/>
                <a:gd name="connsiteX9" fmla="*/ 38192 w 57352"/>
                <a:gd name="connsiteY9" fmla="*/ 42126 h 42125"/>
                <a:gd name="connsiteX10" fmla="*/ 19160 w 57352"/>
                <a:gd name="connsiteY10" fmla="*/ 42126 h 42125"/>
                <a:gd name="connsiteX11" fmla="*/ 19160 w 57352"/>
                <a:gd name="connsiteY11" fmla="*/ 28042 h 42125"/>
                <a:gd name="connsiteX12" fmla="*/ 0 w 57352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2" h="42125">
                  <a:moveTo>
                    <a:pt x="0" y="28042"/>
                  </a:moveTo>
                  <a:lnTo>
                    <a:pt x="0" y="14084"/>
                  </a:lnTo>
                  <a:lnTo>
                    <a:pt x="19160" y="14084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352" y="14084"/>
                  </a:lnTo>
                  <a:lnTo>
                    <a:pt x="57352" y="28042"/>
                  </a:lnTo>
                  <a:lnTo>
                    <a:pt x="38192" y="28042"/>
                  </a:lnTo>
                  <a:lnTo>
                    <a:pt x="38192" y="42126"/>
                  </a:lnTo>
                  <a:lnTo>
                    <a:pt x="19160" y="42126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6" name="Freihandform: Form 165">
              <a:extLst>
                <a:ext uri="{FF2B5EF4-FFF2-40B4-BE49-F238E27FC236}">
                  <a16:creationId xmlns:a16="http://schemas.microsoft.com/office/drawing/2014/main" id="{834AF15D-EB6B-F862-667F-ECAA8C03D177}"/>
                </a:ext>
              </a:extLst>
            </p:cNvPr>
            <p:cNvSpPr/>
            <p:nvPr/>
          </p:nvSpPr>
          <p:spPr>
            <a:xfrm>
              <a:off x="1700790" y="2894730"/>
              <a:ext cx="57225" cy="42125"/>
            </a:xfrm>
            <a:custGeom>
              <a:avLst/>
              <a:gdLst>
                <a:gd name="connsiteX0" fmla="*/ 0 w 57225"/>
                <a:gd name="connsiteY0" fmla="*/ 28042 h 42125"/>
                <a:gd name="connsiteX1" fmla="*/ 0 w 57225"/>
                <a:gd name="connsiteY1" fmla="*/ 14084 h 42125"/>
                <a:gd name="connsiteX2" fmla="*/ 19033 w 57225"/>
                <a:gd name="connsiteY2" fmla="*/ 14084 h 42125"/>
                <a:gd name="connsiteX3" fmla="*/ 19033 w 57225"/>
                <a:gd name="connsiteY3" fmla="*/ 0 h 42125"/>
                <a:gd name="connsiteX4" fmla="*/ 38192 w 57225"/>
                <a:gd name="connsiteY4" fmla="*/ 0 h 42125"/>
                <a:gd name="connsiteX5" fmla="*/ 38192 w 57225"/>
                <a:gd name="connsiteY5" fmla="*/ 14084 h 42125"/>
                <a:gd name="connsiteX6" fmla="*/ 57225 w 57225"/>
                <a:gd name="connsiteY6" fmla="*/ 14084 h 42125"/>
                <a:gd name="connsiteX7" fmla="*/ 57225 w 57225"/>
                <a:gd name="connsiteY7" fmla="*/ 28042 h 42125"/>
                <a:gd name="connsiteX8" fmla="*/ 38192 w 57225"/>
                <a:gd name="connsiteY8" fmla="*/ 28042 h 42125"/>
                <a:gd name="connsiteX9" fmla="*/ 38192 w 57225"/>
                <a:gd name="connsiteY9" fmla="*/ 42126 h 42125"/>
                <a:gd name="connsiteX10" fmla="*/ 19033 w 57225"/>
                <a:gd name="connsiteY10" fmla="*/ 42126 h 42125"/>
                <a:gd name="connsiteX11" fmla="*/ 19033 w 57225"/>
                <a:gd name="connsiteY11" fmla="*/ 28042 h 42125"/>
                <a:gd name="connsiteX12" fmla="*/ 0 w 57225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2125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2126"/>
                  </a:lnTo>
                  <a:lnTo>
                    <a:pt x="19033" y="42126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7" name="Freihandform: Form 166">
              <a:extLst>
                <a:ext uri="{FF2B5EF4-FFF2-40B4-BE49-F238E27FC236}">
                  <a16:creationId xmlns:a16="http://schemas.microsoft.com/office/drawing/2014/main" id="{5CA51F90-8637-64D2-4E18-0A14F0289E1F}"/>
                </a:ext>
              </a:extLst>
            </p:cNvPr>
            <p:cNvSpPr/>
            <p:nvPr/>
          </p:nvSpPr>
          <p:spPr>
            <a:xfrm>
              <a:off x="1700790" y="2894730"/>
              <a:ext cx="57225" cy="42125"/>
            </a:xfrm>
            <a:custGeom>
              <a:avLst/>
              <a:gdLst>
                <a:gd name="connsiteX0" fmla="*/ 0 w 57225"/>
                <a:gd name="connsiteY0" fmla="*/ 28042 h 42125"/>
                <a:gd name="connsiteX1" fmla="*/ 0 w 57225"/>
                <a:gd name="connsiteY1" fmla="*/ 14084 h 42125"/>
                <a:gd name="connsiteX2" fmla="*/ 19033 w 57225"/>
                <a:gd name="connsiteY2" fmla="*/ 14084 h 42125"/>
                <a:gd name="connsiteX3" fmla="*/ 19033 w 57225"/>
                <a:gd name="connsiteY3" fmla="*/ 0 h 42125"/>
                <a:gd name="connsiteX4" fmla="*/ 38192 w 57225"/>
                <a:gd name="connsiteY4" fmla="*/ 0 h 42125"/>
                <a:gd name="connsiteX5" fmla="*/ 38192 w 57225"/>
                <a:gd name="connsiteY5" fmla="*/ 14084 h 42125"/>
                <a:gd name="connsiteX6" fmla="*/ 57225 w 57225"/>
                <a:gd name="connsiteY6" fmla="*/ 14084 h 42125"/>
                <a:gd name="connsiteX7" fmla="*/ 57225 w 57225"/>
                <a:gd name="connsiteY7" fmla="*/ 28042 h 42125"/>
                <a:gd name="connsiteX8" fmla="*/ 38192 w 57225"/>
                <a:gd name="connsiteY8" fmla="*/ 28042 h 42125"/>
                <a:gd name="connsiteX9" fmla="*/ 38192 w 57225"/>
                <a:gd name="connsiteY9" fmla="*/ 42126 h 42125"/>
                <a:gd name="connsiteX10" fmla="*/ 19033 w 57225"/>
                <a:gd name="connsiteY10" fmla="*/ 42126 h 42125"/>
                <a:gd name="connsiteX11" fmla="*/ 19033 w 57225"/>
                <a:gd name="connsiteY11" fmla="*/ 28042 h 42125"/>
                <a:gd name="connsiteX12" fmla="*/ 0 w 57225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2125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2126"/>
                  </a:lnTo>
                  <a:lnTo>
                    <a:pt x="19033" y="42126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8" name="Freihandform: Form 167">
              <a:extLst>
                <a:ext uri="{FF2B5EF4-FFF2-40B4-BE49-F238E27FC236}">
                  <a16:creationId xmlns:a16="http://schemas.microsoft.com/office/drawing/2014/main" id="{4D295DE9-9CCA-E002-ED9C-C56D00F66DA5}"/>
                </a:ext>
              </a:extLst>
            </p:cNvPr>
            <p:cNvSpPr/>
            <p:nvPr/>
          </p:nvSpPr>
          <p:spPr>
            <a:xfrm>
              <a:off x="1727817" y="2950432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066 w 57225"/>
                <a:gd name="connsiteY4" fmla="*/ 0 h 41998"/>
                <a:gd name="connsiteX5" fmla="*/ 38066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066 w 57225"/>
                <a:gd name="connsiteY8" fmla="*/ 28042 h 41998"/>
                <a:gd name="connsiteX9" fmla="*/ 38066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066" y="28042"/>
                  </a:lnTo>
                  <a:lnTo>
                    <a:pt x="38066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9" name="Freihandform: Form 168">
              <a:extLst>
                <a:ext uri="{FF2B5EF4-FFF2-40B4-BE49-F238E27FC236}">
                  <a16:creationId xmlns:a16="http://schemas.microsoft.com/office/drawing/2014/main" id="{5AEB4491-B457-C4FD-185B-47C81432434D}"/>
                </a:ext>
              </a:extLst>
            </p:cNvPr>
            <p:cNvSpPr/>
            <p:nvPr/>
          </p:nvSpPr>
          <p:spPr>
            <a:xfrm>
              <a:off x="1733653" y="2964390"/>
              <a:ext cx="57225" cy="41999"/>
            </a:xfrm>
            <a:custGeom>
              <a:avLst/>
              <a:gdLst>
                <a:gd name="connsiteX0" fmla="*/ 0 w 57225"/>
                <a:gd name="connsiteY0" fmla="*/ 28042 h 41999"/>
                <a:gd name="connsiteX1" fmla="*/ 0 w 57225"/>
                <a:gd name="connsiteY1" fmla="*/ 13957 h 41999"/>
                <a:gd name="connsiteX2" fmla="*/ 19033 w 57225"/>
                <a:gd name="connsiteY2" fmla="*/ 13957 h 41999"/>
                <a:gd name="connsiteX3" fmla="*/ 19033 w 57225"/>
                <a:gd name="connsiteY3" fmla="*/ 0 h 41999"/>
                <a:gd name="connsiteX4" fmla="*/ 38192 w 57225"/>
                <a:gd name="connsiteY4" fmla="*/ 0 h 41999"/>
                <a:gd name="connsiteX5" fmla="*/ 38192 w 57225"/>
                <a:gd name="connsiteY5" fmla="*/ 13957 h 41999"/>
                <a:gd name="connsiteX6" fmla="*/ 57225 w 57225"/>
                <a:gd name="connsiteY6" fmla="*/ 13957 h 41999"/>
                <a:gd name="connsiteX7" fmla="*/ 57225 w 57225"/>
                <a:gd name="connsiteY7" fmla="*/ 28042 h 41999"/>
                <a:gd name="connsiteX8" fmla="*/ 38192 w 57225"/>
                <a:gd name="connsiteY8" fmla="*/ 28042 h 41999"/>
                <a:gd name="connsiteX9" fmla="*/ 38192 w 57225"/>
                <a:gd name="connsiteY9" fmla="*/ 41999 h 41999"/>
                <a:gd name="connsiteX10" fmla="*/ 19033 w 57225"/>
                <a:gd name="connsiteY10" fmla="*/ 41999 h 41999"/>
                <a:gd name="connsiteX11" fmla="*/ 19033 w 57225"/>
                <a:gd name="connsiteY11" fmla="*/ 28042 h 41999"/>
                <a:gd name="connsiteX12" fmla="*/ 0 w 57225"/>
                <a:gd name="connsiteY12" fmla="*/ 28042 h 4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9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0" name="Freihandform: Form 169">
              <a:extLst>
                <a:ext uri="{FF2B5EF4-FFF2-40B4-BE49-F238E27FC236}">
                  <a16:creationId xmlns:a16="http://schemas.microsoft.com/office/drawing/2014/main" id="{47ABB83D-AB0B-F0D3-E092-0912343109D5}"/>
                </a:ext>
              </a:extLst>
            </p:cNvPr>
            <p:cNvSpPr/>
            <p:nvPr/>
          </p:nvSpPr>
          <p:spPr>
            <a:xfrm>
              <a:off x="1737460" y="2978347"/>
              <a:ext cx="57225" cy="41999"/>
            </a:xfrm>
            <a:custGeom>
              <a:avLst/>
              <a:gdLst>
                <a:gd name="connsiteX0" fmla="*/ 0 w 57225"/>
                <a:gd name="connsiteY0" fmla="*/ 28042 h 41999"/>
                <a:gd name="connsiteX1" fmla="*/ 0 w 57225"/>
                <a:gd name="connsiteY1" fmla="*/ 14084 h 41999"/>
                <a:gd name="connsiteX2" fmla="*/ 19033 w 57225"/>
                <a:gd name="connsiteY2" fmla="*/ 14084 h 41999"/>
                <a:gd name="connsiteX3" fmla="*/ 19033 w 57225"/>
                <a:gd name="connsiteY3" fmla="*/ 0 h 41999"/>
                <a:gd name="connsiteX4" fmla="*/ 38192 w 57225"/>
                <a:gd name="connsiteY4" fmla="*/ 0 h 41999"/>
                <a:gd name="connsiteX5" fmla="*/ 38192 w 57225"/>
                <a:gd name="connsiteY5" fmla="*/ 14084 h 41999"/>
                <a:gd name="connsiteX6" fmla="*/ 57225 w 57225"/>
                <a:gd name="connsiteY6" fmla="*/ 14084 h 41999"/>
                <a:gd name="connsiteX7" fmla="*/ 57225 w 57225"/>
                <a:gd name="connsiteY7" fmla="*/ 28042 h 41999"/>
                <a:gd name="connsiteX8" fmla="*/ 38192 w 57225"/>
                <a:gd name="connsiteY8" fmla="*/ 28042 h 41999"/>
                <a:gd name="connsiteX9" fmla="*/ 38192 w 57225"/>
                <a:gd name="connsiteY9" fmla="*/ 41999 h 41999"/>
                <a:gd name="connsiteX10" fmla="*/ 19033 w 57225"/>
                <a:gd name="connsiteY10" fmla="*/ 41999 h 41999"/>
                <a:gd name="connsiteX11" fmla="*/ 19033 w 57225"/>
                <a:gd name="connsiteY11" fmla="*/ 28042 h 41999"/>
                <a:gd name="connsiteX12" fmla="*/ 0 w 57225"/>
                <a:gd name="connsiteY12" fmla="*/ 28042 h 4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9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1" name="Freihandform: Form 170">
              <a:extLst>
                <a:ext uri="{FF2B5EF4-FFF2-40B4-BE49-F238E27FC236}">
                  <a16:creationId xmlns:a16="http://schemas.microsoft.com/office/drawing/2014/main" id="{E5E5A498-A0E8-768D-8910-7E07DE22E3C6}"/>
                </a:ext>
              </a:extLst>
            </p:cNvPr>
            <p:cNvSpPr/>
            <p:nvPr/>
          </p:nvSpPr>
          <p:spPr>
            <a:xfrm>
              <a:off x="1766517" y="3048515"/>
              <a:ext cx="57352" cy="41998"/>
            </a:xfrm>
            <a:custGeom>
              <a:avLst/>
              <a:gdLst>
                <a:gd name="connsiteX0" fmla="*/ 0 w 57352"/>
                <a:gd name="connsiteY0" fmla="*/ 28042 h 41998"/>
                <a:gd name="connsiteX1" fmla="*/ 0 w 57352"/>
                <a:gd name="connsiteY1" fmla="*/ 13957 h 41998"/>
                <a:gd name="connsiteX2" fmla="*/ 19160 w 57352"/>
                <a:gd name="connsiteY2" fmla="*/ 13957 h 41998"/>
                <a:gd name="connsiteX3" fmla="*/ 19160 w 57352"/>
                <a:gd name="connsiteY3" fmla="*/ 0 h 41998"/>
                <a:gd name="connsiteX4" fmla="*/ 38192 w 57352"/>
                <a:gd name="connsiteY4" fmla="*/ 0 h 41998"/>
                <a:gd name="connsiteX5" fmla="*/ 38192 w 57352"/>
                <a:gd name="connsiteY5" fmla="*/ 13957 h 41998"/>
                <a:gd name="connsiteX6" fmla="*/ 57352 w 57352"/>
                <a:gd name="connsiteY6" fmla="*/ 13957 h 41998"/>
                <a:gd name="connsiteX7" fmla="*/ 57352 w 57352"/>
                <a:gd name="connsiteY7" fmla="*/ 28042 h 41998"/>
                <a:gd name="connsiteX8" fmla="*/ 38192 w 57352"/>
                <a:gd name="connsiteY8" fmla="*/ 28042 h 41998"/>
                <a:gd name="connsiteX9" fmla="*/ 38192 w 57352"/>
                <a:gd name="connsiteY9" fmla="*/ 41999 h 41998"/>
                <a:gd name="connsiteX10" fmla="*/ 19160 w 57352"/>
                <a:gd name="connsiteY10" fmla="*/ 41999 h 41998"/>
                <a:gd name="connsiteX11" fmla="*/ 19160 w 57352"/>
                <a:gd name="connsiteY11" fmla="*/ 28042 h 41998"/>
                <a:gd name="connsiteX12" fmla="*/ 0 w 57352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2" h="41998">
                  <a:moveTo>
                    <a:pt x="0" y="28042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352" y="13957"/>
                  </a:lnTo>
                  <a:lnTo>
                    <a:pt x="57352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2" name="Freihandform: Form 171">
              <a:extLst>
                <a:ext uri="{FF2B5EF4-FFF2-40B4-BE49-F238E27FC236}">
                  <a16:creationId xmlns:a16="http://schemas.microsoft.com/office/drawing/2014/main" id="{5DF4C38F-08F3-9973-F15C-8AE98D1C3E0B}"/>
                </a:ext>
              </a:extLst>
            </p:cNvPr>
            <p:cNvSpPr/>
            <p:nvPr/>
          </p:nvSpPr>
          <p:spPr>
            <a:xfrm>
              <a:off x="1809023" y="3193925"/>
              <a:ext cx="57352" cy="41998"/>
            </a:xfrm>
            <a:custGeom>
              <a:avLst/>
              <a:gdLst>
                <a:gd name="connsiteX0" fmla="*/ 0 w 57352"/>
                <a:gd name="connsiteY0" fmla="*/ 27915 h 41998"/>
                <a:gd name="connsiteX1" fmla="*/ 0 w 57352"/>
                <a:gd name="connsiteY1" fmla="*/ 13957 h 41998"/>
                <a:gd name="connsiteX2" fmla="*/ 19160 w 57352"/>
                <a:gd name="connsiteY2" fmla="*/ 13957 h 41998"/>
                <a:gd name="connsiteX3" fmla="*/ 19160 w 57352"/>
                <a:gd name="connsiteY3" fmla="*/ 0 h 41998"/>
                <a:gd name="connsiteX4" fmla="*/ 38192 w 57352"/>
                <a:gd name="connsiteY4" fmla="*/ 0 h 41998"/>
                <a:gd name="connsiteX5" fmla="*/ 38192 w 57352"/>
                <a:gd name="connsiteY5" fmla="*/ 13957 h 41998"/>
                <a:gd name="connsiteX6" fmla="*/ 57352 w 57352"/>
                <a:gd name="connsiteY6" fmla="*/ 13957 h 41998"/>
                <a:gd name="connsiteX7" fmla="*/ 57352 w 57352"/>
                <a:gd name="connsiteY7" fmla="*/ 27915 h 41998"/>
                <a:gd name="connsiteX8" fmla="*/ 38192 w 57352"/>
                <a:gd name="connsiteY8" fmla="*/ 27915 h 41998"/>
                <a:gd name="connsiteX9" fmla="*/ 38192 w 57352"/>
                <a:gd name="connsiteY9" fmla="*/ 41999 h 41998"/>
                <a:gd name="connsiteX10" fmla="*/ 19160 w 57352"/>
                <a:gd name="connsiteY10" fmla="*/ 41999 h 41998"/>
                <a:gd name="connsiteX11" fmla="*/ 19160 w 57352"/>
                <a:gd name="connsiteY11" fmla="*/ 27915 h 41998"/>
                <a:gd name="connsiteX12" fmla="*/ 0 w 57352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2" h="41998">
                  <a:moveTo>
                    <a:pt x="0" y="27915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352" y="13957"/>
                  </a:lnTo>
                  <a:lnTo>
                    <a:pt x="57352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3" name="Freihandform: Form 172">
              <a:extLst>
                <a:ext uri="{FF2B5EF4-FFF2-40B4-BE49-F238E27FC236}">
                  <a16:creationId xmlns:a16="http://schemas.microsoft.com/office/drawing/2014/main" id="{3DD01AAF-F9A9-8BE2-868A-F81D9FC100ED}"/>
                </a:ext>
              </a:extLst>
            </p:cNvPr>
            <p:cNvSpPr/>
            <p:nvPr/>
          </p:nvSpPr>
          <p:spPr>
            <a:xfrm>
              <a:off x="1814860" y="3193925"/>
              <a:ext cx="57352" cy="41998"/>
            </a:xfrm>
            <a:custGeom>
              <a:avLst/>
              <a:gdLst>
                <a:gd name="connsiteX0" fmla="*/ 0 w 57352"/>
                <a:gd name="connsiteY0" fmla="*/ 27915 h 41998"/>
                <a:gd name="connsiteX1" fmla="*/ 0 w 57352"/>
                <a:gd name="connsiteY1" fmla="*/ 13957 h 41998"/>
                <a:gd name="connsiteX2" fmla="*/ 19160 w 57352"/>
                <a:gd name="connsiteY2" fmla="*/ 13957 h 41998"/>
                <a:gd name="connsiteX3" fmla="*/ 19160 w 57352"/>
                <a:gd name="connsiteY3" fmla="*/ 0 h 41998"/>
                <a:gd name="connsiteX4" fmla="*/ 38192 w 57352"/>
                <a:gd name="connsiteY4" fmla="*/ 0 h 41998"/>
                <a:gd name="connsiteX5" fmla="*/ 38192 w 57352"/>
                <a:gd name="connsiteY5" fmla="*/ 13957 h 41998"/>
                <a:gd name="connsiteX6" fmla="*/ 57352 w 57352"/>
                <a:gd name="connsiteY6" fmla="*/ 13957 h 41998"/>
                <a:gd name="connsiteX7" fmla="*/ 57352 w 57352"/>
                <a:gd name="connsiteY7" fmla="*/ 27915 h 41998"/>
                <a:gd name="connsiteX8" fmla="*/ 38192 w 57352"/>
                <a:gd name="connsiteY8" fmla="*/ 27915 h 41998"/>
                <a:gd name="connsiteX9" fmla="*/ 38192 w 57352"/>
                <a:gd name="connsiteY9" fmla="*/ 41999 h 41998"/>
                <a:gd name="connsiteX10" fmla="*/ 19160 w 57352"/>
                <a:gd name="connsiteY10" fmla="*/ 41999 h 41998"/>
                <a:gd name="connsiteX11" fmla="*/ 19160 w 57352"/>
                <a:gd name="connsiteY11" fmla="*/ 27915 h 41998"/>
                <a:gd name="connsiteX12" fmla="*/ 0 w 57352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2" h="41998">
                  <a:moveTo>
                    <a:pt x="0" y="27915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352" y="13957"/>
                  </a:lnTo>
                  <a:lnTo>
                    <a:pt x="57352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4" name="Freihandform: Form 173">
              <a:extLst>
                <a:ext uri="{FF2B5EF4-FFF2-40B4-BE49-F238E27FC236}">
                  <a16:creationId xmlns:a16="http://schemas.microsoft.com/office/drawing/2014/main" id="{77DB3475-5F76-1D7C-FCC2-1DE6BCA061CA}"/>
                </a:ext>
              </a:extLst>
            </p:cNvPr>
            <p:cNvSpPr/>
            <p:nvPr/>
          </p:nvSpPr>
          <p:spPr>
            <a:xfrm>
              <a:off x="1845820" y="3231610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2 w 57225"/>
                <a:gd name="connsiteY8" fmla="*/ 28042 h 41998"/>
                <a:gd name="connsiteX9" fmla="*/ 38192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5" name="Freihandform: Form 174">
              <a:extLst>
                <a:ext uri="{FF2B5EF4-FFF2-40B4-BE49-F238E27FC236}">
                  <a16:creationId xmlns:a16="http://schemas.microsoft.com/office/drawing/2014/main" id="{9E45BBBF-3209-B168-2C80-47CCB2B50D3D}"/>
                </a:ext>
              </a:extLst>
            </p:cNvPr>
            <p:cNvSpPr/>
            <p:nvPr/>
          </p:nvSpPr>
          <p:spPr>
            <a:xfrm>
              <a:off x="1948343" y="3392628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160 w 57225"/>
                <a:gd name="connsiteY2" fmla="*/ 13957 h 41998"/>
                <a:gd name="connsiteX3" fmla="*/ 19160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2 w 57225"/>
                <a:gd name="connsiteY8" fmla="*/ 28042 h 41998"/>
                <a:gd name="connsiteX9" fmla="*/ 38192 w 57225"/>
                <a:gd name="connsiteY9" fmla="*/ 41999 h 41998"/>
                <a:gd name="connsiteX10" fmla="*/ 19160 w 57225"/>
                <a:gd name="connsiteY10" fmla="*/ 41999 h 41998"/>
                <a:gd name="connsiteX11" fmla="*/ 19160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6" name="Freihandform: Form 175">
              <a:extLst>
                <a:ext uri="{FF2B5EF4-FFF2-40B4-BE49-F238E27FC236}">
                  <a16:creationId xmlns:a16="http://schemas.microsoft.com/office/drawing/2014/main" id="{301E166E-675D-2A9E-7C1D-B585ACD4CBF4}"/>
                </a:ext>
              </a:extLst>
            </p:cNvPr>
            <p:cNvSpPr/>
            <p:nvPr/>
          </p:nvSpPr>
          <p:spPr>
            <a:xfrm>
              <a:off x="1967757" y="3421050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4084 h 41998"/>
                <a:gd name="connsiteX2" fmla="*/ 19033 w 57225"/>
                <a:gd name="connsiteY2" fmla="*/ 14084 h 41998"/>
                <a:gd name="connsiteX3" fmla="*/ 19033 w 57225"/>
                <a:gd name="connsiteY3" fmla="*/ 0 h 41998"/>
                <a:gd name="connsiteX4" fmla="*/ 38066 w 57225"/>
                <a:gd name="connsiteY4" fmla="*/ 0 h 41998"/>
                <a:gd name="connsiteX5" fmla="*/ 38066 w 57225"/>
                <a:gd name="connsiteY5" fmla="*/ 14084 h 41998"/>
                <a:gd name="connsiteX6" fmla="*/ 57225 w 57225"/>
                <a:gd name="connsiteY6" fmla="*/ 14084 h 41998"/>
                <a:gd name="connsiteX7" fmla="*/ 57225 w 57225"/>
                <a:gd name="connsiteY7" fmla="*/ 28042 h 41998"/>
                <a:gd name="connsiteX8" fmla="*/ 38066 w 57225"/>
                <a:gd name="connsiteY8" fmla="*/ 28042 h 41998"/>
                <a:gd name="connsiteX9" fmla="*/ 38066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066" y="28042"/>
                  </a:lnTo>
                  <a:lnTo>
                    <a:pt x="38066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7" name="Freihandform: Form 176">
              <a:extLst>
                <a:ext uri="{FF2B5EF4-FFF2-40B4-BE49-F238E27FC236}">
                  <a16:creationId xmlns:a16="http://schemas.microsoft.com/office/drawing/2014/main" id="{A94AC84D-9582-6D3E-5FFD-3FD329E49E70}"/>
                </a:ext>
              </a:extLst>
            </p:cNvPr>
            <p:cNvSpPr/>
            <p:nvPr/>
          </p:nvSpPr>
          <p:spPr>
            <a:xfrm>
              <a:off x="1981206" y="3430566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4084 h 41998"/>
                <a:gd name="connsiteX2" fmla="*/ 19033 w 57225"/>
                <a:gd name="connsiteY2" fmla="*/ 14084 h 41998"/>
                <a:gd name="connsiteX3" fmla="*/ 19033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4084 h 41998"/>
                <a:gd name="connsiteX6" fmla="*/ 57225 w 57225"/>
                <a:gd name="connsiteY6" fmla="*/ 14084 h 41998"/>
                <a:gd name="connsiteX7" fmla="*/ 57225 w 57225"/>
                <a:gd name="connsiteY7" fmla="*/ 28042 h 41998"/>
                <a:gd name="connsiteX8" fmla="*/ 38192 w 57225"/>
                <a:gd name="connsiteY8" fmla="*/ 28042 h 41998"/>
                <a:gd name="connsiteX9" fmla="*/ 38192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8" name="Freihandform: Form 177">
              <a:extLst>
                <a:ext uri="{FF2B5EF4-FFF2-40B4-BE49-F238E27FC236}">
                  <a16:creationId xmlns:a16="http://schemas.microsoft.com/office/drawing/2014/main" id="{CD0327C7-535F-C171-573A-F8F7C2323BFB}"/>
                </a:ext>
              </a:extLst>
            </p:cNvPr>
            <p:cNvSpPr/>
            <p:nvPr/>
          </p:nvSpPr>
          <p:spPr>
            <a:xfrm>
              <a:off x="2021937" y="3483224"/>
              <a:ext cx="57225" cy="42125"/>
            </a:xfrm>
            <a:custGeom>
              <a:avLst/>
              <a:gdLst>
                <a:gd name="connsiteX0" fmla="*/ 0 w 57225"/>
                <a:gd name="connsiteY0" fmla="*/ 28042 h 42125"/>
                <a:gd name="connsiteX1" fmla="*/ 0 w 57225"/>
                <a:gd name="connsiteY1" fmla="*/ 14084 h 42125"/>
                <a:gd name="connsiteX2" fmla="*/ 19033 w 57225"/>
                <a:gd name="connsiteY2" fmla="*/ 14084 h 42125"/>
                <a:gd name="connsiteX3" fmla="*/ 19033 w 57225"/>
                <a:gd name="connsiteY3" fmla="*/ 0 h 42125"/>
                <a:gd name="connsiteX4" fmla="*/ 38192 w 57225"/>
                <a:gd name="connsiteY4" fmla="*/ 0 h 42125"/>
                <a:gd name="connsiteX5" fmla="*/ 38192 w 57225"/>
                <a:gd name="connsiteY5" fmla="*/ 14084 h 42125"/>
                <a:gd name="connsiteX6" fmla="*/ 57225 w 57225"/>
                <a:gd name="connsiteY6" fmla="*/ 14084 h 42125"/>
                <a:gd name="connsiteX7" fmla="*/ 57225 w 57225"/>
                <a:gd name="connsiteY7" fmla="*/ 28042 h 42125"/>
                <a:gd name="connsiteX8" fmla="*/ 38192 w 57225"/>
                <a:gd name="connsiteY8" fmla="*/ 28042 h 42125"/>
                <a:gd name="connsiteX9" fmla="*/ 38192 w 57225"/>
                <a:gd name="connsiteY9" fmla="*/ 42126 h 42125"/>
                <a:gd name="connsiteX10" fmla="*/ 19033 w 57225"/>
                <a:gd name="connsiteY10" fmla="*/ 42126 h 42125"/>
                <a:gd name="connsiteX11" fmla="*/ 19033 w 57225"/>
                <a:gd name="connsiteY11" fmla="*/ 28042 h 42125"/>
                <a:gd name="connsiteX12" fmla="*/ 0 w 57225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2125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2126"/>
                  </a:lnTo>
                  <a:lnTo>
                    <a:pt x="19033" y="42126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9" name="Freihandform: Form 178">
              <a:extLst>
                <a:ext uri="{FF2B5EF4-FFF2-40B4-BE49-F238E27FC236}">
                  <a16:creationId xmlns:a16="http://schemas.microsoft.com/office/drawing/2014/main" id="{2F7BE0B5-A8A5-F4A9-43FC-466CD3E0A648}"/>
                </a:ext>
              </a:extLst>
            </p:cNvPr>
            <p:cNvSpPr/>
            <p:nvPr/>
          </p:nvSpPr>
          <p:spPr>
            <a:xfrm>
              <a:off x="2023840" y="3492867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4084 h 41998"/>
                <a:gd name="connsiteX2" fmla="*/ 19033 w 57225"/>
                <a:gd name="connsiteY2" fmla="*/ 14084 h 41998"/>
                <a:gd name="connsiteX3" fmla="*/ 19033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4084 h 41998"/>
                <a:gd name="connsiteX6" fmla="*/ 57225 w 57225"/>
                <a:gd name="connsiteY6" fmla="*/ 14084 h 41998"/>
                <a:gd name="connsiteX7" fmla="*/ 57225 w 57225"/>
                <a:gd name="connsiteY7" fmla="*/ 28042 h 41998"/>
                <a:gd name="connsiteX8" fmla="*/ 38192 w 57225"/>
                <a:gd name="connsiteY8" fmla="*/ 28042 h 41998"/>
                <a:gd name="connsiteX9" fmla="*/ 38192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0" name="Freihandform: Form 179">
              <a:extLst>
                <a:ext uri="{FF2B5EF4-FFF2-40B4-BE49-F238E27FC236}">
                  <a16:creationId xmlns:a16="http://schemas.microsoft.com/office/drawing/2014/main" id="{100FDF40-E4CA-46CB-9E3F-A60B489E584A}"/>
                </a:ext>
              </a:extLst>
            </p:cNvPr>
            <p:cNvSpPr/>
            <p:nvPr/>
          </p:nvSpPr>
          <p:spPr>
            <a:xfrm>
              <a:off x="2029677" y="3497688"/>
              <a:ext cx="57225" cy="42125"/>
            </a:xfrm>
            <a:custGeom>
              <a:avLst/>
              <a:gdLst>
                <a:gd name="connsiteX0" fmla="*/ 0 w 57225"/>
                <a:gd name="connsiteY0" fmla="*/ 28042 h 42125"/>
                <a:gd name="connsiteX1" fmla="*/ 0 w 57225"/>
                <a:gd name="connsiteY1" fmla="*/ 14084 h 42125"/>
                <a:gd name="connsiteX2" fmla="*/ 19033 w 57225"/>
                <a:gd name="connsiteY2" fmla="*/ 14084 h 42125"/>
                <a:gd name="connsiteX3" fmla="*/ 19033 w 57225"/>
                <a:gd name="connsiteY3" fmla="*/ 0 h 42125"/>
                <a:gd name="connsiteX4" fmla="*/ 38192 w 57225"/>
                <a:gd name="connsiteY4" fmla="*/ 0 h 42125"/>
                <a:gd name="connsiteX5" fmla="*/ 38192 w 57225"/>
                <a:gd name="connsiteY5" fmla="*/ 14084 h 42125"/>
                <a:gd name="connsiteX6" fmla="*/ 57225 w 57225"/>
                <a:gd name="connsiteY6" fmla="*/ 14084 h 42125"/>
                <a:gd name="connsiteX7" fmla="*/ 57225 w 57225"/>
                <a:gd name="connsiteY7" fmla="*/ 28042 h 42125"/>
                <a:gd name="connsiteX8" fmla="*/ 38192 w 57225"/>
                <a:gd name="connsiteY8" fmla="*/ 28042 h 42125"/>
                <a:gd name="connsiteX9" fmla="*/ 38192 w 57225"/>
                <a:gd name="connsiteY9" fmla="*/ 42126 h 42125"/>
                <a:gd name="connsiteX10" fmla="*/ 19033 w 57225"/>
                <a:gd name="connsiteY10" fmla="*/ 42126 h 42125"/>
                <a:gd name="connsiteX11" fmla="*/ 19033 w 57225"/>
                <a:gd name="connsiteY11" fmla="*/ 28042 h 42125"/>
                <a:gd name="connsiteX12" fmla="*/ 0 w 57225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2125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2126"/>
                  </a:lnTo>
                  <a:lnTo>
                    <a:pt x="19033" y="42126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1" name="Freihandform: Form 180">
              <a:extLst>
                <a:ext uri="{FF2B5EF4-FFF2-40B4-BE49-F238E27FC236}">
                  <a16:creationId xmlns:a16="http://schemas.microsoft.com/office/drawing/2014/main" id="{6B36D346-CD6D-2526-9787-650D5CFE08BD}"/>
                </a:ext>
              </a:extLst>
            </p:cNvPr>
            <p:cNvSpPr/>
            <p:nvPr/>
          </p:nvSpPr>
          <p:spPr>
            <a:xfrm>
              <a:off x="2056576" y="3517229"/>
              <a:ext cx="57352" cy="41998"/>
            </a:xfrm>
            <a:custGeom>
              <a:avLst/>
              <a:gdLst>
                <a:gd name="connsiteX0" fmla="*/ 0 w 57352"/>
                <a:gd name="connsiteY0" fmla="*/ 27915 h 41998"/>
                <a:gd name="connsiteX1" fmla="*/ 0 w 57352"/>
                <a:gd name="connsiteY1" fmla="*/ 13957 h 41998"/>
                <a:gd name="connsiteX2" fmla="*/ 19160 w 57352"/>
                <a:gd name="connsiteY2" fmla="*/ 13957 h 41998"/>
                <a:gd name="connsiteX3" fmla="*/ 19160 w 57352"/>
                <a:gd name="connsiteY3" fmla="*/ 0 h 41998"/>
                <a:gd name="connsiteX4" fmla="*/ 38192 w 57352"/>
                <a:gd name="connsiteY4" fmla="*/ 0 h 41998"/>
                <a:gd name="connsiteX5" fmla="*/ 38192 w 57352"/>
                <a:gd name="connsiteY5" fmla="*/ 13957 h 41998"/>
                <a:gd name="connsiteX6" fmla="*/ 57352 w 57352"/>
                <a:gd name="connsiteY6" fmla="*/ 13957 h 41998"/>
                <a:gd name="connsiteX7" fmla="*/ 57352 w 57352"/>
                <a:gd name="connsiteY7" fmla="*/ 27915 h 41998"/>
                <a:gd name="connsiteX8" fmla="*/ 38192 w 57352"/>
                <a:gd name="connsiteY8" fmla="*/ 27915 h 41998"/>
                <a:gd name="connsiteX9" fmla="*/ 38192 w 57352"/>
                <a:gd name="connsiteY9" fmla="*/ 41999 h 41998"/>
                <a:gd name="connsiteX10" fmla="*/ 19160 w 57352"/>
                <a:gd name="connsiteY10" fmla="*/ 41999 h 41998"/>
                <a:gd name="connsiteX11" fmla="*/ 19160 w 57352"/>
                <a:gd name="connsiteY11" fmla="*/ 27915 h 41998"/>
                <a:gd name="connsiteX12" fmla="*/ 0 w 57352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2" h="41998">
                  <a:moveTo>
                    <a:pt x="0" y="27915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352" y="13957"/>
                  </a:lnTo>
                  <a:lnTo>
                    <a:pt x="57352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2" name="Freihandform: Form 181">
              <a:extLst>
                <a:ext uri="{FF2B5EF4-FFF2-40B4-BE49-F238E27FC236}">
                  <a16:creationId xmlns:a16="http://schemas.microsoft.com/office/drawing/2014/main" id="{B12464B6-146C-0B4A-1047-E7D1DC32616E}"/>
                </a:ext>
              </a:extLst>
            </p:cNvPr>
            <p:cNvSpPr/>
            <p:nvPr/>
          </p:nvSpPr>
          <p:spPr>
            <a:xfrm>
              <a:off x="2075990" y="3541591"/>
              <a:ext cx="57225" cy="41998"/>
            </a:xfrm>
            <a:custGeom>
              <a:avLst/>
              <a:gdLst>
                <a:gd name="connsiteX0" fmla="*/ 0 w 57225"/>
                <a:gd name="connsiteY0" fmla="*/ 27915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7915 h 41998"/>
                <a:gd name="connsiteX8" fmla="*/ 38192 w 57225"/>
                <a:gd name="connsiteY8" fmla="*/ 27915 h 41998"/>
                <a:gd name="connsiteX9" fmla="*/ 38192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7915 h 41998"/>
                <a:gd name="connsiteX12" fmla="*/ 0 w 57225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7915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3" name="Freihandform: Form 182">
              <a:extLst>
                <a:ext uri="{FF2B5EF4-FFF2-40B4-BE49-F238E27FC236}">
                  <a16:creationId xmlns:a16="http://schemas.microsoft.com/office/drawing/2014/main" id="{864855FA-2ED9-8EC4-9EC2-0A5055D78C9F}"/>
                </a:ext>
              </a:extLst>
            </p:cNvPr>
            <p:cNvSpPr/>
            <p:nvPr/>
          </p:nvSpPr>
          <p:spPr>
            <a:xfrm>
              <a:off x="2079923" y="3541591"/>
              <a:ext cx="57225" cy="41998"/>
            </a:xfrm>
            <a:custGeom>
              <a:avLst/>
              <a:gdLst>
                <a:gd name="connsiteX0" fmla="*/ 0 w 57225"/>
                <a:gd name="connsiteY0" fmla="*/ 27915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7915 h 41998"/>
                <a:gd name="connsiteX8" fmla="*/ 38192 w 57225"/>
                <a:gd name="connsiteY8" fmla="*/ 27915 h 41998"/>
                <a:gd name="connsiteX9" fmla="*/ 38192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7915 h 41998"/>
                <a:gd name="connsiteX12" fmla="*/ 0 w 57225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7915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4" name="Freihandform: Form 183">
              <a:extLst>
                <a:ext uri="{FF2B5EF4-FFF2-40B4-BE49-F238E27FC236}">
                  <a16:creationId xmlns:a16="http://schemas.microsoft.com/office/drawing/2014/main" id="{9FC9946E-332F-CA11-B7BD-F166FCA61B0F}"/>
                </a:ext>
              </a:extLst>
            </p:cNvPr>
            <p:cNvSpPr/>
            <p:nvPr/>
          </p:nvSpPr>
          <p:spPr>
            <a:xfrm>
              <a:off x="2089566" y="3541591"/>
              <a:ext cx="57225" cy="41998"/>
            </a:xfrm>
            <a:custGeom>
              <a:avLst/>
              <a:gdLst>
                <a:gd name="connsiteX0" fmla="*/ 0 w 57225"/>
                <a:gd name="connsiteY0" fmla="*/ 27915 h 41998"/>
                <a:gd name="connsiteX1" fmla="*/ 0 w 57225"/>
                <a:gd name="connsiteY1" fmla="*/ 13957 h 41998"/>
                <a:gd name="connsiteX2" fmla="*/ 19160 w 57225"/>
                <a:gd name="connsiteY2" fmla="*/ 13957 h 41998"/>
                <a:gd name="connsiteX3" fmla="*/ 19160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7915 h 41998"/>
                <a:gd name="connsiteX8" fmla="*/ 38192 w 57225"/>
                <a:gd name="connsiteY8" fmla="*/ 27915 h 41998"/>
                <a:gd name="connsiteX9" fmla="*/ 38192 w 57225"/>
                <a:gd name="connsiteY9" fmla="*/ 41999 h 41998"/>
                <a:gd name="connsiteX10" fmla="*/ 19160 w 57225"/>
                <a:gd name="connsiteY10" fmla="*/ 41999 h 41998"/>
                <a:gd name="connsiteX11" fmla="*/ 19160 w 57225"/>
                <a:gd name="connsiteY11" fmla="*/ 27915 h 41998"/>
                <a:gd name="connsiteX12" fmla="*/ 0 w 57225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7915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5" name="Freihandform: Form 184">
              <a:extLst>
                <a:ext uri="{FF2B5EF4-FFF2-40B4-BE49-F238E27FC236}">
                  <a16:creationId xmlns:a16="http://schemas.microsoft.com/office/drawing/2014/main" id="{AFCFCD2B-23CF-27EC-D980-6784C30C42D8}"/>
                </a:ext>
              </a:extLst>
            </p:cNvPr>
            <p:cNvSpPr/>
            <p:nvPr/>
          </p:nvSpPr>
          <p:spPr>
            <a:xfrm>
              <a:off x="2089566" y="3541591"/>
              <a:ext cx="57225" cy="41998"/>
            </a:xfrm>
            <a:custGeom>
              <a:avLst/>
              <a:gdLst>
                <a:gd name="connsiteX0" fmla="*/ 0 w 57225"/>
                <a:gd name="connsiteY0" fmla="*/ 27915 h 41998"/>
                <a:gd name="connsiteX1" fmla="*/ 0 w 57225"/>
                <a:gd name="connsiteY1" fmla="*/ 13957 h 41998"/>
                <a:gd name="connsiteX2" fmla="*/ 19160 w 57225"/>
                <a:gd name="connsiteY2" fmla="*/ 13957 h 41998"/>
                <a:gd name="connsiteX3" fmla="*/ 19160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7915 h 41998"/>
                <a:gd name="connsiteX8" fmla="*/ 38192 w 57225"/>
                <a:gd name="connsiteY8" fmla="*/ 27915 h 41998"/>
                <a:gd name="connsiteX9" fmla="*/ 38192 w 57225"/>
                <a:gd name="connsiteY9" fmla="*/ 41999 h 41998"/>
                <a:gd name="connsiteX10" fmla="*/ 19160 w 57225"/>
                <a:gd name="connsiteY10" fmla="*/ 41999 h 41998"/>
                <a:gd name="connsiteX11" fmla="*/ 19160 w 57225"/>
                <a:gd name="connsiteY11" fmla="*/ 27915 h 41998"/>
                <a:gd name="connsiteX12" fmla="*/ 0 w 57225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7915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6" name="Freihandform: Form 185">
              <a:extLst>
                <a:ext uri="{FF2B5EF4-FFF2-40B4-BE49-F238E27FC236}">
                  <a16:creationId xmlns:a16="http://schemas.microsoft.com/office/drawing/2014/main" id="{4EB2008D-F3C0-8261-FE9F-BD2407286335}"/>
                </a:ext>
              </a:extLst>
            </p:cNvPr>
            <p:cNvSpPr/>
            <p:nvPr/>
          </p:nvSpPr>
          <p:spPr>
            <a:xfrm>
              <a:off x="2099210" y="3546539"/>
              <a:ext cx="57352" cy="41998"/>
            </a:xfrm>
            <a:custGeom>
              <a:avLst/>
              <a:gdLst>
                <a:gd name="connsiteX0" fmla="*/ 0 w 57352"/>
                <a:gd name="connsiteY0" fmla="*/ 27915 h 41998"/>
                <a:gd name="connsiteX1" fmla="*/ 0 w 57352"/>
                <a:gd name="connsiteY1" fmla="*/ 13957 h 41998"/>
                <a:gd name="connsiteX2" fmla="*/ 19160 w 57352"/>
                <a:gd name="connsiteY2" fmla="*/ 13957 h 41998"/>
                <a:gd name="connsiteX3" fmla="*/ 19160 w 57352"/>
                <a:gd name="connsiteY3" fmla="*/ 0 h 41998"/>
                <a:gd name="connsiteX4" fmla="*/ 38192 w 57352"/>
                <a:gd name="connsiteY4" fmla="*/ 0 h 41998"/>
                <a:gd name="connsiteX5" fmla="*/ 38192 w 57352"/>
                <a:gd name="connsiteY5" fmla="*/ 13957 h 41998"/>
                <a:gd name="connsiteX6" fmla="*/ 57352 w 57352"/>
                <a:gd name="connsiteY6" fmla="*/ 13957 h 41998"/>
                <a:gd name="connsiteX7" fmla="*/ 57352 w 57352"/>
                <a:gd name="connsiteY7" fmla="*/ 27915 h 41998"/>
                <a:gd name="connsiteX8" fmla="*/ 38192 w 57352"/>
                <a:gd name="connsiteY8" fmla="*/ 27915 h 41998"/>
                <a:gd name="connsiteX9" fmla="*/ 38192 w 57352"/>
                <a:gd name="connsiteY9" fmla="*/ 41999 h 41998"/>
                <a:gd name="connsiteX10" fmla="*/ 19160 w 57352"/>
                <a:gd name="connsiteY10" fmla="*/ 41999 h 41998"/>
                <a:gd name="connsiteX11" fmla="*/ 19160 w 57352"/>
                <a:gd name="connsiteY11" fmla="*/ 27915 h 41998"/>
                <a:gd name="connsiteX12" fmla="*/ 0 w 57352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2" h="41998">
                  <a:moveTo>
                    <a:pt x="0" y="27915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352" y="13957"/>
                  </a:lnTo>
                  <a:lnTo>
                    <a:pt x="57352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7" name="Freihandform: Form 186">
              <a:extLst>
                <a:ext uri="{FF2B5EF4-FFF2-40B4-BE49-F238E27FC236}">
                  <a16:creationId xmlns:a16="http://schemas.microsoft.com/office/drawing/2014/main" id="{51452BDB-DCED-362B-D687-1F6EEBF33ECF}"/>
                </a:ext>
              </a:extLst>
            </p:cNvPr>
            <p:cNvSpPr/>
            <p:nvPr/>
          </p:nvSpPr>
          <p:spPr>
            <a:xfrm>
              <a:off x="2108980" y="3556436"/>
              <a:ext cx="57225" cy="41999"/>
            </a:xfrm>
            <a:custGeom>
              <a:avLst/>
              <a:gdLst>
                <a:gd name="connsiteX0" fmla="*/ 0 w 57225"/>
                <a:gd name="connsiteY0" fmla="*/ 27915 h 41999"/>
                <a:gd name="connsiteX1" fmla="*/ 0 w 57225"/>
                <a:gd name="connsiteY1" fmla="*/ 13957 h 41999"/>
                <a:gd name="connsiteX2" fmla="*/ 19033 w 57225"/>
                <a:gd name="connsiteY2" fmla="*/ 13957 h 41999"/>
                <a:gd name="connsiteX3" fmla="*/ 19033 w 57225"/>
                <a:gd name="connsiteY3" fmla="*/ 0 h 41999"/>
                <a:gd name="connsiteX4" fmla="*/ 38066 w 57225"/>
                <a:gd name="connsiteY4" fmla="*/ 0 h 41999"/>
                <a:gd name="connsiteX5" fmla="*/ 38066 w 57225"/>
                <a:gd name="connsiteY5" fmla="*/ 13957 h 41999"/>
                <a:gd name="connsiteX6" fmla="*/ 57225 w 57225"/>
                <a:gd name="connsiteY6" fmla="*/ 13957 h 41999"/>
                <a:gd name="connsiteX7" fmla="*/ 57225 w 57225"/>
                <a:gd name="connsiteY7" fmla="*/ 27915 h 41999"/>
                <a:gd name="connsiteX8" fmla="*/ 38066 w 57225"/>
                <a:gd name="connsiteY8" fmla="*/ 27915 h 41999"/>
                <a:gd name="connsiteX9" fmla="*/ 38066 w 57225"/>
                <a:gd name="connsiteY9" fmla="*/ 41999 h 41999"/>
                <a:gd name="connsiteX10" fmla="*/ 19033 w 57225"/>
                <a:gd name="connsiteY10" fmla="*/ 41999 h 41999"/>
                <a:gd name="connsiteX11" fmla="*/ 19033 w 57225"/>
                <a:gd name="connsiteY11" fmla="*/ 27915 h 41999"/>
                <a:gd name="connsiteX12" fmla="*/ 0 w 57225"/>
                <a:gd name="connsiteY12" fmla="*/ 27915 h 4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9">
                  <a:moveTo>
                    <a:pt x="0" y="27915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066" y="27915"/>
                  </a:lnTo>
                  <a:lnTo>
                    <a:pt x="38066" y="41999"/>
                  </a:lnTo>
                  <a:lnTo>
                    <a:pt x="19033" y="41999"/>
                  </a:lnTo>
                  <a:lnTo>
                    <a:pt x="19033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8" name="Freihandform: Form 187">
              <a:extLst>
                <a:ext uri="{FF2B5EF4-FFF2-40B4-BE49-F238E27FC236}">
                  <a16:creationId xmlns:a16="http://schemas.microsoft.com/office/drawing/2014/main" id="{0277798F-89FC-E1DD-4BF5-AA622B4E7B12}"/>
                </a:ext>
              </a:extLst>
            </p:cNvPr>
            <p:cNvSpPr/>
            <p:nvPr/>
          </p:nvSpPr>
          <p:spPr>
            <a:xfrm>
              <a:off x="2108980" y="3556436"/>
              <a:ext cx="57225" cy="41999"/>
            </a:xfrm>
            <a:custGeom>
              <a:avLst/>
              <a:gdLst>
                <a:gd name="connsiteX0" fmla="*/ 0 w 57225"/>
                <a:gd name="connsiteY0" fmla="*/ 27915 h 41999"/>
                <a:gd name="connsiteX1" fmla="*/ 0 w 57225"/>
                <a:gd name="connsiteY1" fmla="*/ 13957 h 41999"/>
                <a:gd name="connsiteX2" fmla="*/ 19033 w 57225"/>
                <a:gd name="connsiteY2" fmla="*/ 13957 h 41999"/>
                <a:gd name="connsiteX3" fmla="*/ 19033 w 57225"/>
                <a:gd name="connsiteY3" fmla="*/ 0 h 41999"/>
                <a:gd name="connsiteX4" fmla="*/ 38066 w 57225"/>
                <a:gd name="connsiteY4" fmla="*/ 0 h 41999"/>
                <a:gd name="connsiteX5" fmla="*/ 38066 w 57225"/>
                <a:gd name="connsiteY5" fmla="*/ 13957 h 41999"/>
                <a:gd name="connsiteX6" fmla="*/ 57225 w 57225"/>
                <a:gd name="connsiteY6" fmla="*/ 13957 h 41999"/>
                <a:gd name="connsiteX7" fmla="*/ 57225 w 57225"/>
                <a:gd name="connsiteY7" fmla="*/ 27915 h 41999"/>
                <a:gd name="connsiteX8" fmla="*/ 38066 w 57225"/>
                <a:gd name="connsiteY8" fmla="*/ 27915 h 41999"/>
                <a:gd name="connsiteX9" fmla="*/ 38066 w 57225"/>
                <a:gd name="connsiteY9" fmla="*/ 41999 h 41999"/>
                <a:gd name="connsiteX10" fmla="*/ 19033 w 57225"/>
                <a:gd name="connsiteY10" fmla="*/ 41999 h 41999"/>
                <a:gd name="connsiteX11" fmla="*/ 19033 w 57225"/>
                <a:gd name="connsiteY11" fmla="*/ 27915 h 41999"/>
                <a:gd name="connsiteX12" fmla="*/ 0 w 57225"/>
                <a:gd name="connsiteY12" fmla="*/ 27915 h 4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9">
                  <a:moveTo>
                    <a:pt x="0" y="27915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066" y="27915"/>
                  </a:lnTo>
                  <a:lnTo>
                    <a:pt x="38066" y="41999"/>
                  </a:lnTo>
                  <a:lnTo>
                    <a:pt x="19033" y="41999"/>
                  </a:lnTo>
                  <a:lnTo>
                    <a:pt x="19033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9" name="Freihandform: Form 188">
              <a:extLst>
                <a:ext uri="{FF2B5EF4-FFF2-40B4-BE49-F238E27FC236}">
                  <a16:creationId xmlns:a16="http://schemas.microsoft.com/office/drawing/2014/main" id="{04B48123-44F8-C154-950A-0CB0D981BCC8}"/>
                </a:ext>
              </a:extLst>
            </p:cNvPr>
            <p:cNvSpPr/>
            <p:nvPr/>
          </p:nvSpPr>
          <p:spPr>
            <a:xfrm>
              <a:off x="2110883" y="3556436"/>
              <a:ext cx="57225" cy="41999"/>
            </a:xfrm>
            <a:custGeom>
              <a:avLst/>
              <a:gdLst>
                <a:gd name="connsiteX0" fmla="*/ 0 w 57225"/>
                <a:gd name="connsiteY0" fmla="*/ 27915 h 41999"/>
                <a:gd name="connsiteX1" fmla="*/ 0 w 57225"/>
                <a:gd name="connsiteY1" fmla="*/ 13957 h 41999"/>
                <a:gd name="connsiteX2" fmla="*/ 19033 w 57225"/>
                <a:gd name="connsiteY2" fmla="*/ 13957 h 41999"/>
                <a:gd name="connsiteX3" fmla="*/ 19033 w 57225"/>
                <a:gd name="connsiteY3" fmla="*/ 0 h 41999"/>
                <a:gd name="connsiteX4" fmla="*/ 38066 w 57225"/>
                <a:gd name="connsiteY4" fmla="*/ 0 h 41999"/>
                <a:gd name="connsiteX5" fmla="*/ 38066 w 57225"/>
                <a:gd name="connsiteY5" fmla="*/ 13957 h 41999"/>
                <a:gd name="connsiteX6" fmla="*/ 57225 w 57225"/>
                <a:gd name="connsiteY6" fmla="*/ 13957 h 41999"/>
                <a:gd name="connsiteX7" fmla="*/ 57225 w 57225"/>
                <a:gd name="connsiteY7" fmla="*/ 27915 h 41999"/>
                <a:gd name="connsiteX8" fmla="*/ 38066 w 57225"/>
                <a:gd name="connsiteY8" fmla="*/ 27915 h 41999"/>
                <a:gd name="connsiteX9" fmla="*/ 38066 w 57225"/>
                <a:gd name="connsiteY9" fmla="*/ 41999 h 41999"/>
                <a:gd name="connsiteX10" fmla="*/ 19033 w 57225"/>
                <a:gd name="connsiteY10" fmla="*/ 41999 h 41999"/>
                <a:gd name="connsiteX11" fmla="*/ 19033 w 57225"/>
                <a:gd name="connsiteY11" fmla="*/ 27915 h 41999"/>
                <a:gd name="connsiteX12" fmla="*/ 0 w 57225"/>
                <a:gd name="connsiteY12" fmla="*/ 27915 h 4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9">
                  <a:moveTo>
                    <a:pt x="0" y="27915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066" y="27915"/>
                  </a:lnTo>
                  <a:lnTo>
                    <a:pt x="38066" y="41999"/>
                  </a:lnTo>
                  <a:lnTo>
                    <a:pt x="19033" y="41999"/>
                  </a:lnTo>
                  <a:lnTo>
                    <a:pt x="19033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0" name="Freihandform: Form 189">
              <a:extLst>
                <a:ext uri="{FF2B5EF4-FFF2-40B4-BE49-F238E27FC236}">
                  <a16:creationId xmlns:a16="http://schemas.microsoft.com/office/drawing/2014/main" id="{DC25A70A-3B83-0E4C-ACF0-A8F8E7BA83FA}"/>
                </a:ext>
              </a:extLst>
            </p:cNvPr>
            <p:cNvSpPr/>
            <p:nvPr/>
          </p:nvSpPr>
          <p:spPr>
            <a:xfrm>
              <a:off x="2116720" y="3571536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066 w 57225"/>
                <a:gd name="connsiteY4" fmla="*/ 0 h 41998"/>
                <a:gd name="connsiteX5" fmla="*/ 38066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066 w 57225"/>
                <a:gd name="connsiteY8" fmla="*/ 28042 h 41998"/>
                <a:gd name="connsiteX9" fmla="*/ 38066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066" y="28042"/>
                  </a:lnTo>
                  <a:lnTo>
                    <a:pt x="38066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1" name="Freihandform: Form 190">
              <a:extLst>
                <a:ext uri="{FF2B5EF4-FFF2-40B4-BE49-F238E27FC236}">
                  <a16:creationId xmlns:a16="http://schemas.microsoft.com/office/drawing/2014/main" id="{821E400B-DD4D-F862-2899-6C3750496BBF}"/>
                </a:ext>
              </a:extLst>
            </p:cNvPr>
            <p:cNvSpPr/>
            <p:nvPr/>
          </p:nvSpPr>
          <p:spPr>
            <a:xfrm>
              <a:off x="2124460" y="3571536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2 w 57225"/>
                <a:gd name="connsiteY8" fmla="*/ 28042 h 41998"/>
                <a:gd name="connsiteX9" fmla="*/ 38192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2" name="Freihandform: Form 191">
              <a:extLst>
                <a:ext uri="{FF2B5EF4-FFF2-40B4-BE49-F238E27FC236}">
                  <a16:creationId xmlns:a16="http://schemas.microsoft.com/office/drawing/2014/main" id="{BD32BCFA-FD41-66EC-66AB-01E50F0F6AE6}"/>
                </a:ext>
              </a:extLst>
            </p:cNvPr>
            <p:cNvSpPr/>
            <p:nvPr/>
          </p:nvSpPr>
          <p:spPr>
            <a:xfrm>
              <a:off x="2130170" y="3576611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4084 h 41998"/>
                <a:gd name="connsiteX2" fmla="*/ 19033 w 57225"/>
                <a:gd name="connsiteY2" fmla="*/ 14084 h 41998"/>
                <a:gd name="connsiteX3" fmla="*/ 19033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4084 h 41998"/>
                <a:gd name="connsiteX6" fmla="*/ 57225 w 57225"/>
                <a:gd name="connsiteY6" fmla="*/ 14084 h 41998"/>
                <a:gd name="connsiteX7" fmla="*/ 57225 w 57225"/>
                <a:gd name="connsiteY7" fmla="*/ 28042 h 41998"/>
                <a:gd name="connsiteX8" fmla="*/ 38192 w 57225"/>
                <a:gd name="connsiteY8" fmla="*/ 28042 h 41998"/>
                <a:gd name="connsiteX9" fmla="*/ 38192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3" name="Freihandform: Form 192">
              <a:extLst>
                <a:ext uri="{FF2B5EF4-FFF2-40B4-BE49-F238E27FC236}">
                  <a16:creationId xmlns:a16="http://schemas.microsoft.com/office/drawing/2014/main" id="{41AC32CA-E29E-25CF-FBFD-E6FD2C0F1A15}"/>
                </a:ext>
              </a:extLst>
            </p:cNvPr>
            <p:cNvSpPr/>
            <p:nvPr/>
          </p:nvSpPr>
          <p:spPr>
            <a:xfrm>
              <a:off x="2170900" y="3627873"/>
              <a:ext cx="57225" cy="41998"/>
            </a:xfrm>
            <a:custGeom>
              <a:avLst/>
              <a:gdLst>
                <a:gd name="connsiteX0" fmla="*/ 0 w 57225"/>
                <a:gd name="connsiteY0" fmla="*/ 27915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7915 h 41998"/>
                <a:gd name="connsiteX8" fmla="*/ 38192 w 57225"/>
                <a:gd name="connsiteY8" fmla="*/ 27915 h 41998"/>
                <a:gd name="connsiteX9" fmla="*/ 38192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7915 h 41998"/>
                <a:gd name="connsiteX12" fmla="*/ 0 w 57225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7915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4" name="Freihandform: Form 193">
              <a:extLst>
                <a:ext uri="{FF2B5EF4-FFF2-40B4-BE49-F238E27FC236}">
                  <a16:creationId xmlns:a16="http://schemas.microsoft.com/office/drawing/2014/main" id="{57EDD642-EA16-69F9-6F04-E8213A216934}"/>
                </a:ext>
              </a:extLst>
            </p:cNvPr>
            <p:cNvSpPr/>
            <p:nvPr/>
          </p:nvSpPr>
          <p:spPr>
            <a:xfrm>
              <a:off x="2186253" y="3643226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160 w 57225"/>
                <a:gd name="connsiteY2" fmla="*/ 13957 h 41998"/>
                <a:gd name="connsiteX3" fmla="*/ 19160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2 w 57225"/>
                <a:gd name="connsiteY8" fmla="*/ 28042 h 41998"/>
                <a:gd name="connsiteX9" fmla="*/ 38192 w 57225"/>
                <a:gd name="connsiteY9" fmla="*/ 41999 h 41998"/>
                <a:gd name="connsiteX10" fmla="*/ 19160 w 57225"/>
                <a:gd name="connsiteY10" fmla="*/ 41999 h 41998"/>
                <a:gd name="connsiteX11" fmla="*/ 19160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5" name="Freihandform: Form 194">
              <a:extLst>
                <a:ext uri="{FF2B5EF4-FFF2-40B4-BE49-F238E27FC236}">
                  <a16:creationId xmlns:a16="http://schemas.microsoft.com/office/drawing/2014/main" id="{CF5DC688-567E-7C6E-E02D-A0CC8CDCFA69}"/>
                </a:ext>
              </a:extLst>
            </p:cNvPr>
            <p:cNvSpPr/>
            <p:nvPr/>
          </p:nvSpPr>
          <p:spPr>
            <a:xfrm>
              <a:off x="2195896" y="3643226"/>
              <a:ext cx="57352" cy="41998"/>
            </a:xfrm>
            <a:custGeom>
              <a:avLst/>
              <a:gdLst>
                <a:gd name="connsiteX0" fmla="*/ 0 w 57352"/>
                <a:gd name="connsiteY0" fmla="*/ 28042 h 41998"/>
                <a:gd name="connsiteX1" fmla="*/ 0 w 57352"/>
                <a:gd name="connsiteY1" fmla="*/ 13957 h 41998"/>
                <a:gd name="connsiteX2" fmla="*/ 19160 w 57352"/>
                <a:gd name="connsiteY2" fmla="*/ 13957 h 41998"/>
                <a:gd name="connsiteX3" fmla="*/ 19160 w 57352"/>
                <a:gd name="connsiteY3" fmla="*/ 0 h 41998"/>
                <a:gd name="connsiteX4" fmla="*/ 38192 w 57352"/>
                <a:gd name="connsiteY4" fmla="*/ 0 h 41998"/>
                <a:gd name="connsiteX5" fmla="*/ 38192 w 57352"/>
                <a:gd name="connsiteY5" fmla="*/ 13957 h 41998"/>
                <a:gd name="connsiteX6" fmla="*/ 57352 w 57352"/>
                <a:gd name="connsiteY6" fmla="*/ 13957 h 41998"/>
                <a:gd name="connsiteX7" fmla="*/ 57352 w 57352"/>
                <a:gd name="connsiteY7" fmla="*/ 28042 h 41998"/>
                <a:gd name="connsiteX8" fmla="*/ 38192 w 57352"/>
                <a:gd name="connsiteY8" fmla="*/ 28042 h 41998"/>
                <a:gd name="connsiteX9" fmla="*/ 38192 w 57352"/>
                <a:gd name="connsiteY9" fmla="*/ 41999 h 41998"/>
                <a:gd name="connsiteX10" fmla="*/ 19160 w 57352"/>
                <a:gd name="connsiteY10" fmla="*/ 41999 h 41998"/>
                <a:gd name="connsiteX11" fmla="*/ 19160 w 57352"/>
                <a:gd name="connsiteY11" fmla="*/ 28042 h 41998"/>
                <a:gd name="connsiteX12" fmla="*/ 0 w 57352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2" h="41998">
                  <a:moveTo>
                    <a:pt x="0" y="28042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352" y="13957"/>
                  </a:lnTo>
                  <a:lnTo>
                    <a:pt x="57352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6" name="Freihandform: Form 195">
              <a:extLst>
                <a:ext uri="{FF2B5EF4-FFF2-40B4-BE49-F238E27FC236}">
                  <a16:creationId xmlns:a16="http://schemas.microsoft.com/office/drawing/2014/main" id="{DAFE25C9-1B29-5A80-B7F6-4E69EE0C9769}"/>
                </a:ext>
              </a:extLst>
            </p:cNvPr>
            <p:cNvSpPr/>
            <p:nvPr/>
          </p:nvSpPr>
          <p:spPr>
            <a:xfrm>
              <a:off x="2203763" y="3653630"/>
              <a:ext cx="57225" cy="42125"/>
            </a:xfrm>
            <a:custGeom>
              <a:avLst/>
              <a:gdLst>
                <a:gd name="connsiteX0" fmla="*/ 0 w 57225"/>
                <a:gd name="connsiteY0" fmla="*/ 28042 h 42125"/>
                <a:gd name="connsiteX1" fmla="*/ 0 w 57225"/>
                <a:gd name="connsiteY1" fmla="*/ 14084 h 42125"/>
                <a:gd name="connsiteX2" fmla="*/ 19033 w 57225"/>
                <a:gd name="connsiteY2" fmla="*/ 14084 h 42125"/>
                <a:gd name="connsiteX3" fmla="*/ 19033 w 57225"/>
                <a:gd name="connsiteY3" fmla="*/ 0 h 42125"/>
                <a:gd name="connsiteX4" fmla="*/ 38066 w 57225"/>
                <a:gd name="connsiteY4" fmla="*/ 0 h 42125"/>
                <a:gd name="connsiteX5" fmla="*/ 38066 w 57225"/>
                <a:gd name="connsiteY5" fmla="*/ 14084 h 42125"/>
                <a:gd name="connsiteX6" fmla="*/ 57225 w 57225"/>
                <a:gd name="connsiteY6" fmla="*/ 14084 h 42125"/>
                <a:gd name="connsiteX7" fmla="*/ 57225 w 57225"/>
                <a:gd name="connsiteY7" fmla="*/ 28042 h 42125"/>
                <a:gd name="connsiteX8" fmla="*/ 38066 w 57225"/>
                <a:gd name="connsiteY8" fmla="*/ 28042 h 42125"/>
                <a:gd name="connsiteX9" fmla="*/ 38066 w 57225"/>
                <a:gd name="connsiteY9" fmla="*/ 42126 h 42125"/>
                <a:gd name="connsiteX10" fmla="*/ 19033 w 57225"/>
                <a:gd name="connsiteY10" fmla="*/ 42126 h 42125"/>
                <a:gd name="connsiteX11" fmla="*/ 19033 w 57225"/>
                <a:gd name="connsiteY11" fmla="*/ 28042 h 42125"/>
                <a:gd name="connsiteX12" fmla="*/ 0 w 57225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2125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066" y="28042"/>
                  </a:lnTo>
                  <a:lnTo>
                    <a:pt x="38066" y="42126"/>
                  </a:lnTo>
                  <a:lnTo>
                    <a:pt x="19033" y="42126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7" name="Freihandform: Form 196">
              <a:extLst>
                <a:ext uri="{FF2B5EF4-FFF2-40B4-BE49-F238E27FC236}">
                  <a16:creationId xmlns:a16="http://schemas.microsoft.com/office/drawing/2014/main" id="{3C1F01B2-0D52-B3AD-3A47-03FA0792E105}"/>
                </a:ext>
              </a:extLst>
            </p:cNvPr>
            <p:cNvSpPr/>
            <p:nvPr/>
          </p:nvSpPr>
          <p:spPr>
            <a:xfrm>
              <a:off x="2217213" y="3658960"/>
              <a:ext cx="57225" cy="41998"/>
            </a:xfrm>
            <a:custGeom>
              <a:avLst/>
              <a:gdLst>
                <a:gd name="connsiteX0" fmla="*/ 0 w 57225"/>
                <a:gd name="connsiteY0" fmla="*/ 27915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7915 h 41998"/>
                <a:gd name="connsiteX8" fmla="*/ 38192 w 57225"/>
                <a:gd name="connsiteY8" fmla="*/ 27915 h 41998"/>
                <a:gd name="connsiteX9" fmla="*/ 38192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7915 h 41998"/>
                <a:gd name="connsiteX12" fmla="*/ 0 w 57225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7915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8" name="Freihandform: Form 197">
              <a:extLst>
                <a:ext uri="{FF2B5EF4-FFF2-40B4-BE49-F238E27FC236}">
                  <a16:creationId xmlns:a16="http://schemas.microsoft.com/office/drawing/2014/main" id="{5954030D-43F6-5810-8E4E-CE4B6D7F86BD}"/>
                </a:ext>
              </a:extLst>
            </p:cNvPr>
            <p:cNvSpPr/>
            <p:nvPr/>
          </p:nvSpPr>
          <p:spPr>
            <a:xfrm>
              <a:off x="2221146" y="3664162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2 w 57225"/>
                <a:gd name="connsiteY8" fmla="*/ 28042 h 41998"/>
                <a:gd name="connsiteX9" fmla="*/ 38192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9" name="Freihandform: Form 198">
              <a:extLst>
                <a:ext uri="{FF2B5EF4-FFF2-40B4-BE49-F238E27FC236}">
                  <a16:creationId xmlns:a16="http://schemas.microsoft.com/office/drawing/2014/main" id="{EEAF0955-BD33-E6AF-51E2-F7083EC2B6D4}"/>
                </a:ext>
              </a:extLst>
            </p:cNvPr>
            <p:cNvSpPr/>
            <p:nvPr/>
          </p:nvSpPr>
          <p:spPr>
            <a:xfrm>
              <a:off x="2234596" y="3674693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160 w 57225"/>
                <a:gd name="connsiteY2" fmla="*/ 13957 h 41998"/>
                <a:gd name="connsiteX3" fmla="*/ 19160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2 w 57225"/>
                <a:gd name="connsiteY8" fmla="*/ 28042 h 41998"/>
                <a:gd name="connsiteX9" fmla="*/ 38192 w 57225"/>
                <a:gd name="connsiteY9" fmla="*/ 41999 h 41998"/>
                <a:gd name="connsiteX10" fmla="*/ 19160 w 57225"/>
                <a:gd name="connsiteY10" fmla="*/ 41999 h 41998"/>
                <a:gd name="connsiteX11" fmla="*/ 19160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0" name="Freihandform: Form 199">
              <a:extLst>
                <a:ext uri="{FF2B5EF4-FFF2-40B4-BE49-F238E27FC236}">
                  <a16:creationId xmlns:a16="http://schemas.microsoft.com/office/drawing/2014/main" id="{4F9F6CEC-5D16-3727-3922-39A2810BD6CA}"/>
                </a:ext>
              </a:extLst>
            </p:cNvPr>
            <p:cNvSpPr/>
            <p:nvPr/>
          </p:nvSpPr>
          <p:spPr>
            <a:xfrm>
              <a:off x="2234596" y="3674693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160 w 57225"/>
                <a:gd name="connsiteY2" fmla="*/ 13957 h 41998"/>
                <a:gd name="connsiteX3" fmla="*/ 19160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2 w 57225"/>
                <a:gd name="connsiteY8" fmla="*/ 28042 h 41998"/>
                <a:gd name="connsiteX9" fmla="*/ 38192 w 57225"/>
                <a:gd name="connsiteY9" fmla="*/ 41999 h 41998"/>
                <a:gd name="connsiteX10" fmla="*/ 19160 w 57225"/>
                <a:gd name="connsiteY10" fmla="*/ 41999 h 41998"/>
                <a:gd name="connsiteX11" fmla="*/ 19160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1" name="Freihandform: Form 200">
              <a:extLst>
                <a:ext uri="{FF2B5EF4-FFF2-40B4-BE49-F238E27FC236}">
                  <a16:creationId xmlns:a16="http://schemas.microsoft.com/office/drawing/2014/main" id="{A1D07D78-65C6-0558-537F-36AADCFAA739}"/>
                </a:ext>
              </a:extLst>
            </p:cNvPr>
            <p:cNvSpPr/>
            <p:nvPr/>
          </p:nvSpPr>
          <p:spPr>
            <a:xfrm>
              <a:off x="2242336" y="3674693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160 w 57225"/>
                <a:gd name="connsiteY2" fmla="*/ 13957 h 41998"/>
                <a:gd name="connsiteX3" fmla="*/ 19160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2 w 57225"/>
                <a:gd name="connsiteY8" fmla="*/ 28042 h 41998"/>
                <a:gd name="connsiteX9" fmla="*/ 38192 w 57225"/>
                <a:gd name="connsiteY9" fmla="*/ 41999 h 41998"/>
                <a:gd name="connsiteX10" fmla="*/ 19160 w 57225"/>
                <a:gd name="connsiteY10" fmla="*/ 41999 h 41998"/>
                <a:gd name="connsiteX11" fmla="*/ 19160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2" name="Freihandform: Form 201">
              <a:extLst>
                <a:ext uri="{FF2B5EF4-FFF2-40B4-BE49-F238E27FC236}">
                  <a16:creationId xmlns:a16="http://schemas.microsoft.com/office/drawing/2014/main" id="{166AB19C-F0C7-7426-A894-32654F266870}"/>
                </a:ext>
              </a:extLst>
            </p:cNvPr>
            <p:cNvSpPr/>
            <p:nvPr/>
          </p:nvSpPr>
          <p:spPr>
            <a:xfrm>
              <a:off x="2254010" y="3690808"/>
              <a:ext cx="57225" cy="41998"/>
            </a:xfrm>
            <a:custGeom>
              <a:avLst/>
              <a:gdLst>
                <a:gd name="connsiteX0" fmla="*/ 0 w 57225"/>
                <a:gd name="connsiteY0" fmla="*/ 27915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066 w 57225"/>
                <a:gd name="connsiteY4" fmla="*/ 0 h 41998"/>
                <a:gd name="connsiteX5" fmla="*/ 38066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7915 h 41998"/>
                <a:gd name="connsiteX8" fmla="*/ 38066 w 57225"/>
                <a:gd name="connsiteY8" fmla="*/ 27915 h 41998"/>
                <a:gd name="connsiteX9" fmla="*/ 38066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7915 h 41998"/>
                <a:gd name="connsiteX12" fmla="*/ 0 w 57225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7915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066" y="27915"/>
                  </a:lnTo>
                  <a:lnTo>
                    <a:pt x="38066" y="41999"/>
                  </a:lnTo>
                  <a:lnTo>
                    <a:pt x="19033" y="41999"/>
                  </a:lnTo>
                  <a:lnTo>
                    <a:pt x="19033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3" name="Freihandform: Form 202">
              <a:extLst>
                <a:ext uri="{FF2B5EF4-FFF2-40B4-BE49-F238E27FC236}">
                  <a16:creationId xmlns:a16="http://schemas.microsoft.com/office/drawing/2014/main" id="{C49ED1D4-846A-CD2C-37BA-4039FA7273CB}"/>
                </a:ext>
              </a:extLst>
            </p:cNvPr>
            <p:cNvSpPr/>
            <p:nvPr/>
          </p:nvSpPr>
          <p:spPr>
            <a:xfrm>
              <a:off x="2290680" y="3707049"/>
              <a:ext cx="57352" cy="41998"/>
            </a:xfrm>
            <a:custGeom>
              <a:avLst/>
              <a:gdLst>
                <a:gd name="connsiteX0" fmla="*/ 0 w 57352"/>
                <a:gd name="connsiteY0" fmla="*/ 27915 h 41998"/>
                <a:gd name="connsiteX1" fmla="*/ 0 w 57352"/>
                <a:gd name="connsiteY1" fmla="*/ 13957 h 41998"/>
                <a:gd name="connsiteX2" fmla="*/ 19160 w 57352"/>
                <a:gd name="connsiteY2" fmla="*/ 13957 h 41998"/>
                <a:gd name="connsiteX3" fmla="*/ 19160 w 57352"/>
                <a:gd name="connsiteY3" fmla="*/ 0 h 41998"/>
                <a:gd name="connsiteX4" fmla="*/ 38192 w 57352"/>
                <a:gd name="connsiteY4" fmla="*/ 0 h 41998"/>
                <a:gd name="connsiteX5" fmla="*/ 38192 w 57352"/>
                <a:gd name="connsiteY5" fmla="*/ 13957 h 41998"/>
                <a:gd name="connsiteX6" fmla="*/ 57352 w 57352"/>
                <a:gd name="connsiteY6" fmla="*/ 13957 h 41998"/>
                <a:gd name="connsiteX7" fmla="*/ 57352 w 57352"/>
                <a:gd name="connsiteY7" fmla="*/ 27915 h 41998"/>
                <a:gd name="connsiteX8" fmla="*/ 38192 w 57352"/>
                <a:gd name="connsiteY8" fmla="*/ 27915 h 41998"/>
                <a:gd name="connsiteX9" fmla="*/ 38192 w 57352"/>
                <a:gd name="connsiteY9" fmla="*/ 41999 h 41998"/>
                <a:gd name="connsiteX10" fmla="*/ 19160 w 57352"/>
                <a:gd name="connsiteY10" fmla="*/ 41999 h 41998"/>
                <a:gd name="connsiteX11" fmla="*/ 19160 w 57352"/>
                <a:gd name="connsiteY11" fmla="*/ 27915 h 41998"/>
                <a:gd name="connsiteX12" fmla="*/ 0 w 57352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2" h="41998">
                  <a:moveTo>
                    <a:pt x="0" y="27915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352" y="13957"/>
                  </a:lnTo>
                  <a:lnTo>
                    <a:pt x="57352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4" name="Freihandform: Form 203">
              <a:extLst>
                <a:ext uri="{FF2B5EF4-FFF2-40B4-BE49-F238E27FC236}">
                  <a16:creationId xmlns:a16="http://schemas.microsoft.com/office/drawing/2014/main" id="{478B3FF9-2A1B-1997-E18C-4898B80E500E}"/>
                </a:ext>
              </a:extLst>
            </p:cNvPr>
            <p:cNvSpPr/>
            <p:nvPr/>
          </p:nvSpPr>
          <p:spPr>
            <a:xfrm>
              <a:off x="2310093" y="3723290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2 w 57225"/>
                <a:gd name="connsiteY8" fmla="*/ 28042 h 41998"/>
                <a:gd name="connsiteX9" fmla="*/ 38192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5" name="Freihandform: Form 204">
              <a:extLst>
                <a:ext uri="{FF2B5EF4-FFF2-40B4-BE49-F238E27FC236}">
                  <a16:creationId xmlns:a16="http://schemas.microsoft.com/office/drawing/2014/main" id="{AE1B6F34-57DA-86B9-BB65-275B00F1C06B}"/>
                </a:ext>
              </a:extLst>
            </p:cNvPr>
            <p:cNvSpPr/>
            <p:nvPr/>
          </p:nvSpPr>
          <p:spPr>
            <a:xfrm>
              <a:off x="2312123" y="3723290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2 w 57225"/>
                <a:gd name="connsiteY8" fmla="*/ 28042 h 41998"/>
                <a:gd name="connsiteX9" fmla="*/ 38192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6" name="Freihandform: Form 205">
              <a:extLst>
                <a:ext uri="{FF2B5EF4-FFF2-40B4-BE49-F238E27FC236}">
                  <a16:creationId xmlns:a16="http://schemas.microsoft.com/office/drawing/2014/main" id="{C447F21B-2279-AF08-8E70-86500748D03B}"/>
                </a:ext>
              </a:extLst>
            </p:cNvPr>
            <p:cNvSpPr/>
            <p:nvPr/>
          </p:nvSpPr>
          <p:spPr>
            <a:xfrm>
              <a:off x="2314026" y="3723290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2 w 57225"/>
                <a:gd name="connsiteY8" fmla="*/ 28042 h 41998"/>
                <a:gd name="connsiteX9" fmla="*/ 38192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7" name="Freihandform: Form 206">
              <a:extLst>
                <a:ext uri="{FF2B5EF4-FFF2-40B4-BE49-F238E27FC236}">
                  <a16:creationId xmlns:a16="http://schemas.microsoft.com/office/drawing/2014/main" id="{ADF7725C-8847-ED7E-00BE-FC4324FA406C}"/>
                </a:ext>
              </a:extLst>
            </p:cNvPr>
            <p:cNvSpPr/>
            <p:nvPr/>
          </p:nvSpPr>
          <p:spPr>
            <a:xfrm>
              <a:off x="2331410" y="3728746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4084 h 41998"/>
                <a:gd name="connsiteX2" fmla="*/ 19160 w 57225"/>
                <a:gd name="connsiteY2" fmla="*/ 14084 h 41998"/>
                <a:gd name="connsiteX3" fmla="*/ 19160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4084 h 41998"/>
                <a:gd name="connsiteX6" fmla="*/ 57225 w 57225"/>
                <a:gd name="connsiteY6" fmla="*/ 14084 h 41998"/>
                <a:gd name="connsiteX7" fmla="*/ 57225 w 57225"/>
                <a:gd name="connsiteY7" fmla="*/ 28042 h 41998"/>
                <a:gd name="connsiteX8" fmla="*/ 38192 w 57225"/>
                <a:gd name="connsiteY8" fmla="*/ 28042 h 41998"/>
                <a:gd name="connsiteX9" fmla="*/ 38192 w 57225"/>
                <a:gd name="connsiteY9" fmla="*/ 41999 h 41998"/>
                <a:gd name="connsiteX10" fmla="*/ 19160 w 57225"/>
                <a:gd name="connsiteY10" fmla="*/ 41999 h 41998"/>
                <a:gd name="connsiteX11" fmla="*/ 19160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4084"/>
                  </a:lnTo>
                  <a:lnTo>
                    <a:pt x="19160" y="14084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8" name="Freihandform: Form 207">
              <a:extLst>
                <a:ext uri="{FF2B5EF4-FFF2-40B4-BE49-F238E27FC236}">
                  <a16:creationId xmlns:a16="http://schemas.microsoft.com/office/drawing/2014/main" id="{54BE492F-D037-9B70-39BC-7DFF4D4909F0}"/>
                </a:ext>
              </a:extLst>
            </p:cNvPr>
            <p:cNvSpPr/>
            <p:nvPr/>
          </p:nvSpPr>
          <p:spPr>
            <a:xfrm>
              <a:off x="2352726" y="3750951"/>
              <a:ext cx="57225" cy="42125"/>
            </a:xfrm>
            <a:custGeom>
              <a:avLst/>
              <a:gdLst>
                <a:gd name="connsiteX0" fmla="*/ 0 w 57225"/>
                <a:gd name="connsiteY0" fmla="*/ 28042 h 42125"/>
                <a:gd name="connsiteX1" fmla="*/ 0 w 57225"/>
                <a:gd name="connsiteY1" fmla="*/ 14084 h 42125"/>
                <a:gd name="connsiteX2" fmla="*/ 19033 w 57225"/>
                <a:gd name="connsiteY2" fmla="*/ 14084 h 42125"/>
                <a:gd name="connsiteX3" fmla="*/ 19033 w 57225"/>
                <a:gd name="connsiteY3" fmla="*/ 0 h 42125"/>
                <a:gd name="connsiteX4" fmla="*/ 38066 w 57225"/>
                <a:gd name="connsiteY4" fmla="*/ 0 h 42125"/>
                <a:gd name="connsiteX5" fmla="*/ 38066 w 57225"/>
                <a:gd name="connsiteY5" fmla="*/ 14084 h 42125"/>
                <a:gd name="connsiteX6" fmla="*/ 57225 w 57225"/>
                <a:gd name="connsiteY6" fmla="*/ 14084 h 42125"/>
                <a:gd name="connsiteX7" fmla="*/ 57225 w 57225"/>
                <a:gd name="connsiteY7" fmla="*/ 28042 h 42125"/>
                <a:gd name="connsiteX8" fmla="*/ 38066 w 57225"/>
                <a:gd name="connsiteY8" fmla="*/ 28042 h 42125"/>
                <a:gd name="connsiteX9" fmla="*/ 38066 w 57225"/>
                <a:gd name="connsiteY9" fmla="*/ 42126 h 42125"/>
                <a:gd name="connsiteX10" fmla="*/ 19033 w 57225"/>
                <a:gd name="connsiteY10" fmla="*/ 42126 h 42125"/>
                <a:gd name="connsiteX11" fmla="*/ 19033 w 57225"/>
                <a:gd name="connsiteY11" fmla="*/ 28042 h 42125"/>
                <a:gd name="connsiteX12" fmla="*/ 0 w 57225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2125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066" y="28042"/>
                  </a:lnTo>
                  <a:lnTo>
                    <a:pt x="38066" y="42126"/>
                  </a:lnTo>
                  <a:lnTo>
                    <a:pt x="19033" y="42126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9" name="Freihandform: Form 208">
              <a:extLst>
                <a:ext uri="{FF2B5EF4-FFF2-40B4-BE49-F238E27FC236}">
                  <a16:creationId xmlns:a16="http://schemas.microsoft.com/office/drawing/2014/main" id="{4180D328-D20B-00FC-5AC9-7110C1E35E1B}"/>
                </a:ext>
              </a:extLst>
            </p:cNvPr>
            <p:cNvSpPr/>
            <p:nvPr/>
          </p:nvSpPr>
          <p:spPr>
            <a:xfrm>
              <a:off x="2366176" y="3750951"/>
              <a:ext cx="57225" cy="42125"/>
            </a:xfrm>
            <a:custGeom>
              <a:avLst/>
              <a:gdLst>
                <a:gd name="connsiteX0" fmla="*/ 0 w 57225"/>
                <a:gd name="connsiteY0" fmla="*/ 28042 h 42125"/>
                <a:gd name="connsiteX1" fmla="*/ 0 w 57225"/>
                <a:gd name="connsiteY1" fmla="*/ 14084 h 42125"/>
                <a:gd name="connsiteX2" fmla="*/ 19033 w 57225"/>
                <a:gd name="connsiteY2" fmla="*/ 14084 h 42125"/>
                <a:gd name="connsiteX3" fmla="*/ 19033 w 57225"/>
                <a:gd name="connsiteY3" fmla="*/ 0 h 42125"/>
                <a:gd name="connsiteX4" fmla="*/ 38192 w 57225"/>
                <a:gd name="connsiteY4" fmla="*/ 0 h 42125"/>
                <a:gd name="connsiteX5" fmla="*/ 38192 w 57225"/>
                <a:gd name="connsiteY5" fmla="*/ 14084 h 42125"/>
                <a:gd name="connsiteX6" fmla="*/ 57225 w 57225"/>
                <a:gd name="connsiteY6" fmla="*/ 14084 h 42125"/>
                <a:gd name="connsiteX7" fmla="*/ 57225 w 57225"/>
                <a:gd name="connsiteY7" fmla="*/ 28042 h 42125"/>
                <a:gd name="connsiteX8" fmla="*/ 38192 w 57225"/>
                <a:gd name="connsiteY8" fmla="*/ 28042 h 42125"/>
                <a:gd name="connsiteX9" fmla="*/ 38192 w 57225"/>
                <a:gd name="connsiteY9" fmla="*/ 42126 h 42125"/>
                <a:gd name="connsiteX10" fmla="*/ 19033 w 57225"/>
                <a:gd name="connsiteY10" fmla="*/ 42126 h 42125"/>
                <a:gd name="connsiteX11" fmla="*/ 19033 w 57225"/>
                <a:gd name="connsiteY11" fmla="*/ 28042 h 42125"/>
                <a:gd name="connsiteX12" fmla="*/ 0 w 57225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2125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2126"/>
                  </a:lnTo>
                  <a:lnTo>
                    <a:pt x="19033" y="42126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10" name="Freihandform: Form 209">
              <a:extLst>
                <a:ext uri="{FF2B5EF4-FFF2-40B4-BE49-F238E27FC236}">
                  <a16:creationId xmlns:a16="http://schemas.microsoft.com/office/drawing/2014/main" id="{FBBFC336-C608-A373-AF4F-235FA60F2DDC}"/>
                </a:ext>
              </a:extLst>
            </p:cNvPr>
            <p:cNvSpPr/>
            <p:nvPr/>
          </p:nvSpPr>
          <p:spPr>
            <a:xfrm>
              <a:off x="2373916" y="3756534"/>
              <a:ext cx="57225" cy="42125"/>
            </a:xfrm>
            <a:custGeom>
              <a:avLst/>
              <a:gdLst>
                <a:gd name="connsiteX0" fmla="*/ 0 w 57225"/>
                <a:gd name="connsiteY0" fmla="*/ 28042 h 42125"/>
                <a:gd name="connsiteX1" fmla="*/ 0 w 57225"/>
                <a:gd name="connsiteY1" fmla="*/ 14084 h 42125"/>
                <a:gd name="connsiteX2" fmla="*/ 19033 w 57225"/>
                <a:gd name="connsiteY2" fmla="*/ 14084 h 42125"/>
                <a:gd name="connsiteX3" fmla="*/ 19033 w 57225"/>
                <a:gd name="connsiteY3" fmla="*/ 0 h 42125"/>
                <a:gd name="connsiteX4" fmla="*/ 38192 w 57225"/>
                <a:gd name="connsiteY4" fmla="*/ 0 h 42125"/>
                <a:gd name="connsiteX5" fmla="*/ 38192 w 57225"/>
                <a:gd name="connsiteY5" fmla="*/ 14084 h 42125"/>
                <a:gd name="connsiteX6" fmla="*/ 57225 w 57225"/>
                <a:gd name="connsiteY6" fmla="*/ 14084 h 42125"/>
                <a:gd name="connsiteX7" fmla="*/ 57225 w 57225"/>
                <a:gd name="connsiteY7" fmla="*/ 28042 h 42125"/>
                <a:gd name="connsiteX8" fmla="*/ 38192 w 57225"/>
                <a:gd name="connsiteY8" fmla="*/ 28042 h 42125"/>
                <a:gd name="connsiteX9" fmla="*/ 38192 w 57225"/>
                <a:gd name="connsiteY9" fmla="*/ 42126 h 42125"/>
                <a:gd name="connsiteX10" fmla="*/ 19033 w 57225"/>
                <a:gd name="connsiteY10" fmla="*/ 42126 h 42125"/>
                <a:gd name="connsiteX11" fmla="*/ 19033 w 57225"/>
                <a:gd name="connsiteY11" fmla="*/ 28042 h 42125"/>
                <a:gd name="connsiteX12" fmla="*/ 0 w 57225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2125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2126"/>
                  </a:lnTo>
                  <a:lnTo>
                    <a:pt x="19033" y="42126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11" name="Freihandform: Form 210">
              <a:extLst>
                <a:ext uri="{FF2B5EF4-FFF2-40B4-BE49-F238E27FC236}">
                  <a16:creationId xmlns:a16="http://schemas.microsoft.com/office/drawing/2014/main" id="{67BB2D98-B7D1-80BF-F909-8055B20856AC}"/>
                </a:ext>
              </a:extLst>
            </p:cNvPr>
            <p:cNvSpPr/>
            <p:nvPr/>
          </p:nvSpPr>
          <p:spPr>
            <a:xfrm>
              <a:off x="2412616" y="3779247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4084 h 41998"/>
                <a:gd name="connsiteX2" fmla="*/ 19033 w 57225"/>
                <a:gd name="connsiteY2" fmla="*/ 14084 h 41998"/>
                <a:gd name="connsiteX3" fmla="*/ 19033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4084 h 41998"/>
                <a:gd name="connsiteX6" fmla="*/ 57225 w 57225"/>
                <a:gd name="connsiteY6" fmla="*/ 14084 h 41998"/>
                <a:gd name="connsiteX7" fmla="*/ 57225 w 57225"/>
                <a:gd name="connsiteY7" fmla="*/ 28042 h 41998"/>
                <a:gd name="connsiteX8" fmla="*/ 38192 w 57225"/>
                <a:gd name="connsiteY8" fmla="*/ 28042 h 41998"/>
                <a:gd name="connsiteX9" fmla="*/ 38192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12" name="Freihandform: Form 211">
              <a:extLst>
                <a:ext uri="{FF2B5EF4-FFF2-40B4-BE49-F238E27FC236}">
                  <a16:creationId xmlns:a16="http://schemas.microsoft.com/office/drawing/2014/main" id="{68F8A060-5F03-3CAD-4C0F-06E4E39C91A4}"/>
                </a:ext>
              </a:extLst>
            </p:cNvPr>
            <p:cNvSpPr/>
            <p:nvPr/>
          </p:nvSpPr>
          <p:spPr>
            <a:xfrm>
              <a:off x="2414646" y="3779247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4084 h 41998"/>
                <a:gd name="connsiteX2" fmla="*/ 19033 w 57225"/>
                <a:gd name="connsiteY2" fmla="*/ 14084 h 41998"/>
                <a:gd name="connsiteX3" fmla="*/ 19033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4084 h 41998"/>
                <a:gd name="connsiteX6" fmla="*/ 57225 w 57225"/>
                <a:gd name="connsiteY6" fmla="*/ 14084 h 41998"/>
                <a:gd name="connsiteX7" fmla="*/ 57225 w 57225"/>
                <a:gd name="connsiteY7" fmla="*/ 28042 h 41998"/>
                <a:gd name="connsiteX8" fmla="*/ 38192 w 57225"/>
                <a:gd name="connsiteY8" fmla="*/ 28042 h 41998"/>
                <a:gd name="connsiteX9" fmla="*/ 38192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13" name="Freihandform: Form 212">
              <a:extLst>
                <a:ext uri="{FF2B5EF4-FFF2-40B4-BE49-F238E27FC236}">
                  <a16:creationId xmlns:a16="http://schemas.microsoft.com/office/drawing/2014/main" id="{7A1876E1-B6FD-E001-BF2E-BBCCF7636A83}"/>
                </a:ext>
              </a:extLst>
            </p:cNvPr>
            <p:cNvSpPr/>
            <p:nvPr/>
          </p:nvSpPr>
          <p:spPr>
            <a:xfrm>
              <a:off x="2457153" y="3802213"/>
              <a:ext cx="57225" cy="42125"/>
            </a:xfrm>
            <a:custGeom>
              <a:avLst/>
              <a:gdLst>
                <a:gd name="connsiteX0" fmla="*/ 0 w 57225"/>
                <a:gd name="connsiteY0" fmla="*/ 28042 h 42125"/>
                <a:gd name="connsiteX1" fmla="*/ 0 w 57225"/>
                <a:gd name="connsiteY1" fmla="*/ 14084 h 42125"/>
                <a:gd name="connsiteX2" fmla="*/ 19033 w 57225"/>
                <a:gd name="connsiteY2" fmla="*/ 14084 h 42125"/>
                <a:gd name="connsiteX3" fmla="*/ 19033 w 57225"/>
                <a:gd name="connsiteY3" fmla="*/ 0 h 42125"/>
                <a:gd name="connsiteX4" fmla="*/ 38192 w 57225"/>
                <a:gd name="connsiteY4" fmla="*/ 0 h 42125"/>
                <a:gd name="connsiteX5" fmla="*/ 38192 w 57225"/>
                <a:gd name="connsiteY5" fmla="*/ 14084 h 42125"/>
                <a:gd name="connsiteX6" fmla="*/ 57225 w 57225"/>
                <a:gd name="connsiteY6" fmla="*/ 14084 h 42125"/>
                <a:gd name="connsiteX7" fmla="*/ 57225 w 57225"/>
                <a:gd name="connsiteY7" fmla="*/ 28042 h 42125"/>
                <a:gd name="connsiteX8" fmla="*/ 38192 w 57225"/>
                <a:gd name="connsiteY8" fmla="*/ 28042 h 42125"/>
                <a:gd name="connsiteX9" fmla="*/ 38192 w 57225"/>
                <a:gd name="connsiteY9" fmla="*/ 42126 h 42125"/>
                <a:gd name="connsiteX10" fmla="*/ 19033 w 57225"/>
                <a:gd name="connsiteY10" fmla="*/ 42126 h 42125"/>
                <a:gd name="connsiteX11" fmla="*/ 19033 w 57225"/>
                <a:gd name="connsiteY11" fmla="*/ 28042 h 42125"/>
                <a:gd name="connsiteX12" fmla="*/ 0 w 57225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2125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2126"/>
                  </a:lnTo>
                  <a:lnTo>
                    <a:pt x="19033" y="42126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14" name="Freihandform: Form 213">
              <a:extLst>
                <a:ext uri="{FF2B5EF4-FFF2-40B4-BE49-F238E27FC236}">
                  <a16:creationId xmlns:a16="http://schemas.microsoft.com/office/drawing/2014/main" id="{076D8C78-A39F-63F9-F9B0-7D9537658E8A}"/>
                </a:ext>
              </a:extLst>
            </p:cNvPr>
            <p:cNvSpPr/>
            <p:nvPr/>
          </p:nvSpPr>
          <p:spPr>
            <a:xfrm>
              <a:off x="2468700" y="3802213"/>
              <a:ext cx="57225" cy="42125"/>
            </a:xfrm>
            <a:custGeom>
              <a:avLst/>
              <a:gdLst>
                <a:gd name="connsiteX0" fmla="*/ 0 w 57225"/>
                <a:gd name="connsiteY0" fmla="*/ 28042 h 42125"/>
                <a:gd name="connsiteX1" fmla="*/ 0 w 57225"/>
                <a:gd name="connsiteY1" fmla="*/ 14084 h 42125"/>
                <a:gd name="connsiteX2" fmla="*/ 19033 w 57225"/>
                <a:gd name="connsiteY2" fmla="*/ 14084 h 42125"/>
                <a:gd name="connsiteX3" fmla="*/ 19033 w 57225"/>
                <a:gd name="connsiteY3" fmla="*/ 0 h 42125"/>
                <a:gd name="connsiteX4" fmla="*/ 38192 w 57225"/>
                <a:gd name="connsiteY4" fmla="*/ 0 h 42125"/>
                <a:gd name="connsiteX5" fmla="*/ 38192 w 57225"/>
                <a:gd name="connsiteY5" fmla="*/ 14084 h 42125"/>
                <a:gd name="connsiteX6" fmla="*/ 57225 w 57225"/>
                <a:gd name="connsiteY6" fmla="*/ 14084 h 42125"/>
                <a:gd name="connsiteX7" fmla="*/ 57225 w 57225"/>
                <a:gd name="connsiteY7" fmla="*/ 28042 h 42125"/>
                <a:gd name="connsiteX8" fmla="*/ 38192 w 57225"/>
                <a:gd name="connsiteY8" fmla="*/ 28042 h 42125"/>
                <a:gd name="connsiteX9" fmla="*/ 38192 w 57225"/>
                <a:gd name="connsiteY9" fmla="*/ 42126 h 42125"/>
                <a:gd name="connsiteX10" fmla="*/ 19033 w 57225"/>
                <a:gd name="connsiteY10" fmla="*/ 42126 h 42125"/>
                <a:gd name="connsiteX11" fmla="*/ 19033 w 57225"/>
                <a:gd name="connsiteY11" fmla="*/ 28042 h 42125"/>
                <a:gd name="connsiteX12" fmla="*/ 0 w 57225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2125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2126"/>
                  </a:lnTo>
                  <a:lnTo>
                    <a:pt x="19033" y="42126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15" name="Freihandform: Form 214">
              <a:extLst>
                <a:ext uri="{FF2B5EF4-FFF2-40B4-BE49-F238E27FC236}">
                  <a16:creationId xmlns:a16="http://schemas.microsoft.com/office/drawing/2014/main" id="{3A90FFA6-322B-0BE8-630D-AB9EDD8128FB}"/>
                </a:ext>
              </a:extLst>
            </p:cNvPr>
            <p:cNvSpPr/>
            <p:nvPr/>
          </p:nvSpPr>
          <p:spPr>
            <a:xfrm>
              <a:off x="2497756" y="3819596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4084 h 41998"/>
                <a:gd name="connsiteX2" fmla="*/ 19033 w 57225"/>
                <a:gd name="connsiteY2" fmla="*/ 14084 h 41998"/>
                <a:gd name="connsiteX3" fmla="*/ 19033 w 57225"/>
                <a:gd name="connsiteY3" fmla="*/ 0 h 41998"/>
                <a:gd name="connsiteX4" fmla="*/ 38066 w 57225"/>
                <a:gd name="connsiteY4" fmla="*/ 0 h 41998"/>
                <a:gd name="connsiteX5" fmla="*/ 38066 w 57225"/>
                <a:gd name="connsiteY5" fmla="*/ 14084 h 41998"/>
                <a:gd name="connsiteX6" fmla="*/ 57225 w 57225"/>
                <a:gd name="connsiteY6" fmla="*/ 14084 h 41998"/>
                <a:gd name="connsiteX7" fmla="*/ 57225 w 57225"/>
                <a:gd name="connsiteY7" fmla="*/ 28042 h 41998"/>
                <a:gd name="connsiteX8" fmla="*/ 38066 w 57225"/>
                <a:gd name="connsiteY8" fmla="*/ 28042 h 41998"/>
                <a:gd name="connsiteX9" fmla="*/ 38066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066" y="28042"/>
                  </a:lnTo>
                  <a:lnTo>
                    <a:pt x="38066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796B443D-DB61-AE04-0CC6-B1332605820C}"/>
                </a:ext>
              </a:extLst>
            </p:cNvPr>
            <p:cNvSpPr/>
            <p:nvPr/>
          </p:nvSpPr>
          <p:spPr>
            <a:xfrm>
              <a:off x="2546226" y="3843070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066 w 57225"/>
                <a:gd name="connsiteY4" fmla="*/ 0 h 41998"/>
                <a:gd name="connsiteX5" fmla="*/ 38066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066 w 57225"/>
                <a:gd name="connsiteY8" fmla="*/ 28042 h 41998"/>
                <a:gd name="connsiteX9" fmla="*/ 38066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066" y="28042"/>
                  </a:lnTo>
                  <a:lnTo>
                    <a:pt x="38066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4C25F108-833B-BE0D-FFE8-D990AC1C50B4}"/>
                </a:ext>
              </a:extLst>
            </p:cNvPr>
            <p:cNvSpPr/>
            <p:nvPr/>
          </p:nvSpPr>
          <p:spPr>
            <a:xfrm>
              <a:off x="2546226" y="3843070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066 w 57225"/>
                <a:gd name="connsiteY4" fmla="*/ 0 h 41998"/>
                <a:gd name="connsiteX5" fmla="*/ 38066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066 w 57225"/>
                <a:gd name="connsiteY8" fmla="*/ 28042 h 41998"/>
                <a:gd name="connsiteX9" fmla="*/ 38066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066" y="28042"/>
                  </a:lnTo>
                  <a:lnTo>
                    <a:pt x="38066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18" name="Freihandform: Form 217">
              <a:extLst>
                <a:ext uri="{FF2B5EF4-FFF2-40B4-BE49-F238E27FC236}">
                  <a16:creationId xmlns:a16="http://schemas.microsoft.com/office/drawing/2014/main" id="{3CCBCBAD-DD8D-18BC-CA39-FC91F26C16E4}"/>
                </a:ext>
              </a:extLst>
            </p:cNvPr>
            <p:cNvSpPr/>
            <p:nvPr/>
          </p:nvSpPr>
          <p:spPr>
            <a:xfrm>
              <a:off x="2563483" y="3860961"/>
              <a:ext cx="57225" cy="41999"/>
            </a:xfrm>
            <a:custGeom>
              <a:avLst/>
              <a:gdLst>
                <a:gd name="connsiteX0" fmla="*/ 0 w 57225"/>
                <a:gd name="connsiteY0" fmla="*/ 27915 h 41999"/>
                <a:gd name="connsiteX1" fmla="*/ 0 w 57225"/>
                <a:gd name="connsiteY1" fmla="*/ 13957 h 41999"/>
                <a:gd name="connsiteX2" fmla="*/ 19033 w 57225"/>
                <a:gd name="connsiteY2" fmla="*/ 13957 h 41999"/>
                <a:gd name="connsiteX3" fmla="*/ 19033 w 57225"/>
                <a:gd name="connsiteY3" fmla="*/ 0 h 41999"/>
                <a:gd name="connsiteX4" fmla="*/ 38192 w 57225"/>
                <a:gd name="connsiteY4" fmla="*/ 0 h 41999"/>
                <a:gd name="connsiteX5" fmla="*/ 38192 w 57225"/>
                <a:gd name="connsiteY5" fmla="*/ 13957 h 41999"/>
                <a:gd name="connsiteX6" fmla="*/ 57225 w 57225"/>
                <a:gd name="connsiteY6" fmla="*/ 13957 h 41999"/>
                <a:gd name="connsiteX7" fmla="*/ 57225 w 57225"/>
                <a:gd name="connsiteY7" fmla="*/ 27915 h 41999"/>
                <a:gd name="connsiteX8" fmla="*/ 38192 w 57225"/>
                <a:gd name="connsiteY8" fmla="*/ 27915 h 41999"/>
                <a:gd name="connsiteX9" fmla="*/ 38192 w 57225"/>
                <a:gd name="connsiteY9" fmla="*/ 41999 h 41999"/>
                <a:gd name="connsiteX10" fmla="*/ 19033 w 57225"/>
                <a:gd name="connsiteY10" fmla="*/ 41999 h 41999"/>
                <a:gd name="connsiteX11" fmla="*/ 19033 w 57225"/>
                <a:gd name="connsiteY11" fmla="*/ 27915 h 41999"/>
                <a:gd name="connsiteX12" fmla="*/ 0 w 57225"/>
                <a:gd name="connsiteY12" fmla="*/ 27915 h 4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9">
                  <a:moveTo>
                    <a:pt x="0" y="27915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19" name="Freihandform: Form 218">
              <a:extLst>
                <a:ext uri="{FF2B5EF4-FFF2-40B4-BE49-F238E27FC236}">
                  <a16:creationId xmlns:a16="http://schemas.microsoft.com/office/drawing/2014/main" id="{97FEA8A9-54F2-2B90-9B79-37012125E1B9}"/>
                </a:ext>
              </a:extLst>
            </p:cNvPr>
            <p:cNvSpPr/>
            <p:nvPr/>
          </p:nvSpPr>
          <p:spPr>
            <a:xfrm>
              <a:off x="2573126" y="3860961"/>
              <a:ext cx="57225" cy="41999"/>
            </a:xfrm>
            <a:custGeom>
              <a:avLst/>
              <a:gdLst>
                <a:gd name="connsiteX0" fmla="*/ 0 w 57225"/>
                <a:gd name="connsiteY0" fmla="*/ 27915 h 41999"/>
                <a:gd name="connsiteX1" fmla="*/ 0 w 57225"/>
                <a:gd name="connsiteY1" fmla="*/ 13957 h 41999"/>
                <a:gd name="connsiteX2" fmla="*/ 19160 w 57225"/>
                <a:gd name="connsiteY2" fmla="*/ 13957 h 41999"/>
                <a:gd name="connsiteX3" fmla="*/ 19160 w 57225"/>
                <a:gd name="connsiteY3" fmla="*/ 0 h 41999"/>
                <a:gd name="connsiteX4" fmla="*/ 38192 w 57225"/>
                <a:gd name="connsiteY4" fmla="*/ 0 h 41999"/>
                <a:gd name="connsiteX5" fmla="*/ 38192 w 57225"/>
                <a:gd name="connsiteY5" fmla="*/ 13957 h 41999"/>
                <a:gd name="connsiteX6" fmla="*/ 57225 w 57225"/>
                <a:gd name="connsiteY6" fmla="*/ 13957 h 41999"/>
                <a:gd name="connsiteX7" fmla="*/ 57225 w 57225"/>
                <a:gd name="connsiteY7" fmla="*/ 27915 h 41999"/>
                <a:gd name="connsiteX8" fmla="*/ 38192 w 57225"/>
                <a:gd name="connsiteY8" fmla="*/ 27915 h 41999"/>
                <a:gd name="connsiteX9" fmla="*/ 38192 w 57225"/>
                <a:gd name="connsiteY9" fmla="*/ 41999 h 41999"/>
                <a:gd name="connsiteX10" fmla="*/ 19160 w 57225"/>
                <a:gd name="connsiteY10" fmla="*/ 41999 h 41999"/>
                <a:gd name="connsiteX11" fmla="*/ 19160 w 57225"/>
                <a:gd name="connsiteY11" fmla="*/ 27915 h 41999"/>
                <a:gd name="connsiteX12" fmla="*/ 0 w 57225"/>
                <a:gd name="connsiteY12" fmla="*/ 27915 h 4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9">
                  <a:moveTo>
                    <a:pt x="0" y="27915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0" name="Freihandform: Form 219">
              <a:extLst>
                <a:ext uri="{FF2B5EF4-FFF2-40B4-BE49-F238E27FC236}">
                  <a16:creationId xmlns:a16="http://schemas.microsoft.com/office/drawing/2014/main" id="{422D4AF2-9B61-DF06-6609-88CF7C0F14E9}"/>
                </a:ext>
              </a:extLst>
            </p:cNvPr>
            <p:cNvSpPr/>
            <p:nvPr/>
          </p:nvSpPr>
          <p:spPr>
            <a:xfrm>
              <a:off x="2588606" y="3860961"/>
              <a:ext cx="57352" cy="41999"/>
            </a:xfrm>
            <a:custGeom>
              <a:avLst/>
              <a:gdLst>
                <a:gd name="connsiteX0" fmla="*/ 0 w 57352"/>
                <a:gd name="connsiteY0" fmla="*/ 27915 h 41999"/>
                <a:gd name="connsiteX1" fmla="*/ 0 w 57352"/>
                <a:gd name="connsiteY1" fmla="*/ 13957 h 41999"/>
                <a:gd name="connsiteX2" fmla="*/ 19160 w 57352"/>
                <a:gd name="connsiteY2" fmla="*/ 13957 h 41999"/>
                <a:gd name="connsiteX3" fmla="*/ 19160 w 57352"/>
                <a:gd name="connsiteY3" fmla="*/ 0 h 41999"/>
                <a:gd name="connsiteX4" fmla="*/ 38192 w 57352"/>
                <a:gd name="connsiteY4" fmla="*/ 0 h 41999"/>
                <a:gd name="connsiteX5" fmla="*/ 38192 w 57352"/>
                <a:gd name="connsiteY5" fmla="*/ 13957 h 41999"/>
                <a:gd name="connsiteX6" fmla="*/ 57352 w 57352"/>
                <a:gd name="connsiteY6" fmla="*/ 13957 h 41999"/>
                <a:gd name="connsiteX7" fmla="*/ 57352 w 57352"/>
                <a:gd name="connsiteY7" fmla="*/ 27915 h 41999"/>
                <a:gd name="connsiteX8" fmla="*/ 38192 w 57352"/>
                <a:gd name="connsiteY8" fmla="*/ 27915 h 41999"/>
                <a:gd name="connsiteX9" fmla="*/ 38192 w 57352"/>
                <a:gd name="connsiteY9" fmla="*/ 41999 h 41999"/>
                <a:gd name="connsiteX10" fmla="*/ 19160 w 57352"/>
                <a:gd name="connsiteY10" fmla="*/ 41999 h 41999"/>
                <a:gd name="connsiteX11" fmla="*/ 19160 w 57352"/>
                <a:gd name="connsiteY11" fmla="*/ 27915 h 41999"/>
                <a:gd name="connsiteX12" fmla="*/ 0 w 57352"/>
                <a:gd name="connsiteY12" fmla="*/ 27915 h 4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2" h="41999">
                  <a:moveTo>
                    <a:pt x="0" y="27915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352" y="13957"/>
                  </a:lnTo>
                  <a:lnTo>
                    <a:pt x="57352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1" name="Freihandform: Form 220">
              <a:extLst>
                <a:ext uri="{FF2B5EF4-FFF2-40B4-BE49-F238E27FC236}">
                  <a16:creationId xmlns:a16="http://schemas.microsoft.com/office/drawing/2014/main" id="{4F832F84-A244-4AD2-5691-1D19CE43B2AB}"/>
                </a:ext>
              </a:extLst>
            </p:cNvPr>
            <p:cNvSpPr/>
            <p:nvPr/>
          </p:nvSpPr>
          <p:spPr>
            <a:xfrm>
              <a:off x="2633143" y="3866924"/>
              <a:ext cx="57352" cy="42125"/>
            </a:xfrm>
            <a:custGeom>
              <a:avLst/>
              <a:gdLst>
                <a:gd name="connsiteX0" fmla="*/ 0 w 57352"/>
                <a:gd name="connsiteY0" fmla="*/ 28042 h 42125"/>
                <a:gd name="connsiteX1" fmla="*/ 0 w 57352"/>
                <a:gd name="connsiteY1" fmla="*/ 14084 h 42125"/>
                <a:gd name="connsiteX2" fmla="*/ 19160 w 57352"/>
                <a:gd name="connsiteY2" fmla="*/ 14084 h 42125"/>
                <a:gd name="connsiteX3" fmla="*/ 19160 w 57352"/>
                <a:gd name="connsiteY3" fmla="*/ 0 h 42125"/>
                <a:gd name="connsiteX4" fmla="*/ 38192 w 57352"/>
                <a:gd name="connsiteY4" fmla="*/ 0 h 42125"/>
                <a:gd name="connsiteX5" fmla="*/ 38192 w 57352"/>
                <a:gd name="connsiteY5" fmla="*/ 14084 h 42125"/>
                <a:gd name="connsiteX6" fmla="*/ 57352 w 57352"/>
                <a:gd name="connsiteY6" fmla="*/ 14084 h 42125"/>
                <a:gd name="connsiteX7" fmla="*/ 57352 w 57352"/>
                <a:gd name="connsiteY7" fmla="*/ 28042 h 42125"/>
                <a:gd name="connsiteX8" fmla="*/ 38192 w 57352"/>
                <a:gd name="connsiteY8" fmla="*/ 28042 h 42125"/>
                <a:gd name="connsiteX9" fmla="*/ 38192 w 57352"/>
                <a:gd name="connsiteY9" fmla="*/ 42126 h 42125"/>
                <a:gd name="connsiteX10" fmla="*/ 19160 w 57352"/>
                <a:gd name="connsiteY10" fmla="*/ 42126 h 42125"/>
                <a:gd name="connsiteX11" fmla="*/ 19160 w 57352"/>
                <a:gd name="connsiteY11" fmla="*/ 28042 h 42125"/>
                <a:gd name="connsiteX12" fmla="*/ 0 w 57352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2" h="42125">
                  <a:moveTo>
                    <a:pt x="0" y="28042"/>
                  </a:moveTo>
                  <a:lnTo>
                    <a:pt x="0" y="14084"/>
                  </a:lnTo>
                  <a:lnTo>
                    <a:pt x="19160" y="14084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352" y="14084"/>
                  </a:lnTo>
                  <a:lnTo>
                    <a:pt x="57352" y="28042"/>
                  </a:lnTo>
                  <a:lnTo>
                    <a:pt x="38192" y="28042"/>
                  </a:lnTo>
                  <a:lnTo>
                    <a:pt x="38192" y="42126"/>
                  </a:lnTo>
                  <a:lnTo>
                    <a:pt x="19160" y="42126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2" name="Freihandform: Form 221">
              <a:extLst>
                <a:ext uri="{FF2B5EF4-FFF2-40B4-BE49-F238E27FC236}">
                  <a16:creationId xmlns:a16="http://schemas.microsoft.com/office/drawing/2014/main" id="{03582A0F-675F-59FD-6994-54C2D4EA5E05}"/>
                </a:ext>
              </a:extLst>
            </p:cNvPr>
            <p:cNvSpPr/>
            <p:nvPr/>
          </p:nvSpPr>
          <p:spPr>
            <a:xfrm>
              <a:off x="2633143" y="3866924"/>
              <a:ext cx="57352" cy="42125"/>
            </a:xfrm>
            <a:custGeom>
              <a:avLst/>
              <a:gdLst>
                <a:gd name="connsiteX0" fmla="*/ 0 w 57352"/>
                <a:gd name="connsiteY0" fmla="*/ 28042 h 42125"/>
                <a:gd name="connsiteX1" fmla="*/ 0 w 57352"/>
                <a:gd name="connsiteY1" fmla="*/ 14084 h 42125"/>
                <a:gd name="connsiteX2" fmla="*/ 19160 w 57352"/>
                <a:gd name="connsiteY2" fmla="*/ 14084 h 42125"/>
                <a:gd name="connsiteX3" fmla="*/ 19160 w 57352"/>
                <a:gd name="connsiteY3" fmla="*/ 0 h 42125"/>
                <a:gd name="connsiteX4" fmla="*/ 38192 w 57352"/>
                <a:gd name="connsiteY4" fmla="*/ 0 h 42125"/>
                <a:gd name="connsiteX5" fmla="*/ 38192 w 57352"/>
                <a:gd name="connsiteY5" fmla="*/ 14084 h 42125"/>
                <a:gd name="connsiteX6" fmla="*/ 57352 w 57352"/>
                <a:gd name="connsiteY6" fmla="*/ 14084 h 42125"/>
                <a:gd name="connsiteX7" fmla="*/ 57352 w 57352"/>
                <a:gd name="connsiteY7" fmla="*/ 28042 h 42125"/>
                <a:gd name="connsiteX8" fmla="*/ 38192 w 57352"/>
                <a:gd name="connsiteY8" fmla="*/ 28042 h 42125"/>
                <a:gd name="connsiteX9" fmla="*/ 38192 w 57352"/>
                <a:gd name="connsiteY9" fmla="*/ 42126 h 42125"/>
                <a:gd name="connsiteX10" fmla="*/ 19160 w 57352"/>
                <a:gd name="connsiteY10" fmla="*/ 42126 h 42125"/>
                <a:gd name="connsiteX11" fmla="*/ 19160 w 57352"/>
                <a:gd name="connsiteY11" fmla="*/ 28042 h 42125"/>
                <a:gd name="connsiteX12" fmla="*/ 0 w 57352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2" h="42125">
                  <a:moveTo>
                    <a:pt x="0" y="28042"/>
                  </a:moveTo>
                  <a:lnTo>
                    <a:pt x="0" y="14084"/>
                  </a:lnTo>
                  <a:lnTo>
                    <a:pt x="19160" y="14084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352" y="14084"/>
                  </a:lnTo>
                  <a:lnTo>
                    <a:pt x="57352" y="28042"/>
                  </a:lnTo>
                  <a:lnTo>
                    <a:pt x="38192" y="28042"/>
                  </a:lnTo>
                  <a:lnTo>
                    <a:pt x="38192" y="42126"/>
                  </a:lnTo>
                  <a:lnTo>
                    <a:pt x="19160" y="42126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3" name="Freihandform: Form 222">
              <a:extLst>
                <a:ext uri="{FF2B5EF4-FFF2-40B4-BE49-F238E27FC236}">
                  <a16:creationId xmlns:a16="http://schemas.microsoft.com/office/drawing/2014/main" id="{D6964C6D-D0DD-2502-D6B9-16C52F7483B9}"/>
                </a:ext>
              </a:extLst>
            </p:cNvPr>
            <p:cNvSpPr/>
            <p:nvPr/>
          </p:nvSpPr>
          <p:spPr>
            <a:xfrm>
              <a:off x="2666006" y="3879359"/>
              <a:ext cx="57225" cy="41998"/>
            </a:xfrm>
            <a:custGeom>
              <a:avLst/>
              <a:gdLst>
                <a:gd name="connsiteX0" fmla="*/ 0 w 57225"/>
                <a:gd name="connsiteY0" fmla="*/ 27915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7915 h 41998"/>
                <a:gd name="connsiteX8" fmla="*/ 38192 w 57225"/>
                <a:gd name="connsiteY8" fmla="*/ 27915 h 41998"/>
                <a:gd name="connsiteX9" fmla="*/ 38192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7915 h 41998"/>
                <a:gd name="connsiteX12" fmla="*/ 0 w 57225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7915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4" name="Freihandform: Form 223">
              <a:extLst>
                <a:ext uri="{FF2B5EF4-FFF2-40B4-BE49-F238E27FC236}">
                  <a16:creationId xmlns:a16="http://schemas.microsoft.com/office/drawing/2014/main" id="{0229B739-D981-7A4C-FEB9-BE827F9DE381}"/>
                </a:ext>
              </a:extLst>
            </p:cNvPr>
            <p:cNvSpPr/>
            <p:nvPr/>
          </p:nvSpPr>
          <p:spPr>
            <a:xfrm>
              <a:off x="2737696" y="3891667"/>
              <a:ext cx="57225" cy="42125"/>
            </a:xfrm>
            <a:custGeom>
              <a:avLst/>
              <a:gdLst>
                <a:gd name="connsiteX0" fmla="*/ 0 w 57225"/>
                <a:gd name="connsiteY0" fmla="*/ 28042 h 42125"/>
                <a:gd name="connsiteX1" fmla="*/ 0 w 57225"/>
                <a:gd name="connsiteY1" fmla="*/ 14084 h 42125"/>
                <a:gd name="connsiteX2" fmla="*/ 19033 w 57225"/>
                <a:gd name="connsiteY2" fmla="*/ 14084 h 42125"/>
                <a:gd name="connsiteX3" fmla="*/ 19033 w 57225"/>
                <a:gd name="connsiteY3" fmla="*/ 0 h 42125"/>
                <a:gd name="connsiteX4" fmla="*/ 38066 w 57225"/>
                <a:gd name="connsiteY4" fmla="*/ 0 h 42125"/>
                <a:gd name="connsiteX5" fmla="*/ 38066 w 57225"/>
                <a:gd name="connsiteY5" fmla="*/ 14084 h 42125"/>
                <a:gd name="connsiteX6" fmla="*/ 57225 w 57225"/>
                <a:gd name="connsiteY6" fmla="*/ 14084 h 42125"/>
                <a:gd name="connsiteX7" fmla="*/ 57225 w 57225"/>
                <a:gd name="connsiteY7" fmla="*/ 28042 h 42125"/>
                <a:gd name="connsiteX8" fmla="*/ 38066 w 57225"/>
                <a:gd name="connsiteY8" fmla="*/ 28042 h 42125"/>
                <a:gd name="connsiteX9" fmla="*/ 38066 w 57225"/>
                <a:gd name="connsiteY9" fmla="*/ 42126 h 42125"/>
                <a:gd name="connsiteX10" fmla="*/ 19033 w 57225"/>
                <a:gd name="connsiteY10" fmla="*/ 42126 h 42125"/>
                <a:gd name="connsiteX11" fmla="*/ 19033 w 57225"/>
                <a:gd name="connsiteY11" fmla="*/ 28042 h 42125"/>
                <a:gd name="connsiteX12" fmla="*/ 0 w 57225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2125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066" y="28042"/>
                  </a:lnTo>
                  <a:lnTo>
                    <a:pt x="38066" y="42126"/>
                  </a:lnTo>
                  <a:lnTo>
                    <a:pt x="19033" y="42126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5" name="Freihandform: Form 224">
              <a:extLst>
                <a:ext uri="{FF2B5EF4-FFF2-40B4-BE49-F238E27FC236}">
                  <a16:creationId xmlns:a16="http://schemas.microsoft.com/office/drawing/2014/main" id="{BAFD0DC7-263D-BCD3-1EFC-0FA03E358957}"/>
                </a:ext>
              </a:extLst>
            </p:cNvPr>
            <p:cNvSpPr/>
            <p:nvPr/>
          </p:nvSpPr>
          <p:spPr>
            <a:xfrm>
              <a:off x="2739600" y="3891667"/>
              <a:ext cx="57225" cy="42125"/>
            </a:xfrm>
            <a:custGeom>
              <a:avLst/>
              <a:gdLst>
                <a:gd name="connsiteX0" fmla="*/ 0 w 57225"/>
                <a:gd name="connsiteY0" fmla="*/ 28042 h 42125"/>
                <a:gd name="connsiteX1" fmla="*/ 0 w 57225"/>
                <a:gd name="connsiteY1" fmla="*/ 14084 h 42125"/>
                <a:gd name="connsiteX2" fmla="*/ 19033 w 57225"/>
                <a:gd name="connsiteY2" fmla="*/ 14084 h 42125"/>
                <a:gd name="connsiteX3" fmla="*/ 19033 w 57225"/>
                <a:gd name="connsiteY3" fmla="*/ 0 h 42125"/>
                <a:gd name="connsiteX4" fmla="*/ 38066 w 57225"/>
                <a:gd name="connsiteY4" fmla="*/ 0 h 42125"/>
                <a:gd name="connsiteX5" fmla="*/ 38066 w 57225"/>
                <a:gd name="connsiteY5" fmla="*/ 14084 h 42125"/>
                <a:gd name="connsiteX6" fmla="*/ 57225 w 57225"/>
                <a:gd name="connsiteY6" fmla="*/ 14084 h 42125"/>
                <a:gd name="connsiteX7" fmla="*/ 57225 w 57225"/>
                <a:gd name="connsiteY7" fmla="*/ 28042 h 42125"/>
                <a:gd name="connsiteX8" fmla="*/ 38066 w 57225"/>
                <a:gd name="connsiteY8" fmla="*/ 28042 h 42125"/>
                <a:gd name="connsiteX9" fmla="*/ 38066 w 57225"/>
                <a:gd name="connsiteY9" fmla="*/ 42126 h 42125"/>
                <a:gd name="connsiteX10" fmla="*/ 19033 w 57225"/>
                <a:gd name="connsiteY10" fmla="*/ 42126 h 42125"/>
                <a:gd name="connsiteX11" fmla="*/ 19033 w 57225"/>
                <a:gd name="connsiteY11" fmla="*/ 28042 h 42125"/>
                <a:gd name="connsiteX12" fmla="*/ 0 w 57225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2125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066" y="28042"/>
                  </a:lnTo>
                  <a:lnTo>
                    <a:pt x="38066" y="42126"/>
                  </a:lnTo>
                  <a:lnTo>
                    <a:pt x="19033" y="42126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6" name="Freihandform: Form 225">
              <a:extLst>
                <a:ext uri="{FF2B5EF4-FFF2-40B4-BE49-F238E27FC236}">
                  <a16:creationId xmlns:a16="http://schemas.microsoft.com/office/drawing/2014/main" id="{9C4E82F8-6CF3-B891-E386-14A6ABD046F3}"/>
                </a:ext>
              </a:extLst>
            </p:cNvPr>
            <p:cNvSpPr/>
            <p:nvPr/>
          </p:nvSpPr>
          <p:spPr>
            <a:xfrm>
              <a:off x="2747340" y="3891667"/>
              <a:ext cx="57225" cy="42125"/>
            </a:xfrm>
            <a:custGeom>
              <a:avLst/>
              <a:gdLst>
                <a:gd name="connsiteX0" fmla="*/ 0 w 57225"/>
                <a:gd name="connsiteY0" fmla="*/ 28042 h 42125"/>
                <a:gd name="connsiteX1" fmla="*/ 0 w 57225"/>
                <a:gd name="connsiteY1" fmla="*/ 14084 h 42125"/>
                <a:gd name="connsiteX2" fmla="*/ 19033 w 57225"/>
                <a:gd name="connsiteY2" fmla="*/ 14084 h 42125"/>
                <a:gd name="connsiteX3" fmla="*/ 19033 w 57225"/>
                <a:gd name="connsiteY3" fmla="*/ 0 h 42125"/>
                <a:gd name="connsiteX4" fmla="*/ 38192 w 57225"/>
                <a:gd name="connsiteY4" fmla="*/ 0 h 42125"/>
                <a:gd name="connsiteX5" fmla="*/ 38192 w 57225"/>
                <a:gd name="connsiteY5" fmla="*/ 14084 h 42125"/>
                <a:gd name="connsiteX6" fmla="*/ 57225 w 57225"/>
                <a:gd name="connsiteY6" fmla="*/ 14084 h 42125"/>
                <a:gd name="connsiteX7" fmla="*/ 57225 w 57225"/>
                <a:gd name="connsiteY7" fmla="*/ 28042 h 42125"/>
                <a:gd name="connsiteX8" fmla="*/ 38192 w 57225"/>
                <a:gd name="connsiteY8" fmla="*/ 28042 h 42125"/>
                <a:gd name="connsiteX9" fmla="*/ 38192 w 57225"/>
                <a:gd name="connsiteY9" fmla="*/ 42126 h 42125"/>
                <a:gd name="connsiteX10" fmla="*/ 19033 w 57225"/>
                <a:gd name="connsiteY10" fmla="*/ 42126 h 42125"/>
                <a:gd name="connsiteX11" fmla="*/ 19033 w 57225"/>
                <a:gd name="connsiteY11" fmla="*/ 28042 h 42125"/>
                <a:gd name="connsiteX12" fmla="*/ 0 w 57225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2125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2126"/>
                  </a:lnTo>
                  <a:lnTo>
                    <a:pt x="19033" y="42126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7" name="Freihandform: Form 226">
              <a:extLst>
                <a:ext uri="{FF2B5EF4-FFF2-40B4-BE49-F238E27FC236}">
                  <a16:creationId xmlns:a16="http://schemas.microsoft.com/office/drawing/2014/main" id="{4B3D1C65-4066-C630-585F-EE6BF11FAD81}"/>
                </a:ext>
              </a:extLst>
            </p:cNvPr>
            <p:cNvSpPr/>
            <p:nvPr/>
          </p:nvSpPr>
          <p:spPr>
            <a:xfrm>
              <a:off x="2747340" y="3891667"/>
              <a:ext cx="57225" cy="42125"/>
            </a:xfrm>
            <a:custGeom>
              <a:avLst/>
              <a:gdLst>
                <a:gd name="connsiteX0" fmla="*/ 0 w 57225"/>
                <a:gd name="connsiteY0" fmla="*/ 28042 h 42125"/>
                <a:gd name="connsiteX1" fmla="*/ 0 w 57225"/>
                <a:gd name="connsiteY1" fmla="*/ 14084 h 42125"/>
                <a:gd name="connsiteX2" fmla="*/ 19033 w 57225"/>
                <a:gd name="connsiteY2" fmla="*/ 14084 h 42125"/>
                <a:gd name="connsiteX3" fmla="*/ 19033 w 57225"/>
                <a:gd name="connsiteY3" fmla="*/ 0 h 42125"/>
                <a:gd name="connsiteX4" fmla="*/ 38192 w 57225"/>
                <a:gd name="connsiteY4" fmla="*/ 0 h 42125"/>
                <a:gd name="connsiteX5" fmla="*/ 38192 w 57225"/>
                <a:gd name="connsiteY5" fmla="*/ 14084 h 42125"/>
                <a:gd name="connsiteX6" fmla="*/ 57225 w 57225"/>
                <a:gd name="connsiteY6" fmla="*/ 14084 h 42125"/>
                <a:gd name="connsiteX7" fmla="*/ 57225 w 57225"/>
                <a:gd name="connsiteY7" fmla="*/ 28042 h 42125"/>
                <a:gd name="connsiteX8" fmla="*/ 38192 w 57225"/>
                <a:gd name="connsiteY8" fmla="*/ 28042 h 42125"/>
                <a:gd name="connsiteX9" fmla="*/ 38192 w 57225"/>
                <a:gd name="connsiteY9" fmla="*/ 42126 h 42125"/>
                <a:gd name="connsiteX10" fmla="*/ 19033 w 57225"/>
                <a:gd name="connsiteY10" fmla="*/ 42126 h 42125"/>
                <a:gd name="connsiteX11" fmla="*/ 19033 w 57225"/>
                <a:gd name="connsiteY11" fmla="*/ 28042 h 42125"/>
                <a:gd name="connsiteX12" fmla="*/ 0 w 57225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2125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2126"/>
                  </a:lnTo>
                  <a:lnTo>
                    <a:pt x="19033" y="42126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8" name="Freihandform: Form 227">
              <a:extLst>
                <a:ext uri="{FF2B5EF4-FFF2-40B4-BE49-F238E27FC236}">
                  <a16:creationId xmlns:a16="http://schemas.microsoft.com/office/drawing/2014/main" id="{A13D1045-8716-2CE6-823A-28A55FF8C491}"/>
                </a:ext>
              </a:extLst>
            </p:cNvPr>
            <p:cNvSpPr/>
            <p:nvPr/>
          </p:nvSpPr>
          <p:spPr>
            <a:xfrm>
              <a:off x="2755080" y="3891667"/>
              <a:ext cx="57225" cy="42125"/>
            </a:xfrm>
            <a:custGeom>
              <a:avLst/>
              <a:gdLst>
                <a:gd name="connsiteX0" fmla="*/ 0 w 57225"/>
                <a:gd name="connsiteY0" fmla="*/ 28042 h 42125"/>
                <a:gd name="connsiteX1" fmla="*/ 0 w 57225"/>
                <a:gd name="connsiteY1" fmla="*/ 14084 h 42125"/>
                <a:gd name="connsiteX2" fmla="*/ 19033 w 57225"/>
                <a:gd name="connsiteY2" fmla="*/ 14084 h 42125"/>
                <a:gd name="connsiteX3" fmla="*/ 19033 w 57225"/>
                <a:gd name="connsiteY3" fmla="*/ 0 h 42125"/>
                <a:gd name="connsiteX4" fmla="*/ 38192 w 57225"/>
                <a:gd name="connsiteY4" fmla="*/ 0 h 42125"/>
                <a:gd name="connsiteX5" fmla="*/ 38192 w 57225"/>
                <a:gd name="connsiteY5" fmla="*/ 14084 h 42125"/>
                <a:gd name="connsiteX6" fmla="*/ 57225 w 57225"/>
                <a:gd name="connsiteY6" fmla="*/ 14084 h 42125"/>
                <a:gd name="connsiteX7" fmla="*/ 57225 w 57225"/>
                <a:gd name="connsiteY7" fmla="*/ 28042 h 42125"/>
                <a:gd name="connsiteX8" fmla="*/ 38192 w 57225"/>
                <a:gd name="connsiteY8" fmla="*/ 28042 h 42125"/>
                <a:gd name="connsiteX9" fmla="*/ 38192 w 57225"/>
                <a:gd name="connsiteY9" fmla="*/ 42126 h 42125"/>
                <a:gd name="connsiteX10" fmla="*/ 19033 w 57225"/>
                <a:gd name="connsiteY10" fmla="*/ 42126 h 42125"/>
                <a:gd name="connsiteX11" fmla="*/ 19033 w 57225"/>
                <a:gd name="connsiteY11" fmla="*/ 28042 h 42125"/>
                <a:gd name="connsiteX12" fmla="*/ 0 w 57225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2125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2126"/>
                  </a:lnTo>
                  <a:lnTo>
                    <a:pt x="19033" y="42126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9" name="Freihandform: Form 228">
              <a:extLst>
                <a:ext uri="{FF2B5EF4-FFF2-40B4-BE49-F238E27FC236}">
                  <a16:creationId xmlns:a16="http://schemas.microsoft.com/office/drawing/2014/main" id="{AF3A1AAD-E3DF-7074-A7A8-B61FC69F8ADD}"/>
                </a:ext>
              </a:extLst>
            </p:cNvPr>
            <p:cNvSpPr/>
            <p:nvPr/>
          </p:nvSpPr>
          <p:spPr>
            <a:xfrm>
              <a:off x="2760789" y="3891667"/>
              <a:ext cx="57225" cy="42125"/>
            </a:xfrm>
            <a:custGeom>
              <a:avLst/>
              <a:gdLst>
                <a:gd name="connsiteX0" fmla="*/ 0 w 57225"/>
                <a:gd name="connsiteY0" fmla="*/ 28042 h 42125"/>
                <a:gd name="connsiteX1" fmla="*/ 0 w 57225"/>
                <a:gd name="connsiteY1" fmla="*/ 14084 h 42125"/>
                <a:gd name="connsiteX2" fmla="*/ 19033 w 57225"/>
                <a:gd name="connsiteY2" fmla="*/ 14084 h 42125"/>
                <a:gd name="connsiteX3" fmla="*/ 19033 w 57225"/>
                <a:gd name="connsiteY3" fmla="*/ 0 h 42125"/>
                <a:gd name="connsiteX4" fmla="*/ 38192 w 57225"/>
                <a:gd name="connsiteY4" fmla="*/ 0 h 42125"/>
                <a:gd name="connsiteX5" fmla="*/ 38192 w 57225"/>
                <a:gd name="connsiteY5" fmla="*/ 14084 h 42125"/>
                <a:gd name="connsiteX6" fmla="*/ 57225 w 57225"/>
                <a:gd name="connsiteY6" fmla="*/ 14084 h 42125"/>
                <a:gd name="connsiteX7" fmla="*/ 57225 w 57225"/>
                <a:gd name="connsiteY7" fmla="*/ 28042 h 42125"/>
                <a:gd name="connsiteX8" fmla="*/ 38192 w 57225"/>
                <a:gd name="connsiteY8" fmla="*/ 28042 h 42125"/>
                <a:gd name="connsiteX9" fmla="*/ 38192 w 57225"/>
                <a:gd name="connsiteY9" fmla="*/ 42126 h 42125"/>
                <a:gd name="connsiteX10" fmla="*/ 19033 w 57225"/>
                <a:gd name="connsiteY10" fmla="*/ 42126 h 42125"/>
                <a:gd name="connsiteX11" fmla="*/ 19033 w 57225"/>
                <a:gd name="connsiteY11" fmla="*/ 28042 h 42125"/>
                <a:gd name="connsiteX12" fmla="*/ 0 w 57225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2125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2126"/>
                  </a:lnTo>
                  <a:lnTo>
                    <a:pt x="19033" y="42126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0" name="Freihandform: Form 229">
              <a:extLst>
                <a:ext uri="{FF2B5EF4-FFF2-40B4-BE49-F238E27FC236}">
                  <a16:creationId xmlns:a16="http://schemas.microsoft.com/office/drawing/2014/main" id="{1A8A4B19-55F6-3489-7A99-B400D4A1070B}"/>
                </a:ext>
              </a:extLst>
            </p:cNvPr>
            <p:cNvSpPr/>
            <p:nvPr/>
          </p:nvSpPr>
          <p:spPr>
            <a:xfrm>
              <a:off x="2760789" y="3891667"/>
              <a:ext cx="57225" cy="42125"/>
            </a:xfrm>
            <a:custGeom>
              <a:avLst/>
              <a:gdLst>
                <a:gd name="connsiteX0" fmla="*/ 0 w 57225"/>
                <a:gd name="connsiteY0" fmla="*/ 28042 h 42125"/>
                <a:gd name="connsiteX1" fmla="*/ 0 w 57225"/>
                <a:gd name="connsiteY1" fmla="*/ 14084 h 42125"/>
                <a:gd name="connsiteX2" fmla="*/ 19033 w 57225"/>
                <a:gd name="connsiteY2" fmla="*/ 14084 h 42125"/>
                <a:gd name="connsiteX3" fmla="*/ 19033 w 57225"/>
                <a:gd name="connsiteY3" fmla="*/ 0 h 42125"/>
                <a:gd name="connsiteX4" fmla="*/ 38192 w 57225"/>
                <a:gd name="connsiteY4" fmla="*/ 0 h 42125"/>
                <a:gd name="connsiteX5" fmla="*/ 38192 w 57225"/>
                <a:gd name="connsiteY5" fmla="*/ 14084 h 42125"/>
                <a:gd name="connsiteX6" fmla="*/ 57225 w 57225"/>
                <a:gd name="connsiteY6" fmla="*/ 14084 h 42125"/>
                <a:gd name="connsiteX7" fmla="*/ 57225 w 57225"/>
                <a:gd name="connsiteY7" fmla="*/ 28042 h 42125"/>
                <a:gd name="connsiteX8" fmla="*/ 38192 w 57225"/>
                <a:gd name="connsiteY8" fmla="*/ 28042 h 42125"/>
                <a:gd name="connsiteX9" fmla="*/ 38192 w 57225"/>
                <a:gd name="connsiteY9" fmla="*/ 42126 h 42125"/>
                <a:gd name="connsiteX10" fmla="*/ 19033 w 57225"/>
                <a:gd name="connsiteY10" fmla="*/ 42126 h 42125"/>
                <a:gd name="connsiteX11" fmla="*/ 19033 w 57225"/>
                <a:gd name="connsiteY11" fmla="*/ 28042 h 42125"/>
                <a:gd name="connsiteX12" fmla="*/ 0 w 57225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2125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2126"/>
                  </a:lnTo>
                  <a:lnTo>
                    <a:pt x="19033" y="42126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1" name="Freihandform: Form 230">
              <a:extLst>
                <a:ext uri="{FF2B5EF4-FFF2-40B4-BE49-F238E27FC236}">
                  <a16:creationId xmlns:a16="http://schemas.microsoft.com/office/drawing/2014/main" id="{722DA048-40F9-0AC6-7A2D-CB61FB4DAA97}"/>
                </a:ext>
              </a:extLst>
            </p:cNvPr>
            <p:cNvSpPr/>
            <p:nvPr/>
          </p:nvSpPr>
          <p:spPr>
            <a:xfrm>
              <a:off x="2830576" y="3931255"/>
              <a:ext cx="57225" cy="42125"/>
            </a:xfrm>
            <a:custGeom>
              <a:avLst/>
              <a:gdLst>
                <a:gd name="connsiteX0" fmla="*/ 0 w 57225"/>
                <a:gd name="connsiteY0" fmla="*/ 28042 h 42125"/>
                <a:gd name="connsiteX1" fmla="*/ 0 w 57225"/>
                <a:gd name="connsiteY1" fmla="*/ 14084 h 42125"/>
                <a:gd name="connsiteX2" fmla="*/ 19033 w 57225"/>
                <a:gd name="connsiteY2" fmla="*/ 14084 h 42125"/>
                <a:gd name="connsiteX3" fmla="*/ 19033 w 57225"/>
                <a:gd name="connsiteY3" fmla="*/ 0 h 42125"/>
                <a:gd name="connsiteX4" fmla="*/ 38066 w 57225"/>
                <a:gd name="connsiteY4" fmla="*/ 0 h 42125"/>
                <a:gd name="connsiteX5" fmla="*/ 38066 w 57225"/>
                <a:gd name="connsiteY5" fmla="*/ 14084 h 42125"/>
                <a:gd name="connsiteX6" fmla="*/ 57225 w 57225"/>
                <a:gd name="connsiteY6" fmla="*/ 14084 h 42125"/>
                <a:gd name="connsiteX7" fmla="*/ 57225 w 57225"/>
                <a:gd name="connsiteY7" fmla="*/ 28042 h 42125"/>
                <a:gd name="connsiteX8" fmla="*/ 38066 w 57225"/>
                <a:gd name="connsiteY8" fmla="*/ 28042 h 42125"/>
                <a:gd name="connsiteX9" fmla="*/ 38066 w 57225"/>
                <a:gd name="connsiteY9" fmla="*/ 42126 h 42125"/>
                <a:gd name="connsiteX10" fmla="*/ 19033 w 57225"/>
                <a:gd name="connsiteY10" fmla="*/ 42126 h 42125"/>
                <a:gd name="connsiteX11" fmla="*/ 19033 w 57225"/>
                <a:gd name="connsiteY11" fmla="*/ 28042 h 42125"/>
                <a:gd name="connsiteX12" fmla="*/ 0 w 57225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2125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066" y="28042"/>
                  </a:lnTo>
                  <a:lnTo>
                    <a:pt x="38066" y="42126"/>
                  </a:lnTo>
                  <a:lnTo>
                    <a:pt x="19033" y="42126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2" name="Freihandform: Form 231">
              <a:extLst>
                <a:ext uri="{FF2B5EF4-FFF2-40B4-BE49-F238E27FC236}">
                  <a16:creationId xmlns:a16="http://schemas.microsoft.com/office/drawing/2014/main" id="{FF45367F-D6E7-9D22-D87A-6A074947EF78}"/>
                </a:ext>
              </a:extLst>
            </p:cNvPr>
            <p:cNvSpPr/>
            <p:nvPr/>
          </p:nvSpPr>
          <p:spPr>
            <a:xfrm>
              <a:off x="2857603" y="3944578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2 w 57225"/>
                <a:gd name="connsiteY8" fmla="*/ 28042 h 41998"/>
                <a:gd name="connsiteX9" fmla="*/ 38192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3" name="Freihandform: Form 232">
              <a:extLst>
                <a:ext uri="{FF2B5EF4-FFF2-40B4-BE49-F238E27FC236}">
                  <a16:creationId xmlns:a16="http://schemas.microsoft.com/office/drawing/2014/main" id="{2A72296D-96DD-ACE9-9DA9-9F0BD83E2968}"/>
                </a:ext>
              </a:extLst>
            </p:cNvPr>
            <p:cNvSpPr/>
            <p:nvPr/>
          </p:nvSpPr>
          <p:spPr>
            <a:xfrm>
              <a:off x="2880823" y="3958028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066 w 57225"/>
                <a:gd name="connsiteY4" fmla="*/ 0 h 41998"/>
                <a:gd name="connsiteX5" fmla="*/ 38066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066 w 57225"/>
                <a:gd name="connsiteY8" fmla="*/ 28042 h 41998"/>
                <a:gd name="connsiteX9" fmla="*/ 38066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066" y="28042"/>
                  </a:lnTo>
                  <a:lnTo>
                    <a:pt x="38066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4" name="Freihandform: Form 233">
              <a:extLst>
                <a:ext uri="{FF2B5EF4-FFF2-40B4-BE49-F238E27FC236}">
                  <a16:creationId xmlns:a16="http://schemas.microsoft.com/office/drawing/2014/main" id="{B1189145-30B5-699B-38BF-0F6431F3A53A}"/>
                </a:ext>
              </a:extLst>
            </p:cNvPr>
            <p:cNvSpPr/>
            <p:nvPr/>
          </p:nvSpPr>
          <p:spPr>
            <a:xfrm>
              <a:off x="2909753" y="3964880"/>
              <a:ext cx="57225" cy="41998"/>
            </a:xfrm>
            <a:custGeom>
              <a:avLst/>
              <a:gdLst>
                <a:gd name="connsiteX0" fmla="*/ 0 w 57225"/>
                <a:gd name="connsiteY0" fmla="*/ 27915 h 41998"/>
                <a:gd name="connsiteX1" fmla="*/ 0 w 57225"/>
                <a:gd name="connsiteY1" fmla="*/ 13957 h 41998"/>
                <a:gd name="connsiteX2" fmla="*/ 19160 w 57225"/>
                <a:gd name="connsiteY2" fmla="*/ 13957 h 41998"/>
                <a:gd name="connsiteX3" fmla="*/ 19160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7915 h 41998"/>
                <a:gd name="connsiteX8" fmla="*/ 38192 w 57225"/>
                <a:gd name="connsiteY8" fmla="*/ 27915 h 41998"/>
                <a:gd name="connsiteX9" fmla="*/ 38192 w 57225"/>
                <a:gd name="connsiteY9" fmla="*/ 41999 h 41998"/>
                <a:gd name="connsiteX10" fmla="*/ 19160 w 57225"/>
                <a:gd name="connsiteY10" fmla="*/ 41999 h 41998"/>
                <a:gd name="connsiteX11" fmla="*/ 19160 w 57225"/>
                <a:gd name="connsiteY11" fmla="*/ 27915 h 41998"/>
                <a:gd name="connsiteX12" fmla="*/ 0 w 57225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7915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5" name="Freihandform: Form 234">
              <a:extLst>
                <a:ext uri="{FF2B5EF4-FFF2-40B4-BE49-F238E27FC236}">
                  <a16:creationId xmlns:a16="http://schemas.microsoft.com/office/drawing/2014/main" id="{A93B063F-6FC2-41A0-E2E6-83AB02C59B81}"/>
                </a:ext>
              </a:extLst>
            </p:cNvPr>
            <p:cNvSpPr/>
            <p:nvPr/>
          </p:nvSpPr>
          <p:spPr>
            <a:xfrm>
              <a:off x="2946549" y="3978583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2 w 57225"/>
                <a:gd name="connsiteY8" fmla="*/ 28042 h 41998"/>
                <a:gd name="connsiteX9" fmla="*/ 38192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6" name="Freihandform: Form 235">
              <a:extLst>
                <a:ext uri="{FF2B5EF4-FFF2-40B4-BE49-F238E27FC236}">
                  <a16:creationId xmlns:a16="http://schemas.microsoft.com/office/drawing/2014/main" id="{A51EB4AC-5E7D-9970-DABB-BB75898C0A07}"/>
                </a:ext>
              </a:extLst>
            </p:cNvPr>
            <p:cNvSpPr/>
            <p:nvPr/>
          </p:nvSpPr>
          <p:spPr>
            <a:xfrm>
              <a:off x="2962029" y="3985435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4084 h 41998"/>
                <a:gd name="connsiteX2" fmla="*/ 19160 w 57225"/>
                <a:gd name="connsiteY2" fmla="*/ 14084 h 41998"/>
                <a:gd name="connsiteX3" fmla="*/ 19160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4084 h 41998"/>
                <a:gd name="connsiteX6" fmla="*/ 57225 w 57225"/>
                <a:gd name="connsiteY6" fmla="*/ 14084 h 41998"/>
                <a:gd name="connsiteX7" fmla="*/ 57225 w 57225"/>
                <a:gd name="connsiteY7" fmla="*/ 28042 h 41998"/>
                <a:gd name="connsiteX8" fmla="*/ 38192 w 57225"/>
                <a:gd name="connsiteY8" fmla="*/ 28042 h 41998"/>
                <a:gd name="connsiteX9" fmla="*/ 38192 w 57225"/>
                <a:gd name="connsiteY9" fmla="*/ 41999 h 41998"/>
                <a:gd name="connsiteX10" fmla="*/ 19160 w 57225"/>
                <a:gd name="connsiteY10" fmla="*/ 41999 h 41998"/>
                <a:gd name="connsiteX11" fmla="*/ 19160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4084"/>
                  </a:lnTo>
                  <a:lnTo>
                    <a:pt x="19160" y="14084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7" name="Freihandform: Form 236">
              <a:extLst>
                <a:ext uri="{FF2B5EF4-FFF2-40B4-BE49-F238E27FC236}">
                  <a16:creationId xmlns:a16="http://schemas.microsoft.com/office/drawing/2014/main" id="{7137E1EA-6D87-E565-1D81-945F7295C48B}"/>
                </a:ext>
              </a:extLst>
            </p:cNvPr>
            <p:cNvSpPr/>
            <p:nvPr/>
          </p:nvSpPr>
          <p:spPr>
            <a:xfrm>
              <a:off x="2965836" y="3985435"/>
              <a:ext cx="57351" cy="41998"/>
            </a:xfrm>
            <a:custGeom>
              <a:avLst/>
              <a:gdLst>
                <a:gd name="connsiteX0" fmla="*/ 0 w 57351"/>
                <a:gd name="connsiteY0" fmla="*/ 28042 h 41998"/>
                <a:gd name="connsiteX1" fmla="*/ 0 w 57351"/>
                <a:gd name="connsiteY1" fmla="*/ 14084 h 41998"/>
                <a:gd name="connsiteX2" fmla="*/ 19160 w 57351"/>
                <a:gd name="connsiteY2" fmla="*/ 14084 h 41998"/>
                <a:gd name="connsiteX3" fmla="*/ 19160 w 57351"/>
                <a:gd name="connsiteY3" fmla="*/ 0 h 41998"/>
                <a:gd name="connsiteX4" fmla="*/ 38192 w 57351"/>
                <a:gd name="connsiteY4" fmla="*/ 0 h 41998"/>
                <a:gd name="connsiteX5" fmla="*/ 38192 w 57351"/>
                <a:gd name="connsiteY5" fmla="*/ 14084 h 41998"/>
                <a:gd name="connsiteX6" fmla="*/ 57352 w 57351"/>
                <a:gd name="connsiteY6" fmla="*/ 14084 h 41998"/>
                <a:gd name="connsiteX7" fmla="*/ 57352 w 57351"/>
                <a:gd name="connsiteY7" fmla="*/ 28042 h 41998"/>
                <a:gd name="connsiteX8" fmla="*/ 38192 w 57351"/>
                <a:gd name="connsiteY8" fmla="*/ 28042 h 41998"/>
                <a:gd name="connsiteX9" fmla="*/ 38192 w 57351"/>
                <a:gd name="connsiteY9" fmla="*/ 41999 h 41998"/>
                <a:gd name="connsiteX10" fmla="*/ 19160 w 57351"/>
                <a:gd name="connsiteY10" fmla="*/ 41999 h 41998"/>
                <a:gd name="connsiteX11" fmla="*/ 19160 w 57351"/>
                <a:gd name="connsiteY11" fmla="*/ 28042 h 41998"/>
                <a:gd name="connsiteX12" fmla="*/ 0 w 57351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1" h="41998">
                  <a:moveTo>
                    <a:pt x="0" y="28042"/>
                  </a:moveTo>
                  <a:lnTo>
                    <a:pt x="0" y="14084"/>
                  </a:lnTo>
                  <a:lnTo>
                    <a:pt x="19160" y="14084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352" y="14084"/>
                  </a:lnTo>
                  <a:lnTo>
                    <a:pt x="57352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8" name="Freihandform: Form 237">
              <a:extLst>
                <a:ext uri="{FF2B5EF4-FFF2-40B4-BE49-F238E27FC236}">
                  <a16:creationId xmlns:a16="http://schemas.microsoft.com/office/drawing/2014/main" id="{B7B066ED-E359-02B0-1737-3F3CA4242BE3}"/>
                </a:ext>
              </a:extLst>
            </p:cNvPr>
            <p:cNvSpPr/>
            <p:nvPr/>
          </p:nvSpPr>
          <p:spPr>
            <a:xfrm>
              <a:off x="2979540" y="3992414"/>
              <a:ext cx="57225" cy="42125"/>
            </a:xfrm>
            <a:custGeom>
              <a:avLst/>
              <a:gdLst>
                <a:gd name="connsiteX0" fmla="*/ 0 w 57225"/>
                <a:gd name="connsiteY0" fmla="*/ 28042 h 42125"/>
                <a:gd name="connsiteX1" fmla="*/ 0 w 57225"/>
                <a:gd name="connsiteY1" fmla="*/ 14084 h 42125"/>
                <a:gd name="connsiteX2" fmla="*/ 19033 w 57225"/>
                <a:gd name="connsiteY2" fmla="*/ 14084 h 42125"/>
                <a:gd name="connsiteX3" fmla="*/ 19033 w 57225"/>
                <a:gd name="connsiteY3" fmla="*/ 0 h 42125"/>
                <a:gd name="connsiteX4" fmla="*/ 38066 w 57225"/>
                <a:gd name="connsiteY4" fmla="*/ 0 h 42125"/>
                <a:gd name="connsiteX5" fmla="*/ 38066 w 57225"/>
                <a:gd name="connsiteY5" fmla="*/ 14084 h 42125"/>
                <a:gd name="connsiteX6" fmla="*/ 57225 w 57225"/>
                <a:gd name="connsiteY6" fmla="*/ 14084 h 42125"/>
                <a:gd name="connsiteX7" fmla="*/ 57225 w 57225"/>
                <a:gd name="connsiteY7" fmla="*/ 28042 h 42125"/>
                <a:gd name="connsiteX8" fmla="*/ 38066 w 57225"/>
                <a:gd name="connsiteY8" fmla="*/ 28042 h 42125"/>
                <a:gd name="connsiteX9" fmla="*/ 38066 w 57225"/>
                <a:gd name="connsiteY9" fmla="*/ 42126 h 42125"/>
                <a:gd name="connsiteX10" fmla="*/ 19033 w 57225"/>
                <a:gd name="connsiteY10" fmla="*/ 42126 h 42125"/>
                <a:gd name="connsiteX11" fmla="*/ 19033 w 57225"/>
                <a:gd name="connsiteY11" fmla="*/ 28042 h 42125"/>
                <a:gd name="connsiteX12" fmla="*/ 0 w 57225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2125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066" y="28042"/>
                  </a:lnTo>
                  <a:lnTo>
                    <a:pt x="38066" y="42126"/>
                  </a:lnTo>
                  <a:lnTo>
                    <a:pt x="19033" y="42126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9" name="Freihandform: Form 238">
              <a:extLst>
                <a:ext uri="{FF2B5EF4-FFF2-40B4-BE49-F238E27FC236}">
                  <a16:creationId xmlns:a16="http://schemas.microsoft.com/office/drawing/2014/main" id="{F003C724-BC64-0C85-AC07-4BBA93A1FC20}"/>
                </a:ext>
              </a:extLst>
            </p:cNvPr>
            <p:cNvSpPr/>
            <p:nvPr/>
          </p:nvSpPr>
          <p:spPr>
            <a:xfrm>
              <a:off x="2994893" y="3992414"/>
              <a:ext cx="57225" cy="42125"/>
            </a:xfrm>
            <a:custGeom>
              <a:avLst/>
              <a:gdLst>
                <a:gd name="connsiteX0" fmla="*/ 0 w 57225"/>
                <a:gd name="connsiteY0" fmla="*/ 28042 h 42125"/>
                <a:gd name="connsiteX1" fmla="*/ 0 w 57225"/>
                <a:gd name="connsiteY1" fmla="*/ 14084 h 42125"/>
                <a:gd name="connsiteX2" fmla="*/ 19033 w 57225"/>
                <a:gd name="connsiteY2" fmla="*/ 14084 h 42125"/>
                <a:gd name="connsiteX3" fmla="*/ 19033 w 57225"/>
                <a:gd name="connsiteY3" fmla="*/ 0 h 42125"/>
                <a:gd name="connsiteX4" fmla="*/ 38193 w 57225"/>
                <a:gd name="connsiteY4" fmla="*/ 0 h 42125"/>
                <a:gd name="connsiteX5" fmla="*/ 38193 w 57225"/>
                <a:gd name="connsiteY5" fmla="*/ 14084 h 42125"/>
                <a:gd name="connsiteX6" fmla="*/ 57225 w 57225"/>
                <a:gd name="connsiteY6" fmla="*/ 14084 h 42125"/>
                <a:gd name="connsiteX7" fmla="*/ 57225 w 57225"/>
                <a:gd name="connsiteY7" fmla="*/ 28042 h 42125"/>
                <a:gd name="connsiteX8" fmla="*/ 38193 w 57225"/>
                <a:gd name="connsiteY8" fmla="*/ 28042 h 42125"/>
                <a:gd name="connsiteX9" fmla="*/ 38193 w 57225"/>
                <a:gd name="connsiteY9" fmla="*/ 42126 h 42125"/>
                <a:gd name="connsiteX10" fmla="*/ 19033 w 57225"/>
                <a:gd name="connsiteY10" fmla="*/ 42126 h 42125"/>
                <a:gd name="connsiteX11" fmla="*/ 19033 w 57225"/>
                <a:gd name="connsiteY11" fmla="*/ 28042 h 42125"/>
                <a:gd name="connsiteX12" fmla="*/ 0 w 57225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2125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193" y="0"/>
                  </a:lnTo>
                  <a:lnTo>
                    <a:pt x="38193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3" y="28042"/>
                  </a:lnTo>
                  <a:lnTo>
                    <a:pt x="38193" y="42126"/>
                  </a:lnTo>
                  <a:lnTo>
                    <a:pt x="19033" y="42126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0" name="Freihandform: Form 239">
              <a:extLst>
                <a:ext uri="{FF2B5EF4-FFF2-40B4-BE49-F238E27FC236}">
                  <a16:creationId xmlns:a16="http://schemas.microsoft.com/office/drawing/2014/main" id="{B42EA710-DBA6-D0FE-F28F-395F15BB604A}"/>
                </a:ext>
              </a:extLst>
            </p:cNvPr>
            <p:cNvSpPr/>
            <p:nvPr/>
          </p:nvSpPr>
          <p:spPr>
            <a:xfrm>
              <a:off x="3002633" y="3992414"/>
              <a:ext cx="57225" cy="42125"/>
            </a:xfrm>
            <a:custGeom>
              <a:avLst/>
              <a:gdLst>
                <a:gd name="connsiteX0" fmla="*/ 0 w 57225"/>
                <a:gd name="connsiteY0" fmla="*/ 28042 h 42125"/>
                <a:gd name="connsiteX1" fmla="*/ 0 w 57225"/>
                <a:gd name="connsiteY1" fmla="*/ 14084 h 42125"/>
                <a:gd name="connsiteX2" fmla="*/ 19033 w 57225"/>
                <a:gd name="connsiteY2" fmla="*/ 14084 h 42125"/>
                <a:gd name="connsiteX3" fmla="*/ 19033 w 57225"/>
                <a:gd name="connsiteY3" fmla="*/ 0 h 42125"/>
                <a:gd name="connsiteX4" fmla="*/ 38192 w 57225"/>
                <a:gd name="connsiteY4" fmla="*/ 0 h 42125"/>
                <a:gd name="connsiteX5" fmla="*/ 38192 w 57225"/>
                <a:gd name="connsiteY5" fmla="*/ 14084 h 42125"/>
                <a:gd name="connsiteX6" fmla="*/ 57225 w 57225"/>
                <a:gd name="connsiteY6" fmla="*/ 14084 h 42125"/>
                <a:gd name="connsiteX7" fmla="*/ 57225 w 57225"/>
                <a:gd name="connsiteY7" fmla="*/ 28042 h 42125"/>
                <a:gd name="connsiteX8" fmla="*/ 38192 w 57225"/>
                <a:gd name="connsiteY8" fmla="*/ 28042 h 42125"/>
                <a:gd name="connsiteX9" fmla="*/ 38192 w 57225"/>
                <a:gd name="connsiteY9" fmla="*/ 42126 h 42125"/>
                <a:gd name="connsiteX10" fmla="*/ 19033 w 57225"/>
                <a:gd name="connsiteY10" fmla="*/ 42126 h 42125"/>
                <a:gd name="connsiteX11" fmla="*/ 19033 w 57225"/>
                <a:gd name="connsiteY11" fmla="*/ 28042 h 42125"/>
                <a:gd name="connsiteX12" fmla="*/ 0 w 57225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2125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2126"/>
                  </a:lnTo>
                  <a:lnTo>
                    <a:pt x="19033" y="42126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1" name="Freihandform: Form 240">
              <a:extLst>
                <a:ext uri="{FF2B5EF4-FFF2-40B4-BE49-F238E27FC236}">
                  <a16:creationId xmlns:a16="http://schemas.microsoft.com/office/drawing/2014/main" id="{51ED9055-3319-D7F4-5C80-2B4376E55125}"/>
                </a:ext>
              </a:extLst>
            </p:cNvPr>
            <p:cNvSpPr/>
            <p:nvPr/>
          </p:nvSpPr>
          <p:spPr>
            <a:xfrm>
              <a:off x="3060619" y="3999900"/>
              <a:ext cx="57225" cy="41998"/>
            </a:xfrm>
            <a:custGeom>
              <a:avLst/>
              <a:gdLst>
                <a:gd name="connsiteX0" fmla="*/ 0 w 57225"/>
                <a:gd name="connsiteY0" fmla="*/ 27915 h 41998"/>
                <a:gd name="connsiteX1" fmla="*/ 0 w 57225"/>
                <a:gd name="connsiteY1" fmla="*/ 13957 h 41998"/>
                <a:gd name="connsiteX2" fmla="*/ 19160 w 57225"/>
                <a:gd name="connsiteY2" fmla="*/ 13957 h 41998"/>
                <a:gd name="connsiteX3" fmla="*/ 19160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7915 h 41998"/>
                <a:gd name="connsiteX8" fmla="*/ 38192 w 57225"/>
                <a:gd name="connsiteY8" fmla="*/ 27915 h 41998"/>
                <a:gd name="connsiteX9" fmla="*/ 38192 w 57225"/>
                <a:gd name="connsiteY9" fmla="*/ 41999 h 41998"/>
                <a:gd name="connsiteX10" fmla="*/ 19160 w 57225"/>
                <a:gd name="connsiteY10" fmla="*/ 41999 h 41998"/>
                <a:gd name="connsiteX11" fmla="*/ 19160 w 57225"/>
                <a:gd name="connsiteY11" fmla="*/ 27915 h 41998"/>
                <a:gd name="connsiteX12" fmla="*/ 0 w 57225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7915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2" name="Freihandform: Form 241">
              <a:extLst>
                <a:ext uri="{FF2B5EF4-FFF2-40B4-BE49-F238E27FC236}">
                  <a16:creationId xmlns:a16="http://schemas.microsoft.com/office/drawing/2014/main" id="{745BA907-2741-F5B1-A988-02DE1EB9CDAF}"/>
                </a:ext>
              </a:extLst>
            </p:cNvPr>
            <p:cNvSpPr/>
            <p:nvPr/>
          </p:nvSpPr>
          <p:spPr>
            <a:xfrm>
              <a:off x="3128376" y="4021978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066 w 57225"/>
                <a:gd name="connsiteY4" fmla="*/ 0 h 41998"/>
                <a:gd name="connsiteX5" fmla="*/ 38066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066 w 57225"/>
                <a:gd name="connsiteY8" fmla="*/ 28042 h 41998"/>
                <a:gd name="connsiteX9" fmla="*/ 38066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066" y="28042"/>
                  </a:lnTo>
                  <a:lnTo>
                    <a:pt x="38066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3" name="Freihandform: Form 242">
              <a:extLst>
                <a:ext uri="{FF2B5EF4-FFF2-40B4-BE49-F238E27FC236}">
                  <a16:creationId xmlns:a16="http://schemas.microsoft.com/office/drawing/2014/main" id="{9C562FF0-26A2-6A00-19C9-77DCA6BD4F12}"/>
                </a:ext>
              </a:extLst>
            </p:cNvPr>
            <p:cNvSpPr/>
            <p:nvPr/>
          </p:nvSpPr>
          <p:spPr>
            <a:xfrm>
              <a:off x="3130406" y="4021978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2 w 57225"/>
                <a:gd name="connsiteY8" fmla="*/ 28042 h 41998"/>
                <a:gd name="connsiteX9" fmla="*/ 38192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4" name="Freihandform: Form 243">
              <a:extLst>
                <a:ext uri="{FF2B5EF4-FFF2-40B4-BE49-F238E27FC236}">
                  <a16:creationId xmlns:a16="http://schemas.microsoft.com/office/drawing/2014/main" id="{EA916754-591C-3057-44CC-DEBDB877708F}"/>
                </a:ext>
              </a:extLst>
            </p:cNvPr>
            <p:cNvSpPr/>
            <p:nvPr/>
          </p:nvSpPr>
          <p:spPr>
            <a:xfrm>
              <a:off x="3141953" y="4021978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3 w 57225"/>
                <a:gd name="connsiteY4" fmla="*/ 0 h 41998"/>
                <a:gd name="connsiteX5" fmla="*/ 38193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3 w 57225"/>
                <a:gd name="connsiteY8" fmla="*/ 28042 h 41998"/>
                <a:gd name="connsiteX9" fmla="*/ 38193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3" y="0"/>
                  </a:lnTo>
                  <a:lnTo>
                    <a:pt x="38193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3" y="28042"/>
                  </a:lnTo>
                  <a:lnTo>
                    <a:pt x="38193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5" name="Freihandform: Form 244">
              <a:extLst>
                <a:ext uri="{FF2B5EF4-FFF2-40B4-BE49-F238E27FC236}">
                  <a16:creationId xmlns:a16="http://schemas.microsoft.com/office/drawing/2014/main" id="{FE55E15C-0AA9-2544-08F8-32E1642835C0}"/>
                </a:ext>
              </a:extLst>
            </p:cNvPr>
            <p:cNvSpPr/>
            <p:nvPr/>
          </p:nvSpPr>
          <p:spPr>
            <a:xfrm>
              <a:off x="3159336" y="4029591"/>
              <a:ext cx="57351" cy="42125"/>
            </a:xfrm>
            <a:custGeom>
              <a:avLst/>
              <a:gdLst>
                <a:gd name="connsiteX0" fmla="*/ 0 w 57351"/>
                <a:gd name="connsiteY0" fmla="*/ 28042 h 42125"/>
                <a:gd name="connsiteX1" fmla="*/ 0 w 57351"/>
                <a:gd name="connsiteY1" fmla="*/ 14084 h 42125"/>
                <a:gd name="connsiteX2" fmla="*/ 19160 w 57351"/>
                <a:gd name="connsiteY2" fmla="*/ 14084 h 42125"/>
                <a:gd name="connsiteX3" fmla="*/ 19160 w 57351"/>
                <a:gd name="connsiteY3" fmla="*/ 0 h 42125"/>
                <a:gd name="connsiteX4" fmla="*/ 38192 w 57351"/>
                <a:gd name="connsiteY4" fmla="*/ 0 h 42125"/>
                <a:gd name="connsiteX5" fmla="*/ 38192 w 57351"/>
                <a:gd name="connsiteY5" fmla="*/ 14084 h 42125"/>
                <a:gd name="connsiteX6" fmla="*/ 57352 w 57351"/>
                <a:gd name="connsiteY6" fmla="*/ 14084 h 42125"/>
                <a:gd name="connsiteX7" fmla="*/ 57352 w 57351"/>
                <a:gd name="connsiteY7" fmla="*/ 28042 h 42125"/>
                <a:gd name="connsiteX8" fmla="*/ 38192 w 57351"/>
                <a:gd name="connsiteY8" fmla="*/ 28042 h 42125"/>
                <a:gd name="connsiteX9" fmla="*/ 38192 w 57351"/>
                <a:gd name="connsiteY9" fmla="*/ 42126 h 42125"/>
                <a:gd name="connsiteX10" fmla="*/ 19160 w 57351"/>
                <a:gd name="connsiteY10" fmla="*/ 42126 h 42125"/>
                <a:gd name="connsiteX11" fmla="*/ 19160 w 57351"/>
                <a:gd name="connsiteY11" fmla="*/ 28042 h 42125"/>
                <a:gd name="connsiteX12" fmla="*/ 0 w 57351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1" h="42125">
                  <a:moveTo>
                    <a:pt x="0" y="28042"/>
                  </a:moveTo>
                  <a:lnTo>
                    <a:pt x="0" y="14084"/>
                  </a:lnTo>
                  <a:lnTo>
                    <a:pt x="19160" y="14084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352" y="14084"/>
                  </a:lnTo>
                  <a:lnTo>
                    <a:pt x="57352" y="28042"/>
                  </a:lnTo>
                  <a:lnTo>
                    <a:pt x="38192" y="28042"/>
                  </a:lnTo>
                  <a:lnTo>
                    <a:pt x="38192" y="42126"/>
                  </a:lnTo>
                  <a:lnTo>
                    <a:pt x="19160" y="42126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6" name="Freihandform: Form 245">
              <a:extLst>
                <a:ext uri="{FF2B5EF4-FFF2-40B4-BE49-F238E27FC236}">
                  <a16:creationId xmlns:a16="http://schemas.microsoft.com/office/drawing/2014/main" id="{D5696E83-CD96-AD83-B597-6B1EF754E97E}"/>
                </a:ext>
              </a:extLst>
            </p:cNvPr>
            <p:cNvSpPr/>
            <p:nvPr/>
          </p:nvSpPr>
          <p:spPr>
            <a:xfrm>
              <a:off x="3171009" y="4037331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066 w 57225"/>
                <a:gd name="connsiteY4" fmla="*/ 0 h 41998"/>
                <a:gd name="connsiteX5" fmla="*/ 38066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066 w 57225"/>
                <a:gd name="connsiteY8" fmla="*/ 28042 h 41998"/>
                <a:gd name="connsiteX9" fmla="*/ 38066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066" y="28042"/>
                  </a:lnTo>
                  <a:lnTo>
                    <a:pt x="38066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7" name="Freihandform: Form 246">
              <a:extLst>
                <a:ext uri="{FF2B5EF4-FFF2-40B4-BE49-F238E27FC236}">
                  <a16:creationId xmlns:a16="http://schemas.microsoft.com/office/drawing/2014/main" id="{C1EBAE09-B1EA-272A-1C5D-68CF9321154A}"/>
                </a:ext>
              </a:extLst>
            </p:cNvPr>
            <p:cNvSpPr/>
            <p:nvPr/>
          </p:nvSpPr>
          <p:spPr>
            <a:xfrm>
              <a:off x="3172913" y="4037331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066 w 57225"/>
                <a:gd name="connsiteY4" fmla="*/ 0 h 41998"/>
                <a:gd name="connsiteX5" fmla="*/ 38066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066 w 57225"/>
                <a:gd name="connsiteY8" fmla="*/ 28042 h 41998"/>
                <a:gd name="connsiteX9" fmla="*/ 38066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066" y="28042"/>
                  </a:lnTo>
                  <a:lnTo>
                    <a:pt x="38066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8" name="Freihandform: Form 247">
              <a:extLst>
                <a:ext uri="{FF2B5EF4-FFF2-40B4-BE49-F238E27FC236}">
                  <a16:creationId xmlns:a16="http://schemas.microsoft.com/office/drawing/2014/main" id="{50672038-089E-4086-5B0E-F9B25BFB920D}"/>
                </a:ext>
              </a:extLst>
            </p:cNvPr>
            <p:cNvSpPr/>
            <p:nvPr/>
          </p:nvSpPr>
          <p:spPr>
            <a:xfrm>
              <a:off x="3174816" y="4037331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066 w 57225"/>
                <a:gd name="connsiteY4" fmla="*/ 0 h 41998"/>
                <a:gd name="connsiteX5" fmla="*/ 38066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066 w 57225"/>
                <a:gd name="connsiteY8" fmla="*/ 28042 h 41998"/>
                <a:gd name="connsiteX9" fmla="*/ 38066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066" y="28042"/>
                  </a:lnTo>
                  <a:lnTo>
                    <a:pt x="38066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9" name="Freihandform: Form 248">
              <a:extLst>
                <a:ext uri="{FF2B5EF4-FFF2-40B4-BE49-F238E27FC236}">
                  <a16:creationId xmlns:a16="http://schemas.microsoft.com/office/drawing/2014/main" id="{A6F79331-B192-752C-475E-786BF6F0D573}"/>
                </a:ext>
              </a:extLst>
            </p:cNvPr>
            <p:cNvSpPr/>
            <p:nvPr/>
          </p:nvSpPr>
          <p:spPr>
            <a:xfrm>
              <a:off x="3188393" y="4045452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3 w 57225"/>
                <a:gd name="connsiteY4" fmla="*/ 0 h 41998"/>
                <a:gd name="connsiteX5" fmla="*/ 38193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3 w 57225"/>
                <a:gd name="connsiteY8" fmla="*/ 28042 h 41998"/>
                <a:gd name="connsiteX9" fmla="*/ 38193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3" y="0"/>
                  </a:lnTo>
                  <a:lnTo>
                    <a:pt x="38193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3" y="28042"/>
                  </a:lnTo>
                  <a:lnTo>
                    <a:pt x="38193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0" name="Freihandform: Form 249">
              <a:extLst>
                <a:ext uri="{FF2B5EF4-FFF2-40B4-BE49-F238E27FC236}">
                  <a16:creationId xmlns:a16="http://schemas.microsoft.com/office/drawing/2014/main" id="{4E32EAA1-C15C-29F8-9437-657BF47909C6}"/>
                </a:ext>
              </a:extLst>
            </p:cNvPr>
            <p:cNvSpPr/>
            <p:nvPr/>
          </p:nvSpPr>
          <p:spPr>
            <a:xfrm>
              <a:off x="3188393" y="4045452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3 w 57225"/>
                <a:gd name="connsiteY4" fmla="*/ 0 h 41998"/>
                <a:gd name="connsiteX5" fmla="*/ 38193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3 w 57225"/>
                <a:gd name="connsiteY8" fmla="*/ 28042 h 41998"/>
                <a:gd name="connsiteX9" fmla="*/ 38193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3" y="0"/>
                  </a:lnTo>
                  <a:lnTo>
                    <a:pt x="38193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3" y="28042"/>
                  </a:lnTo>
                  <a:lnTo>
                    <a:pt x="38193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1" name="Freihandform: Form 250">
              <a:extLst>
                <a:ext uri="{FF2B5EF4-FFF2-40B4-BE49-F238E27FC236}">
                  <a16:creationId xmlns:a16="http://schemas.microsoft.com/office/drawing/2014/main" id="{EEF21CBB-E143-037C-CC55-D81877408532}"/>
                </a:ext>
              </a:extLst>
            </p:cNvPr>
            <p:cNvSpPr/>
            <p:nvPr/>
          </p:nvSpPr>
          <p:spPr>
            <a:xfrm>
              <a:off x="3244476" y="4045452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160 w 57225"/>
                <a:gd name="connsiteY2" fmla="*/ 13957 h 41998"/>
                <a:gd name="connsiteX3" fmla="*/ 19160 w 57225"/>
                <a:gd name="connsiteY3" fmla="*/ 0 h 41998"/>
                <a:gd name="connsiteX4" fmla="*/ 38193 w 57225"/>
                <a:gd name="connsiteY4" fmla="*/ 0 h 41998"/>
                <a:gd name="connsiteX5" fmla="*/ 38193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3 w 57225"/>
                <a:gd name="connsiteY8" fmla="*/ 28042 h 41998"/>
                <a:gd name="connsiteX9" fmla="*/ 38193 w 57225"/>
                <a:gd name="connsiteY9" fmla="*/ 41999 h 41998"/>
                <a:gd name="connsiteX10" fmla="*/ 19160 w 57225"/>
                <a:gd name="connsiteY10" fmla="*/ 41999 h 41998"/>
                <a:gd name="connsiteX11" fmla="*/ 19160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3" y="0"/>
                  </a:lnTo>
                  <a:lnTo>
                    <a:pt x="38193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3" y="28042"/>
                  </a:lnTo>
                  <a:lnTo>
                    <a:pt x="38193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2" name="Freihandform: Form 251">
              <a:extLst>
                <a:ext uri="{FF2B5EF4-FFF2-40B4-BE49-F238E27FC236}">
                  <a16:creationId xmlns:a16="http://schemas.microsoft.com/office/drawing/2014/main" id="{0DE0B955-F9FE-BF00-5662-414FE2BA2803}"/>
                </a:ext>
              </a:extLst>
            </p:cNvPr>
            <p:cNvSpPr/>
            <p:nvPr/>
          </p:nvSpPr>
          <p:spPr>
            <a:xfrm>
              <a:off x="3406889" y="4095699"/>
              <a:ext cx="57352" cy="41999"/>
            </a:xfrm>
            <a:custGeom>
              <a:avLst/>
              <a:gdLst>
                <a:gd name="connsiteX0" fmla="*/ 0 w 57352"/>
                <a:gd name="connsiteY0" fmla="*/ 27915 h 41999"/>
                <a:gd name="connsiteX1" fmla="*/ 0 w 57352"/>
                <a:gd name="connsiteY1" fmla="*/ 13957 h 41999"/>
                <a:gd name="connsiteX2" fmla="*/ 19160 w 57352"/>
                <a:gd name="connsiteY2" fmla="*/ 13957 h 41999"/>
                <a:gd name="connsiteX3" fmla="*/ 19160 w 57352"/>
                <a:gd name="connsiteY3" fmla="*/ 0 h 41999"/>
                <a:gd name="connsiteX4" fmla="*/ 38192 w 57352"/>
                <a:gd name="connsiteY4" fmla="*/ 0 h 41999"/>
                <a:gd name="connsiteX5" fmla="*/ 38192 w 57352"/>
                <a:gd name="connsiteY5" fmla="*/ 13957 h 41999"/>
                <a:gd name="connsiteX6" fmla="*/ 57352 w 57352"/>
                <a:gd name="connsiteY6" fmla="*/ 13957 h 41999"/>
                <a:gd name="connsiteX7" fmla="*/ 57352 w 57352"/>
                <a:gd name="connsiteY7" fmla="*/ 27915 h 41999"/>
                <a:gd name="connsiteX8" fmla="*/ 38192 w 57352"/>
                <a:gd name="connsiteY8" fmla="*/ 27915 h 41999"/>
                <a:gd name="connsiteX9" fmla="*/ 38192 w 57352"/>
                <a:gd name="connsiteY9" fmla="*/ 41999 h 41999"/>
                <a:gd name="connsiteX10" fmla="*/ 19160 w 57352"/>
                <a:gd name="connsiteY10" fmla="*/ 41999 h 41999"/>
                <a:gd name="connsiteX11" fmla="*/ 19160 w 57352"/>
                <a:gd name="connsiteY11" fmla="*/ 27915 h 41999"/>
                <a:gd name="connsiteX12" fmla="*/ 0 w 57352"/>
                <a:gd name="connsiteY12" fmla="*/ 27915 h 4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2" h="41999">
                  <a:moveTo>
                    <a:pt x="0" y="27915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352" y="13957"/>
                  </a:lnTo>
                  <a:lnTo>
                    <a:pt x="57352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3" name="Freihandform: Form 252">
              <a:extLst>
                <a:ext uri="{FF2B5EF4-FFF2-40B4-BE49-F238E27FC236}">
                  <a16:creationId xmlns:a16="http://schemas.microsoft.com/office/drawing/2014/main" id="{D93EEDB7-F4BE-DDF2-4EF5-F431C56F8BF1}"/>
                </a:ext>
              </a:extLst>
            </p:cNvPr>
            <p:cNvSpPr/>
            <p:nvPr/>
          </p:nvSpPr>
          <p:spPr>
            <a:xfrm>
              <a:off x="3542403" y="4138205"/>
              <a:ext cx="57225" cy="41998"/>
            </a:xfrm>
            <a:custGeom>
              <a:avLst/>
              <a:gdLst>
                <a:gd name="connsiteX0" fmla="*/ 0 w 57225"/>
                <a:gd name="connsiteY0" fmla="*/ 27915 h 41998"/>
                <a:gd name="connsiteX1" fmla="*/ 0 w 57225"/>
                <a:gd name="connsiteY1" fmla="*/ 13957 h 41998"/>
                <a:gd name="connsiteX2" fmla="*/ 19160 w 57225"/>
                <a:gd name="connsiteY2" fmla="*/ 13957 h 41998"/>
                <a:gd name="connsiteX3" fmla="*/ 19160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7915 h 41998"/>
                <a:gd name="connsiteX8" fmla="*/ 38192 w 57225"/>
                <a:gd name="connsiteY8" fmla="*/ 27915 h 41998"/>
                <a:gd name="connsiteX9" fmla="*/ 38192 w 57225"/>
                <a:gd name="connsiteY9" fmla="*/ 41999 h 41998"/>
                <a:gd name="connsiteX10" fmla="*/ 19160 w 57225"/>
                <a:gd name="connsiteY10" fmla="*/ 41999 h 41998"/>
                <a:gd name="connsiteX11" fmla="*/ 19160 w 57225"/>
                <a:gd name="connsiteY11" fmla="*/ 27915 h 41998"/>
                <a:gd name="connsiteX12" fmla="*/ 0 w 57225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7915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4" name="Freihandform: Form 253">
              <a:extLst>
                <a:ext uri="{FF2B5EF4-FFF2-40B4-BE49-F238E27FC236}">
                  <a16:creationId xmlns:a16="http://schemas.microsoft.com/office/drawing/2014/main" id="{3784E263-6620-69F0-22BF-421C220E7AFB}"/>
                </a:ext>
              </a:extLst>
            </p:cNvPr>
            <p:cNvSpPr/>
            <p:nvPr/>
          </p:nvSpPr>
          <p:spPr>
            <a:xfrm>
              <a:off x="3565622" y="4138205"/>
              <a:ext cx="57225" cy="41998"/>
            </a:xfrm>
            <a:custGeom>
              <a:avLst/>
              <a:gdLst>
                <a:gd name="connsiteX0" fmla="*/ 0 w 57225"/>
                <a:gd name="connsiteY0" fmla="*/ 27915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3 w 57225"/>
                <a:gd name="connsiteY4" fmla="*/ 0 h 41998"/>
                <a:gd name="connsiteX5" fmla="*/ 38193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7915 h 41998"/>
                <a:gd name="connsiteX8" fmla="*/ 38193 w 57225"/>
                <a:gd name="connsiteY8" fmla="*/ 27915 h 41998"/>
                <a:gd name="connsiteX9" fmla="*/ 38193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7915 h 41998"/>
                <a:gd name="connsiteX12" fmla="*/ 0 w 57225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7915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3" y="0"/>
                  </a:lnTo>
                  <a:lnTo>
                    <a:pt x="38193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193" y="27915"/>
                  </a:lnTo>
                  <a:lnTo>
                    <a:pt x="38193" y="41999"/>
                  </a:lnTo>
                  <a:lnTo>
                    <a:pt x="19033" y="41999"/>
                  </a:lnTo>
                  <a:lnTo>
                    <a:pt x="19033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5" name="Freihandform: Form 254">
              <a:extLst>
                <a:ext uri="{FF2B5EF4-FFF2-40B4-BE49-F238E27FC236}">
                  <a16:creationId xmlns:a16="http://schemas.microsoft.com/office/drawing/2014/main" id="{4250F876-6752-9EE4-3827-BF5051C9FF66}"/>
                </a:ext>
              </a:extLst>
            </p:cNvPr>
            <p:cNvSpPr/>
            <p:nvPr/>
          </p:nvSpPr>
          <p:spPr>
            <a:xfrm>
              <a:off x="3583006" y="4138205"/>
              <a:ext cx="57225" cy="41998"/>
            </a:xfrm>
            <a:custGeom>
              <a:avLst/>
              <a:gdLst>
                <a:gd name="connsiteX0" fmla="*/ 0 w 57225"/>
                <a:gd name="connsiteY0" fmla="*/ 27915 h 41998"/>
                <a:gd name="connsiteX1" fmla="*/ 0 w 57225"/>
                <a:gd name="connsiteY1" fmla="*/ 13957 h 41998"/>
                <a:gd name="connsiteX2" fmla="*/ 19160 w 57225"/>
                <a:gd name="connsiteY2" fmla="*/ 13957 h 41998"/>
                <a:gd name="connsiteX3" fmla="*/ 19160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7915 h 41998"/>
                <a:gd name="connsiteX8" fmla="*/ 38192 w 57225"/>
                <a:gd name="connsiteY8" fmla="*/ 27915 h 41998"/>
                <a:gd name="connsiteX9" fmla="*/ 38192 w 57225"/>
                <a:gd name="connsiteY9" fmla="*/ 41999 h 41998"/>
                <a:gd name="connsiteX10" fmla="*/ 19160 w 57225"/>
                <a:gd name="connsiteY10" fmla="*/ 41999 h 41998"/>
                <a:gd name="connsiteX11" fmla="*/ 19160 w 57225"/>
                <a:gd name="connsiteY11" fmla="*/ 27915 h 41998"/>
                <a:gd name="connsiteX12" fmla="*/ 0 w 57225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7915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6" name="Freihandform: Form 255">
              <a:extLst>
                <a:ext uri="{FF2B5EF4-FFF2-40B4-BE49-F238E27FC236}">
                  <a16:creationId xmlns:a16="http://schemas.microsoft.com/office/drawing/2014/main" id="{1D2F576A-F1E4-9896-3911-4B7EA2D1C5AE}"/>
                </a:ext>
              </a:extLst>
            </p:cNvPr>
            <p:cNvSpPr/>
            <p:nvPr/>
          </p:nvSpPr>
          <p:spPr>
            <a:xfrm>
              <a:off x="3586812" y="4138205"/>
              <a:ext cx="57225" cy="41998"/>
            </a:xfrm>
            <a:custGeom>
              <a:avLst/>
              <a:gdLst>
                <a:gd name="connsiteX0" fmla="*/ 0 w 57225"/>
                <a:gd name="connsiteY0" fmla="*/ 27915 h 41998"/>
                <a:gd name="connsiteX1" fmla="*/ 0 w 57225"/>
                <a:gd name="connsiteY1" fmla="*/ 13957 h 41998"/>
                <a:gd name="connsiteX2" fmla="*/ 19160 w 57225"/>
                <a:gd name="connsiteY2" fmla="*/ 13957 h 41998"/>
                <a:gd name="connsiteX3" fmla="*/ 19160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7915 h 41998"/>
                <a:gd name="connsiteX8" fmla="*/ 38192 w 57225"/>
                <a:gd name="connsiteY8" fmla="*/ 27915 h 41998"/>
                <a:gd name="connsiteX9" fmla="*/ 38192 w 57225"/>
                <a:gd name="connsiteY9" fmla="*/ 41999 h 41998"/>
                <a:gd name="connsiteX10" fmla="*/ 19160 w 57225"/>
                <a:gd name="connsiteY10" fmla="*/ 41999 h 41998"/>
                <a:gd name="connsiteX11" fmla="*/ 19160 w 57225"/>
                <a:gd name="connsiteY11" fmla="*/ 27915 h 41998"/>
                <a:gd name="connsiteX12" fmla="*/ 0 w 57225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7915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7" name="Freihandform: Form 256">
              <a:extLst>
                <a:ext uri="{FF2B5EF4-FFF2-40B4-BE49-F238E27FC236}">
                  <a16:creationId xmlns:a16="http://schemas.microsoft.com/office/drawing/2014/main" id="{3234352D-8795-FDD3-08C0-E7D297C818D8}"/>
                </a:ext>
              </a:extLst>
            </p:cNvPr>
            <p:cNvSpPr/>
            <p:nvPr/>
          </p:nvSpPr>
          <p:spPr>
            <a:xfrm>
              <a:off x="3598486" y="4138205"/>
              <a:ext cx="57351" cy="41998"/>
            </a:xfrm>
            <a:custGeom>
              <a:avLst/>
              <a:gdLst>
                <a:gd name="connsiteX0" fmla="*/ 0 w 57351"/>
                <a:gd name="connsiteY0" fmla="*/ 27915 h 41998"/>
                <a:gd name="connsiteX1" fmla="*/ 0 w 57351"/>
                <a:gd name="connsiteY1" fmla="*/ 13957 h 41998"/>
                <a:gd name="connsiteX2" fmla="*/ 19160 w 57351"/>
                <a:gd name="connsiteY2" fmla="*/ 13957 h 41998"/>
                <a:gd name="connsiteX3" fmla="*/ 19160 w 57351"/>
                <a:gd name="connsiteY3" fmla="*/ 0 h 41998"/>
                <a:gd name="connsiteX4" fmla="*/ 38192 w 57351"/>
                <a:gd name="connsiteY4" fmla="*/ 0 h 41998"/>
                <a:gd name="connsiteX5" fmla="*/ 38192 w 57351"/>
                <a:gd name="connsiteY5" fmla="*/ 13957 h 41998"/>
                <a:gd name="connsiteX6" fmla="*/ 57352 w 57351"/>
                <a:gd name="connsiteY6" fmla="*/ 13957 h 41998"/>
                <a:gd name="connsiteX7" fmla="*/ 57352 w 57351"/>
                <a:gd name="connsiteY7" fmla="*/ 27915 h 41998"/>
                <a:gd name="connsiteX8" fmla="*/ 38192 w 57351"/>
                <a:gd name="connsiteY8" fmla="*/ 27915 h 41998"/>
                <a:gd name="connsiteX9" fmla="*/ 38192 w 57351"/>
                <a:gd name="connsiteY9" fmla="*/ 41999 h 41998"/>
                <a:gd name="connsiteX10" fmla="*/ 19160 w 57351"/>
                <a:gd name="connsiteY10" fmla="*/ 41999 h 41998"/>
                <a:gd name="connsiteX11" fmla="*/ 19160 w 57351"/>
                <a:gd name="connsiteY11" fmla="*/ 27915 h 41998"/>
                <a:gd name="connsiteX12" fmla="*/ 0 w 57351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1" h="41998">
                  <a:moveTo>
                    <a:pt x="0" y="27915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352" y="13957"/>
                  </a:lnTo>
                  <a:lnTo>
                    <a:pt x="57352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8" name="Freihandform: Form 257">
              <a:extLst>
                <a:ext uri="{FF2B5EF4-FFF2-40B4-BE49-F238E27FC236}">
                  <a16:creationId xmlns:a16="http://schemas.microsoft.com/office/drawing/2014/main" id="{95D59939-B29E-B6A7-E04B-5E851EECDC6E}"/>
                </a:ext>
              </a:extLst>
            </p:cNvPr>
            <p:cNvSpPr/>
            <p:nvPr/>
          </p:nvSpPr>
          <p:spPr>
            <a:xfrm>
              <a:off x="3623609" y="4156603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4084 h 41998"/>
                <a:gd name="connsiteX2" fmla="*/ 19033 w 57225"/>
                <a:gd name="connsiteY2" fmla="*/ 14084 h 41998"/>
                <a:gd name="connsiteX3" fmla="*/ 19033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4084 h 41998"/>
                <a:gd name="connsiteX6" fmla="*/ 57225 w 57225"/>
                <a:gd name="connsiteY6" fmla="*/ 14084 h 41998"/>
                <a:gd name="connsiteX7" fmla="*/ 57225 w 57225"/>
                <a:gd name="connsiteY7" fmla="*/ 28042 h 41998"/>
                <a:gd name="connsiteX8" fmla="*/ 38192 w 57225"/>
                <a:gd name="connsiteY8" fmla="*/ 28042 h 41998"/>
                <a:gd name="connsiteX9" fmla="*/ 38192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9" name="Freihandform: Form 258">
              <a:extLst>
                <a:ext uri="{FF2B5EF4-FFF2-40B4-BE49-F238E27FC236}">
                  <a16:creationId xmlns:a16="http://schemas.microsoft.com/office/drawing/2014/main" id="{225DC91F-719F-5428-24BB-B6C8E349A6C8}"/>
                </a:ext>
              </a:extLst>
            </p:cNvPr>
            <p:cNvSpPr/>
            <p:nvPr/>
          </p:nvSpPr>
          <p:spPr>
            <a:xfrm>
              <a:off x="3629446" y="4156603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4084 h 41998"/>
                <a:gd name="connsiteX2" fmla="*/ 19033 w 57225"/>
                <a:gd name="connsiteY2" fmla="*/ 14084 h 41998"/>
                <a:gd name="connsiteX3" fmla="*/ 19033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4084 h 41998"/>
                <a:gd name="connsiteX6" fmla="*/ 57225 w 57225"/>
                <a:gd name="connsiteY6" fmla="*/ 14084 h 41998"/>
                <a:gd name="connsiteX7" fmla="*/ 57225 w 57225"/>
                <a:gd name="connsiteY7" fmla="*/ 28042 h 41998"/>
                <a:gd name="connsiteX8" fmla="*/ 38192 w 57225"/>
                <a:gd name="connsiteY8" fmla="*/ 28042 h 41998"/>
                <a:gd name="connsiteX9" fmla="*/ 38192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0" name="Freihandform: Form 259">
              <a:extLst>
                <a:ext uri="{FF2B5EF4-FFF2-40B4-BE49-F238E27FC236}">
                  <a16:creationId xmlns:a16="http://schemas.microsoft.com/office/drawing/2014/main" id="{88F3279D-2368-4449-7969-543DD0F178AB}"/>
                </a:ext>
              </a:extLst>
            </p:cNvPr>
            <p:cNvSpPr/>
            <p:nvPr/>
          </p:nvSpPr>
          <p:spPr>
            <a:xfrm>
              <a:off x="3644799" y="4156603"/>
              <a:ext cx="57352" cy="41998"/>
            </a:xfrm>
            <a:custGeom>
              <a:avLst/>
              <a:gdLst>
                <a:gd name="connsiteX0" fmla="*/ 0 w 57352"/>
                <a:gd name="connsiteY0" fmla="*/ 28042 h 41998"/>
                <a:gd name="connsiteX1" fmla="*/ 0 w 57352"/>
                <a:gd name="connsiteY1" fmla="*/ 14084 h 41998"/>
                <a:gd name="connsiteX2" fmla="*/ 19160 w 57352"/>
                <a:gd name="connsiteY2" fmla="*/ 14084 h 41998"/>
                <a:gd name="connsiteX3" fmla="*/ 19160 w 57352"/>
                <a:gd name="connsiteY3" fmla="*/ 0 h 41998"/>
                <a:gd name="connsiteX4" fmla="*/ 38192 w 57352"/>
                <a:gd name="connsiteY4" fmla="*/ 0 h 41998"/>
                <a:gd name="connsiteX5" fmla="*/ 38192 w 57352"/>
                <a:gd name="connsiteY5" fmla="*/ 14084 h 41998"/>
                <a:gd name="connsiteX6" fmla="*/ 57352 w 57352"/>
                <a:gd name="connsiteY6" fmla="*/ 14084 h 41998"/>
                <a:gd name="connsiteX7" fmla="*/ 57352 w 57352"/>
                <a:gd name="connsiteY7" fmla="*/ 28042 h 41998"/>
                <a:gd name="connsiteX8" fmla="*/ 38192 w 57352"/>
                <a:gd name="connsiteY8" fmla="*/ 28042 h 41998"/>
                <a:gd name="connsiteX9" fmla="*/ 38192 w 57352"/>
                <a:gd name="connsiteY9" fmla="*/ 41999 h 41998"/>
                <a:gd name="connsiteX10" fmla="*/ 19160 w 57352"/>
                <a:gd name="connsiteY10" fmla="*/ 41999 h 41998"/>
                <a:gd name="connsiteX11" fmla="*/ 19160 w 57352"/>
                <a:gd name="connsiteY11" fmla="*/ 28042 h 41998"/>
                <a:gd name="connsiteX12" fmla="*/ 0 w 57352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2" h="41998">
                  <a:moveTo>
                    <a:pt x="0" y="28042"/>
                  </a:moveTo>
                  <a:lnTo>
                    <a:pt x="0" y="14084"/>
                  </a:lnTo>
                  <a:lnTo>
                    <a:pt x="19160" y="14084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352" y="14084"/>
                  </a:lnTo>
                  <a:lnTo>
                    <a:pt x="57352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1" name="Freihandform: Form 260">
              <a:extLst>
                <a:ext uri="{FF2B5EF4-FFF2-40B4-BE49-F238E27FC236}">
                  <a16:creationId xmlns:a16="http://schemas.microsoft.com/office/drawing/2014/main" id="{4039E33D-743C-65FC-53EB-B975DAA1F5B6}"/>
                </a:ext>
              </a:extLst>
            </p:cNvPr>
            <p:cNvSpPr/>
            <p:nvPr/>
          </p:nvSpPr>
          <p:spPr>
            <a:xfrm>
              <a:off x="3660406" y="4156603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4084 h 41998"/>
                <a:gd name="connsiteX2" fmla="*/ 19033 w 57225"/>
                <a:gd name="connsiteY2" fmla="*/ 14084 h 41998"/>
                <a:gd name="connsiteX3" fmla="*/ 19033 w 57225"/>
                <a:gd name="connsiteY3" fmla="*/ 0 h 41998"/>
                <a:gd name="connsiteX4" fmla="*/ 38193 w 57225"/>
                <a:gd name="connsiteY4" fmla="*/ 0 h 41998"/>
                <a:gd name="connsiteX5" fmla="*/ 38193 w 57225"/>
                <a:gd name="connsiteY5" fmla="*/ 14084 h 41998"/>
                <a:gd name="connsiteX6" fmla="*/ 57225 w 57225"/>
                <a:gd name="connsiteY6" fmla="*/ 14084 h 41998"/>
                <a:gd name="connsiteX7" fmla="*/ 57225 w 57225"/>
                <a:gd name="connsiteY7" fmla="*/ 28042 h 41998"/>
                <a:gd name="connsiteX8" fmla="*/ 38193 w 57225"/>
                <a:gd name="connsiteY8" fmla="*/ 28042 h 41998"/>
                <a:gd name="connsiteX9" fmla="*/ 38193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193" y="0"/>
                  </a:lnTo>
                  <a:lnTo>
                    <a:pt x="38193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3" y="28042"/>
                  </a:lnTo>
                  <a:lnTo>
                    <a:pt x="38193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2" name="Freihandform: Form 261">
              <a:extLst>
                <a:ext uri="{FF2B5EF4-FFF2-40B4-BE49-F238E27FC236}">
                  <a16:creationId xmlns:a16="http://schemas.microsoft.com/office/drawing/2014/main" id="{0774A435-311A-A02E-6A95-E507086E3ECF}"/>
                </a:ext>
              </a:extLst>
            </p:cNvPr>
            <p:cNvSpPr/>
            <p:nvPr/>
          </p:nvSpPr>
          <p:spPr>
            <a:xfrm>
              <a:off x="3706846" y="4176651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066 w 57225"/>
                <a:gd name="connsiteY4" fmla="*/ 0 h 41998"/>
                <a:gd name="connsiteX5" fmla="*/ 38066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066 w 57225"/>
                <a:gd name="connsiteY8" fmla="*/ 28042 h 41998"/>
                <a:gd name="connsiteX9" fmla="*/ 38066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066" y="28042"/>
                  </a:lnTo>
                  <a:lnTo>
                    <a:pt x="38066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3" name="Freihandform: Form 262">
              <a:extLst>
                <a:ext uri="{FF2B5EF4-FFF2-40B4-BE49-F238E27FC236}">
                  <a16:creationId xmlns:a16="http://schemas.microsoft.com/office/drawing/2014/main" id="{8FA9BD29-A049-C6B7-95D2-E9E1B4BAF8EA}"/>
                </a:ext>
              </a:extLst>
            </p:cNvPr>
            <p:cNvSpPr/>
            <p:nvPr/>
          </p:nvSpPr>
          <p:spPr>
            <a:xfrm>
              <a:off x="3728036" y="4176651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160 w 57225"/>
                <a:gd name="connsiteY2" fmla="*/ 13957 h 41998"/>
                <a:gd name="connsiteX3" fmla="*/ 19160 w 57225"/>
                <a:gd name="connsiteY3" fmla="*/ 0 h 41998"/>
                <a:gd name="connsiteX4" fmla="*/ 38193 w 57225"/>
                <a:gd name="connsiteY4" fmla="*/ 0 h 41998"/>
                <a:gd name="connsiteX5" fmla="*/ 38193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3 w 57225"/>
                <a:gd name="connsiteY8" fmla="*/ 28042 h 41998"/>
                <a:gd name="connsiteX9" fmla="*/ 38193 w 57225"/>
                <a:gd name="connsiteY9" fmla="*/ 41999 h 41998"/>
                <a:gd name="connsiteX10" fmla="*/ 19160 w 57225"/>
                <a:gd name="connsiteY10" fmla="*/ 41999 h 41998"/>
                <a:gd name="connsiteX11" fmla="*/ 19160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3" y="0"/>
                  </a:lnTo>
                  <a:lnTo>
                    <a:pt x="38193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3" y="28042"/>
                  </a:lnTo>
                  <a:lnTo>
                    <a:pt x="38193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4" name="Freihandform: Form 263">
              <a:extLst>
                <a:ext uri="{FF2B5EF4-FFF2-40B4-BE49-F238E27FC236}">
                  <a16:creationId xmlns:a16="http://schemas.microsoft.com/office/drawing/2014/main" id="{C05B6014-05AD-37F8-BB3F-A1C790AE4A0F}"/>
                </a:ext>
              </a:extLst>
            </p:cNvPr>
            <p:cNvSpPr/>
            <p:nvPr/>
          </p:nvSpPr>
          <p:spPr>
            <a:xfrm>
              <a:off x="3739709" y="4176651"/>
              <a:ext cx="57352" cy="41998"/>
            </a:xfrm>
            <a:custGeom>
              <a:avLst/>
              <a:gdLst>
                <a:gd name="connsiteX0" fmla="*/ 0 w 57352"/>
                <a:gd name="connsiteY0" fmla="*/ 28042 h 41998"/>
                <a:gd name="connsiteX1" fmla="*/ 0 w 57352"/>
                <a:gd name="connsiteY1" fmla="*/ 13957 h 41998"/>
                <a:gd name="connsiteX2" fmla="*/ 19160 w 57352"/>
                <a:gd name="connsiteY2" fmla="*/ 13957 h 41998"/>
                <a:gd name="connsiteX3" fmla="*/ 19160 w 57352"/>
                <a:gd name="connsiteY3" fmla="*/ 0 h 41998"/>
                <a:gd name="connsiteX4" fmla="*/ 38193 w 57352"/>
                <a:gd name="connsiteY4" fmla="*/ 0 h 41998"/>
                <a:gd name="connsiteX5" fmla="*/ 38193 w 57352"/>
                <a:gd name="connsiteY5" fmla="*/ 13957 h 41998"/>
                <a:gd name="connsiteX6" fmla="*/ 57352 w 57352"/>
                <a:gd name="connsiteY6" fmla="*/ 13957 h 41998"/>
                <a:gd name="connsiteX7" fmla="*/ 57352 w 57352"/>
                <a:gd name="connsiteY7" fmla="*/ 28042 h 41998"/>
                <a:gd name="connsiteX8" fmla="*/ 38193 w 57352"/>
                <a:gd name="connsiteY8" fmla="*/ 28042 h 41998"/>
                <a:gd name="connsiteX9" fmla="*/ 38193 w 57352"/>
                <a:gd name="connsiteY9" fmla="*/ 41999 h 41998"/>
                <a:gd name="connsiteX10" fmla="*/ 19160 w 57352"/>
                <a:gd name="connsiteY10" fmla="*/ 41999 h 41998"/>
                <a:gd name="connsiteX11" fmla="*/ 19160 w 57352"/>
                <a:gd name="connsiteY11" fmla="*/ 28042 h 41998"/>
                <a:gd name="connsiteX12" fmla="*/ 0 w 57352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2" h="41998">
                  <a:moveTo>
                    <a:pt x="0" y="28042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3" y="0"/>
                  </a:lnTo>
                  <a:lnTo>
                    <a:pt x="38193" y="13957"/>
                  </a:lnTo>
                  <a:lnTo>
                    <a:pt x="57352" y="13957"/>
                  </a:lnTo>
                  <a:lnTo>
                    <a:pt x="57352" y="28042"/>
                  </a:lnTo>
                  <a:lnTo>
                    <a:pt x="38193" y="28042"/>
                  </a:lnTo>
                  <a:lnTo>
                    <a:pt x="38193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5" name="Freihandform: Form 264">
              <a:extLst>
                <a:ext uri="{FF2B5EF4-FFF2-40B4-BE49-F238E27FC236}">
                  <a16:creationId xmlns:a16="http://schemas.microsoft.com/office/drawing/2014/main" id="{86901126-3641-EDBE-706E-08E6D52EB109}"/>
                </a:ext>
              </a:extLst>
            </p:cNvPr>
            <p:cNvSpPr/>
            <p:nvPr/>
          </p:nvSpPr>
          <p:spPr>
            <a:xfrm>
              <a:off x="3869259" y="4197968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4084 h 41998"/>
                <a:gd name="connsiteX2" fmla="*/ 19033 w 57225"/>
                <a:gd name="connsiteY2" fmla="*/ 14084 h 41998"/>
                <a:gd name="connsiteX3" fmla="*/ 19033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4084 h 41998"/>
                <a:gd name="connsiteX6" fmla="*/ 57225 w 57225"/>
                <a:gd name="connsiteY6" fmla="*/ 14084 h 41998"/>
                <a:gd name="connsiteX7" fmla="*/ 57225 w 57225"/>
                <a:gd name="connsiteY7" fmla="*/ 28042 h 41998"/>
                <a:gd name="connsiteX8" fmla="*/ 38192 w 57225"/>
                <a:gd name="connsiteY8" fmla="*/ 28042 h 41998"/>
                <a:gd name="connsiteX9" fmla="*/ 38192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6" name="Freihandform: Form 265">
              <a:extLst>
                <a:ext uri="{FF2B5EF4-FFF2-40B4-BE49-F238E27FC236}">
                  <a16:creationId xmlns:a16="http://schemas.microsoft.com/office/drawing/2014/main" id="{E2BEC2B8-2473-E655-3358-F8498317379D}"/>
                </a:ext>
              </a:extLst>
            </p:cNvPr>
            <p:cNvSpPr/>
            <p:nvPr/>
          </p:nvSpPr>
          <p:spPr>
            <a:xfrm>
              <a:off x="3906055" y="4197968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4084 h 41998"/>
                <a:gd name="connsiteX2" fmla="*/ 19033 w 57225"/>
                <a:gd name="connsiteY2" fmla="*/ 14084 h 41998"/>
                <a:gd name="connsiteX3" fmla="*/ 19033 w 57225"/>
                <a:gd name="connsiteY3" fmla="*/ 0 h 41998"/>
                <a:gd name="connsiteX4" fmla="*/ 38193 w 57225"/>
                <a:gd name="connsiteY4" fmla="*/ 0 h 41998"/>
                <a:gd name="connsiteX5" fmla="*/ 38193 w 57225"/>
                <a:gd name="connsiteY5" fmla="*/ 14084 h 41998"/>
                <a:gd name="connsiteX6" fmla="*/ 57225 w 57225"/>
                <a:gd name="connsiteY6" fmla="*/ 14084 h 41998"/>
                <a:gd name="connsiteX7" fmla="*/ 57225 w 57225"/>
                <a:gd name="connsiteY7" fmla="*/ 28042 h 41998"/>
                <a:gd name="connsiteX8" fmla="*/ 38193 w 57225"/>
                <a:gd name="connsiteY8" fmla="*/ 28042 h 41998"/>
                <a:gd name="connsiteX9" fmla="*/ 38193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193" y="0"/>
                  </a:lnTo>
                  <a:lnTo>
                    <a:pt x="38193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3" y="28042"/>
                  </a:lnTo>
                  <a:lnTo>
                    <a:pt x="38193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7" name="Freihandform: Form 266">
              <a:extLst>
                <a:ext uri="{FF2B5EF4-FFF2-40B4-BE49-F238E27FC236}">
                  <a16:creationId xmlns:a16="http://schemas.microsoft.com/office/drawing/2014/main" id="{7F4EF253-B01B-2255-F8CE-43526A959C49}"/>
                </a:ext>
              </a:extLst>
            </p:cNvPr>
            <p:cNvSpPr/>
            <p:nvPr/>
          </p:nvSpPr>
          <p:spPr>
            <a:xfrm>
              <a:off x="3913796" y="4197968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4084 h 41998"/>
                <a:gd name="connsiteX2" fmla="*/ 19033 w 57225"/>
                <a:gd name="connsiteY2" fmla="*/ 14084 h 41998"/>
                <a:gd name="connsiteX3" fmla="*/ 19033 w 57225"/>
                <a:gd name="connsiteY3" fmla="*/ 0 h 41998"/>
                <a:gd name="connsiteX4" fmla="*/ 38193 w 57225"/>
                <a:gd name="connsiteY4" fmla="*/ 0 h 41998"/>
                <a:gd name="connsiteX5" fmla="*/ 38193 w 57225"/>
                <a:gd name="connsiteY5" fmla="*/ 14084 h 41998"/>
                <a:gd name="connsiteX6" fmla="*/ 57225 w 57225"/>
                <a:gd name="connsiteY6" fmla="*/ 14084 h 41998"/>
                <a:gd name="connsiteX7" fmla="*/ 57225 w 57225"/>
                <a:gd name="connsiteY7" fmla="*/ 28042 h 41998"/>
                <a:gd name="connsiteX8" fmla="*/ 38193 w 57225"/>
                <a:gd name="connsiteY8" fmla="*/ 28042 h 41998"/>
                <a:gd name="connsiteX9" fmla="*/ 38193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193" y="0"/>
                  </a:lnTo>
                  <a:lnTo>
                    <a:pt x="38193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3" y="28042"/>
                  </a:lnTo>
                  <a:lnTo>
                    <a:pt x="38193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8" name="Freihandform: Form 267">
              <a:extLst>
                <a:ext uri="{FF2B5EF4-FFF2-40B4-BE49-F238E27FC236}">
                  <a16:creationId xmlns:a16="http://schemas.microsoft.com/office/drawing/2014/main" id="{2F85E1CE-F68F-26FD-03E0-FD2884047C0E}"/>
                </a:ext>
              </a:extLst>
            </p:cNvPr>
            <p:cNvSpPr/>
            <p:nvPr/>
          </p:nvSpPr>
          <p:spPr>
            <a:xfrm>
              <a:off x="3933082" y="4197968"/>
              <a:ext cx="57352" cy="41998"/>
            </a:xfrm>
            <a:custGeom>
              <a:avLst/>
              <a:gdLst>
                <a:gd name="connsiteX0" fmla="*/ 0 w 57352"/>
                <a:gd name="connsiteY0" fmla="*/ 28042 h 41998"/>
                <a:gd name="connsiteX1" fmla="*/ 0 w 57352"/>
                <a:gd name="connsiteY1" fmla="*/ 14084 h 41998"/>
                <a:gd name="connsiteX2" fmla="*/ 19160 w 57352"/>
                <a:gd name="connsiteY2" fmla="*/ 14084 h 41998"/>
                <a:gd name="connsiteX3" fmla="*/ 19160 w 57352"/>
                <a:gd name="connsiteY3" fmla="*/ 0 h 41998"/>
                <a:gd name="connsiteX4" fmla="*/ 38192 w 57352"/>
                <a:gd name="connsiteY4" fmla="*/ 0 h 41998"/>
                <a:gd name="connsiteX5" fmla="*/ 38192 w 57352"/>
                <a:gd name="connsiteY5" fmla="*/ 14084 h 41998"/>
                <a:gd name="connsiteX6" fmla="*/ 57352 w 57352"/>
                <a:gd name="connsiteY6" fmla="*/ 14084 h 41998"/>
                <a:gd name="connsiteX7" fmla="*/ 57352 w 57352"/>
                <a:gd name="connsiteY7" fmla="*/ 28042 h 41998"/>
                <a:gd name="connsiteX8" fmla="*/ 38192 w 57352"/>
                <a:gd name="connsiteY8" fmla="*/ 28042 h 41998"/>
                <a:gd name="connsiteX9" fmla="*/ 38192 w 57352"/>
                <a:gd name="connsiteY9" fmla="*/ 41999 h 41998"/>
                <a:gd name="connsiteX10" fmla="*/ 19160 w 57352"/>
                <a:gd name="connsiteY10" fmla="*/ 41999 h 41998"/>
                <a:gd name="connsiteX11" fmla="*/ 19160 w 57352"/>
                <a:gd name="connsiteY11" fmla="*/ 28042 h 41998"/>
                <a:gd name="connsiteX12" fmla="*/ 0 w 57352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2" h="41998">
                  <a:moveTo>
                    <a:pt x="0" y="28042"/>
                  </a:moveTo>
                  <a:lnTo>
                    <a:pt x="0" y="14084"/>
                  </a:lnTo>
                  <a:lnTo>
                    <a:pt x="19160" y="14084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352" y="14084"/>
                  </a:lnTo>
                  <a:lnTo>
                    <a:pt x="57352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9" name="Freihandform: Form 268">
              <a:extLst>
                <a:ext uri="{FF2B5EF4-FFF2-40B4-BE49-F238E27FC236}">
                  <a16:creationId xmlns:a16="http://schemas.microsoft.com/office/drawing/2014/main" id="{BC35954A-1774-A7EB-C443-78307435A9BD}"/>
                </a:ext>
              </a:extLst>
            </p:cNvPr>
            <p:cNvSpPr/>
            <p:nvPr/>
          </p:nvSpPr>
          <p:spPr>
            <a:xfrm>
              <a:off x="3964042" y="4197968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4084 h 41998"/>
                <a:gd name="connsiteX2" fmla="*/ 19033 w 57225"/>
                <a:gd name="connsiteY2" fmla="*/ 14084 h 41998"/>
                <a:gd name="connsiteX3" fmla="*/ 19033 w 57225"/>
                <a:gd name="connsiteY3" fmla="*/ 0 h 41998"/>
                <a:gd name="connsiteX4" fmla="*/ 38192 w 57225"/>
                <a:gd name="connsiteY4" fmla="*/ 0 h 41998"/>
                <a:gd name="connsiteX5" fmla="*/ 38192 w 57225"/>
                <a:gd name="connsiteY5" fmla="*/ 14084 h 41998"/>
                <a:gd name="connsiteX6" fmla="*/ 57225 w 57225"/>
                <a:gd name="connsiteY6" fmla="*/ 14084 h 41998"/>
                <a:gd name="connsiteX7" fmla="*/ 57225 w 57225"/>
                <a:gd name="connsiteY7" fmla="*/ 28042 h 41998"/>
                <a:gd name="connsiteX8" fmla="*/ 38192 w 57225"/>
                <a:gd name="connsiteY8" fmla="*/ 28042 h 41998"/>
                <a:gd name="connsiteX9" fmla="*/ 38192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0" name="Freihandform: Form 269">
              <a:extLst>
                <a:ext uri="{FF2B5EF4-FFF2-40B4-BE49-F238E27FC236}">
                  <a16:creationId xmlns:a16="http://schemas.microsoft.com/office/drawing/2014/main" id="{0C3530FD-D423-4EE8-64A5-A81A7CF55FD7}"/>
                </a:ext>
              </a:extLst>
            </p:cNvPr>
            <p:cNvSpPr/>
            <p:nvPr/>
          </p:nvSpPr>
          <p:spPr>
            <a:xfrm>
              <a:off x="3969879" y="4197968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4084 h 41998"/>
                <a:gd name="connsiteX2" fmla="*/ 19160 w 57225"/>
                <a:gd name="connsiteY2" fmla="*/ 14084 h 41998"/>
                <a:gd name="connsiteX3" fmla="*/ 19160 w 57225"/>
                <a:gd name="connsiteY3" fmla="*/ 0 h 41998"/>
                <a:gd name="connsiteX4" fmla="*/ 38193 w 57225"/>
                <a:gd name="connsiteY4" fmla="*/ 0 h 41998"/>
                <a:gd name="connsiteX5" fmla="*/ 38193 w 57225"/>
                <a:gd name="connsiteY5" fmla="*/ 14084 h 41998"/>
                <a:gd name="connsiteX6" fmla="*/ 57225 w 57225"/>
                <a:gd name="connsiteY6" fmla="*/ 14084 h 41998"/>
                <a:gd name="connsiteX7" fmla="*/ 57225 w 57225"/>
                <a:gd name="connsiteY7" fmla="*/ 28042 h 41998"/>
                <a:gd name="connsiteX8" fmla="*/ 38193 w 57225"/>
                <a:gd name="connsiteY8" fmla="*/ 28042 h 41998"/>
                <a:gd name="connsiteX9" fmla="*/ 38193 w 57225"/>
                <a:gd name="connsiteY9" fmla="*/ 41999 h 41998"/>
                <a:gd name="connsiteX10" fmla="*/ 19160 w 57225"/>
                <a:gd name="connsiteY10" fmla="*/ 41999 h 41998"/>
                <a:gd name="connsiteX11" fmla="*/ 19160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4084"/>
                  </a:lnTo>
                  <a:lnTo>
                    <a:pt x="19160" y="14084"/>
                  </a:lnTo>
                  <a:lnTo>
                    <a:pt x="19160" y="0"/>
                  </a:lnTo>
                  <a:lnTo>
                    <a:pt x="38193" y="0"/>
                  </a:lnTo>
                  <a:lnTo>
                    <a:pt x="38193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3" y="28042"/>
                  </a:lnTo>
                  <a:lnTo>
                    <a:pt x="38193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1" name="Freihandform: Form 270">
              <a:extLst>
                <a:ext uri="{FF2B5EF4-FFF2-40B4-BE49-F238E27FC236}">
                  <a16:creationId xmlns:a16="http://schemas.microsoft.com/office/drawing/2014/main" id="{62A8ABEF-C2FB-ABAE-534A-1573225700A1}"/>
                </a:ext>
              </a:extLst>
            </p:cNvPr>
            <p:cNvSpPr/>
            <p:nvPr/>
          </p:nvSpPr>
          <p:spPr>
            <a:xfrm>
              <a:off x="4122649" y="4197968"/>
              <a:ext cx="57352" cy="41998"/>
            </a:xfrm>
            <a:custGeom>
              <a:avLst/>
              <a:gdLst>
                <a:gd name="connsiteX0" fmla="*/ 0 w 57352"/>
                <a:gd name="connsiteY0" fmla="*/ 28042 h 41998"/>
                <a:gd name="connsiteX1" fmla="*/ 0 w 57352"/>
                <a:gd name="connsiteY1" fmla="*/ 14084 h 41998"/>
                <a:gd name="connsiteX2" fmla="*/ 19160 w 57352"/>
                <a:gd name="connsiteY2" fmla="*/ 14084 h 41998"/>
                <a:gd name="connsiteX3" fmla="*/ 19160 w 57352"/>
                <a:gd name="connsiteY3" fmla="*/ 0 h 41998"/>
                <a:gd name="connsiteX4" fmla="*/ 38192 w 57352"/>
                <a:gd name="connsiteY4" fmla="*/ 0 h 41998"/>
                <a:gd name="connsiteX5" fmla="*/ 38192 w 57352"/>
                <a:gd name="connsiteY5" fmla="*/ 14084 h 41998"/>
                <a:gd name="connsiteX6" fmla="*/ 57352 w 57352"/>
                <a:gd name="connsiteY6" fmla="*/ 14084 h 41998"/>
                <a:gd name="connsiteX7" fmla="*/ 57352 w 57352"/>
                <a:gd name="connsiteY7" fmla="*/ 28042 h 41998"/>
                <a:gd name="connsiteX8" fmla="*/ 38192 w 57352"/>
                <a:gd name="connsiteY8" fmla="*/ 28042 h 41998"/>
                <a:gd name="connsiteX9" fmla="*/ 38192 w 57352"/>
                <a:gd name="connsiteY9" fmla="*/ 41999 h 41998"/>
                <a:gd name="connsiteX10" fmla="*/ 19160 w 57352"/>
                <a:gd name="connsiteY10" fmla="*/ 41999 h 41998"/>
                <a:gd name="connsiteX11" fmla="*/ 19160 w 57352"/>
                <a:gd name="connsiteY11" fmla="*/ 28042 h 41998"/>
                <a:gd name="connsiteX12" fmla="*/ 0 w 57352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2" h="41998">
                  <a:moveTo>
                    <a:pt x="0" y="28042"/>
                  </a:moveTo>
                  <a:lnTo>
                    <a:pt x="0" y="14084"/>
                  </a:lnTo>
                  <a:lnTo>
                    <a:pt x="19160" y="14084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352" y="14084"/>
                  </a:lnTo>
                  <a:lnTo>
                    <a:pt x="57352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2" name="Freihandform: Form 271">
              <a:extLst>
                <a:ext uri="{FF2B5EF4-FFF2-40B4-BE49-F238E27FC236}">
                  <a16:creationId xmlns:a16="http://schemas.microsoft.com/office/drawing/2014/main" id="{3DF10CE0-801B-5F73-4FC2-9E836A3834AE}"/>
                </a:ext>
              </a:extLst>
            </p:cNvPr>
            <p:cNvSpPr/>
            <p:nvPr/>
          </p:nvSpPr>
          <p:spPr>
            <a:xfrm>
              <a:off x="4122649" y="4197968"/>
              <a:ext cx="57352" cy="41998"/>
            </a:xfrm>
            <a:custGeom>
              <a:avLst/>
              <a:gdLst>
                <a:gd name="connsiteX0" fmla="*/ 0 w 57352"/>
                <a:gd name="connsiteY0" fmla="*/ 28042 h 41998"/>
                <a:gd name="connsiteX1" fmla="*/ 0 w 57352"/>
                <a:gd name="connsiteY1" fmla="*/ 14084 h 41998"/>
                <a:gd name="connsiteX2" fmla="*/ 19160 w 57352"/>
                <a:gd name="connsiteY2" fmla="*/ 14084 h 41998"/>
                <a:gd name="connsiteX3" fmla="*/ 19160 w 57352"/>
                <a:gd name="connsiteY3" fmla="*/ 0 h 41998"/>
                <a:gd name="connsiteX4" fmla="*/ 38192 w 57352"/>
                <a:gd name="connsiteY4" fmla="*/ 0 h 41998"/>
                <a:gd name="connsiteX5" fmla="*/ 38192 w 57352"/>
                <a:gd name="connsiteY5" fmla="*/ 14084 h 41998"/>
                <a:gd name="connsiteX6" fmla="*/ 57352 w 57352"/>
                <a:gd name="connsiteY6" fmla="*/ 14084 h 41998"/>
                <a:gd name="connsiteX7" fmla="*/ 57352 w 57352"/>
                <a:gd name="connsiteY7" fmla="*/ 28042 h 41998"/>
                <a:gd name="connsiteX8" fmla="*/ 38192 w 57352"/>
                <a:gd name="connsiteY8" fmla="*/ 28042 h 41998"/>
                <a:gd name="connsiteX9" fmla="*/ 38192 w 57352"/>
                <a:gd name="connsiteY9" fmla="*/ 41999 h 41998"/>
                <a:gd name="connsiteX10" fmla="*/ 19160 w 57352"/>
                <a:gd name="connsiteY10" fmla="*/ 41999 h 41998"/>
                <a:gd name="connsiteX11" fmla="*/ 19160 w 57352"/>
                <a:gd name="connsiteY11" fmla="*/ 28042 h 41998"/>
                <a:gd name="connsiteX12" fmla="*/ 0 w 57352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2" h="41998">
                  <a:moveTo>
                    <a:pt x="0" y="28042"/>
                  </a:moveTo>
                  <a:lnTo>
                    <a:pt x="0" y="14084"/>
                  </a:lnTo>
                  <a:lnTo>
                    <a:pt x="19160" y="14084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352" y="14084"/>
                  </a:lnTo>
                  <a:lnTo>
                    <a:pt x="57352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3" name="Freihandform: Form 272">
              <a:extLst>
                <a:ext uri="{FF2B5EF4-FFF2-40B4-BE49-F238E27FC236}">
                  <a16:creationId xmlns:a16="http://schemas.microsoft.com/office/drawing/2014/main" id="{D21126A2-1D6F-B6D6-222B-1566A30B2419}"/>
                </a:ext>
              </a:extLst>
            </p:cNvPr>
            <p:cNvSpPr/>
            <p:nvPr/>
          </p:nvSpPr>
          <p:spPr>
            <a:xfrm>
              <a:off x="4151705" y="4211037"/>
              <a:ext cx="57225" cy="42125"/>
            </a:xfrm>
            <a:custGeom>
              <a:avLst/>
              <a:gdLst>
                <a:gd name="connsiteX0" fmla="*/ 0 w 57225"/>
                <a:gd name="connsiteY0" fmla="*/ 28042 h 42125"/>
                <a:gd name="connsiteX1" fmla="*/ 0 w 57225"/>
                <a:gd name="connsiteY1" fmla="*/ 14084 h 42125"/>
                <a:gd name="connsiteX2" fmla="*/ 19033 w 57225"/>
                <a:gd name="connsiteY2" fmla="*/ 14084 h 42125"/>
                <a:gd name="connsiteX3" fmla="*/ 19033 w 57225"/>
                <a:gd name="connsiteY3" fmla="*/ 0 h 42125"/>
                <a:gd name="connsiteX4" fmla="*/ 38193 w 57225"/>
                <a:gd name="connsiteY4" fmla="*/ 0 h 42125"/>
                <a:gd name="connsiteX5" fmla="*/ 38193 w 57225"/>
                <a:gd name="connsiteY5" fmla="*/ 14084 h 42125"/>
                <a:gd name="connsiteX6" fmla="*/ 57225 w 57225"/>
                <a:gd name="connsiteY6" fmla="*/ 14084 h 42125"/>
                <a:gd name="connsiteX7" fmla="*/ 57225 w 57225"/>
                <a:gd name="connsiteY7" fmla="*/ 28042 h 42125"/>
                <a:gd name="connsiteX8" fmla="*/ 38193 w 57225"/>
                <a:gd name="connsiteY8" fmla="*/ 28042 h 42125"/>
                <a:gd name="connsiteX9" fmla="*/ 38193 w 57225"/>
                <a:gd name="connsiteY9" fmla="*/ 42126 h 42125"/>
                <a:gd name="connsiteX10" fmla="*/ 19033 w 57225"/>
                <a:gd name="connsiteY10" fmla="*/ 42126 h 42125"/>
                <a:gd name="connsiteX11" fmla="*/ 19033 w 57225"/>
                <a:gd name="connsiteY11" fmla="*/ 28042 h 42125"/>
                <a:gd name="connsiteX12" fmla="*/ 0 w 57225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2125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193" y="0"/>
                  </a:lnTo>
                  <a:lnTo>
                    <a:pt x="38193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3" y="28042"/>
                  </a:lnTo>
                  <a:lnTo>
                    <a:pt x="38193" y="42126"/>
                  </a:lnTo>
                  <a:lnTo>
                    <a:pt x="19033" y="42126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4" name="Freihandform: Form 273">
              <a:extLst>
                <a:ext uri="{FF2B5EF4-FFF2-40B4-BE49-F238E27FC236}">
                  <a16:creationId xmlns:a16="http://schemas.microsoft.com/office/drawing/2014/main" id="{F2BA5B99-C951-6F2C-06AB-F3727BE74E84}"/>
                </a:ext>
              </a:extLst>
            </p:cNvPr>
            <p:cNvSpPr/>
            <p:nvPr/>
          </p:nvSpPr>
          <p:spPr>
            <a:xfrm>
              <a:off x="4161349" y="4211037"/>
              <a:ext cx="57225" cy="42125"/>
            </a:xfrm>
            <a:custGeom>
              <a:avLst/>
              <a:gdLst>
                <a:gd name="connsiteX0" fmla="*/ 0 w 57225"/>
                <a:gd name="connsiteY0" fmla="*/ 28042 h 42125"/>
                <a:gd name="connsiteX1" fmla="*/ 0 w 57225"/>
                <a:gd name="connsiteY1" fmla="*/ 14084 h 42125"/>
                <a:gd name="connsiteX2" fmla="*/ 19160 w 57225"/>
                <a:gd name="connsiteY2" fmla="*/ 14084 h 42125"/>
                <a:gd name="connsiteX3" fmla="*/ 19160 w 57225"/>
                <a:gd name="connsiteY3" fmla="*/ 0 h 42125"/>
                <a:gd name="connsiteX4" fmla="*/ 38192 w 57225"/>
                <a:gd name="connsiteY4" fmla="*/ 0 h 42125"/>
                <a:gd name="connsiteX5" fmla="*/ 38192 w 57225"/>
                <a:gd name="connsiteY5" fmla="*/ 14084 h 42125"/>
                <a:gd name="connsiteX6" fmla="*/ 57225 w 57225"/>
                <a:gd name="connsiteY6" fmla="*/ 14084 h 42125"/>
                <a:gd name="connsiteX7" fmla="*/ 57225 w 57225"/>
                <a:gd name="connsiteY7" fmla="*/ 28042 h 42125"/>
                <a:gd name="connsiteX8" fmla="*/ 38192 w 57225"/>
                <a:gd name="connsiteY8" fmla="*/ 28042 h 42125"/>
                <a:gd name="connsiteX9" fmla="*/ 38192 w 57225"/>
                <a:gd name="connsiteY9" fmla="*/ 42126 h 42125"/>
                <a:gd name="connsiteX10" fmla="*/ 19160 w 57225"/>
                <a:gd name="connsiteY10" fmla="*/ 42126 h 42125"/>
                <a:gd name="connsiteX11" fmla="*/ 19160 w 57225"/>
                <a:gd name="connsiteY11" fmla="*/ 28042 h 42125"/>
                <a:gd name="connsiteX12" fmla="*/ 0 w 57225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2125">
                  <a:moveTo>
                    <a:pt x="0" y="28042"/>
                  </a:moveTo>
                  <a:lnTo>
                    <a:pt x="0" y="14084"/>
                  </a:lnTo>
                  <a:lnTo>
                    <a:pt x="19160" y="14084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2126"/>
                  </a:lnTo>
                  <a:lnTo>
                    <a:pt x="19160" y="42126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5" name="Freihandform: Form 274">
              <a:extLst>
                <a:ext uri="{FF2B5EF4-FFF2-40B4-BE49-F238E27FC236}">
                  <a16:creationId xmlns:a16="http://schemas.microsoft.com/office/drawing/2014/main" id="{4876ABDC-AF13-21BD-C65B-FF179D3B1098}"/>
                </a:ext>
              </a:extLst>
            </p:cNvPr>
            <p:cNvSpPr/>
            <p:nvPr/>
          </p:nvSpPr>
          <p:spPr>
            <a:xfrm>
              <a:off x="4261969" y="4211037"/>
              <a:ext cx="57225" cy="42125"/>
            </a:xfrm>
            <a:custGeom>
              <a:avLst/>
              <a:gdLst>
                <a:gd name="connsiteX0" fmla="*/ 0 w 57225"/>
                <a:gd name="connsiteY0" fmla="*/ 28042 h 42125"/>
                <a:gd name="connsiteX1" fmla="*/ 0 w 57225"/>
                <a:gd name="connsiteY1" fmla="*/ 14084 h 42125"/>
                <a:gd name="connsiteX2" fmla="*/ 19160 w 57225"/>
                <a:gd name="connsiteY2" fmla="*/ 14084 h 42125"/>
                <a:gd name="connsiteX3" fmla="*/ 19160 w 57225"/>
                <a:gd name="connsiteY3" fmla="*/ 0 h 42125"/>
                <a:gd name="connsiteX4" fmla="*/ 38192 w 57225"/>
                <a:gd name="connsiteY4" fmla="*/ 0 h 42125"/>
                <a:gd name="connsiteX5" fmla="*/ 38192 w 57225"/>
                <a:gd name="connsiteY5" fmla="*/ 14084 h 42125"/>
                <a:gd name="connsiteX6" fmla="*/ 57225 w 57225"/>
                <a:gd name="connsiteY6" fmla="*/ 14084 h 42125"/>
                <a:gd name="connsiteX7" fmla="*/ 57225 w 57225"/>
                <a:gd name="connsiteY7" fmla="*/ 28042 h 42125"/>
                <a:gd name="connsiteX8" fmla="*/ 38192 w 57225"/>
                <a:gd name="connsiteY8" fmla="*/ 28042 h 42125"/>
                <a:gd name="connsiteX9" fmla="*/ 38192 w 57225"/>
                <a:gd name="connsiteY9" fmla="*/ 42126 h 42125"/>
                <a:gd name="connsiteX10" fmla="*/ 19160 w 57225"/>
                <a:gd name="connsiteY10" fmla="*/ 42126 h 42125"/>
                <a:gd name="connsiteX11" fmla="*/ 19160 w 57225"/>
                <a:gd name="connsiteY11" fmla="*/ 28042 h 42125"/>
                <a:gd name="connsiteX12" fmla="*/ 0 w 57225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2125">
                  <a:moveTo>
                    <a:pt x="0" y="28042"/>
                  </a:moveTo>
                  <a:lnTo>
                    <a:pt x="0" y="14084"/>
                  </a:lnTo>
                  <a:lnTo>
                    <a:pt x="19160" y="14084"/>
                  </a:lnTo>
                  <a:lnTo>
                    <a:pt x="19160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2126"/>
                  </a:lnTo>
                  <a:lnTo>
                    <a:pt x="19160" y="42126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6" name="Freihandform: Form 275">
              <a:extLst>
                <a:ext uri="{FF2B5EF4-FFF2-40B4-BE49-F238E27FC236}">
                  <a16:creationId xmlns:a16="http://schemas.microsoft.com/office/drawing/2014/main" id="{62F5C1A7-2996-3878-56A7-7A0232290045}"/>
                </a:ext>
              </a:extLst>
            </p:cNvPr>
            <p:cNvSpPr/>
            <p:nvPr/>
          </p:nvSpPr>
          <p:spPr>
            <a:xfrm>
              <a:off x="4265902" y="4211037"/>
              <a:ext cx="57225" cy="42125"/>
            </a:xfrm>
            <a:custGeom>
              <a:avLst/>
              <a:gdLst>
                <a:gd name="connsiteX0" fmla="*/ 0 w 57225"/>
                <a:gd name="connsiteY0" fmla="*/ 28042 h 42125"/>
                <a:gd name="connsiteX1" fmla="*/ 0 w 57225"/>
                <a:gd name="connsiteY1" fmla="*/ 14084 h 42125"/>
                <a:gd name="connsiteX2" fmla="*/ 19160 w 57225"/>
                <a:gd name="connsiteY2" fmla="*/ 14084 h 42125"/>
                <a:gd name="connsiteX3" fmla="*/ 19160 w 57225"/>
                <a:gd name="connsiteY3" fmla="*/ 0 h 42125"/>
                <a:gd name="connsiteX4" fmla="*/ 38193 w 57225"/>
                <a:gd name="connsiteY4" fmla="*/ 0 h 42125"/>
                <a:gd name="connsiteX5" fmla="*/ 38193 w 57225"/>
                <a:gd name="connsiteY5" fmla="*/ 14084 h 42125"/>
                <a:gd name="connsiteX6" fmla="*/ 57225 w 57225"/>
                <a:gd name="connsiteY6" fmla="*/ 14084 h 42125"/>
                <a:gd name="connsiteX7" fmla="*/ 57225 w 57225"/>
                <a:gd name="connsiteY7" fmla="*/ 28042 h 42125"/>
                <a:gd name="connsiteX8" fmla="*/ 38193 w 57225"/>
                <a:gd name="connsiteY8" fmla="*/ 28042 h 42125"/>
                <a:gd name="connsiteX9" fmla="*/ 38193 w 57225"/>
                <a:gd name="connsiteY9" fmla="*/ 42126 h 42125"/>
                <a:gd name="connsiteX10" fmla="*/ 19160 w 57225"/>
                <a:gd name="connsiteY10" fmla="*/ 42126 h 42125"/>
                <a:gd name="connsiteX11" fmla="*/ 19160 w 57225"/>
                <a:gd name="connsiteY11" fmla="*/ 28042 h 42125"/>
                <a:gd name="connsiteX12" fmla="*/ 0 w 57225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2125">
                  <a:moveTo>
                    <a:pt x="0" y="28042"/>
                  </a:moveTo>
                  <a:lnTo>
                    <a:pt x="0" y="14084"/>
                  </a:lnTo>
                  <a:lnTo>
                    <a:pt x="19160" y="14084"/>
                  </a:lnTo>
                  <a:lnTo>
                    <a:pt x="19160" y="0"/>
                  </a:lnTo>
                  <a:lnTo>
                    <a:pt x="38193" y="0"/>
                  </a:lnTo>
                  <a:lnTo>
                    <a:pt x="38193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3" y="28042"/>
                  </a:lnTo>
                  <a:lnTo>
                    <a:pt x="38193" y="42126"/>
                  </a:lnTo>
                  <a:lnTo>
                    <a:pt x="19160" y="42126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7" name="Freihandform: Form 276">
              <a:extLst>
                <a:ext uri="{FF2B5EF4-FFF2-40B4-BE49-F238E27FC236}">
                  <a16:creationId xmlns:a16="http://schemas.microsoft.com/office/drawing/2014/main" id="{36DA3BE8-750B-92E6-2DEF-94BA12DE0AFB}"/>
                </a:ext>
              </a:extLst>
            </p:cNvPr>
            <p:cNvSpPr/>
            <p:nvPr/>
          </p:nvSpPr>
          <p:spPr>
            <a:xfrm>
              <a:off x="4395452" y="4240728"/>
              <a:ext cx="57225" cy="42125"/>
            </a:xfrm>
            <a:custGeom>
              <a:avLst/>
              <a:gdLst>
                <a:gd name="connsiteX0" fmla="*/ 0 w 57225"/>
                <a:gd name="connsiteY0" fmla="*/ 28042 h 42125"/>
                <a:gd name="connsiteX1" fmla="*/ 0 w 57225"/>
                <a:gd name="connsiteY1" fmla="*/ 14084 h 42125"/>
                <a:gd name="connsiteX2" fmla="*/ 19033 w 57225"/>
                <a:gd name="connsiteY2" fmla="*/ 14084 h 42125"/>
                <a:gd name="connsiteX3" fmla="*/ 19033 w 57225"/>
                <a:gd name="connsiteY3" fmla="*/ 0 h 42125"/>
                <a:gd name="connsiteX4" fmla="*/ 38193 w 57225"/>
                <a:gd name="connsiteY4" fmla="*/ 0 h 42125"/>
                <a:gd name="connsiteX5" fmla="*/ 38193 w 57225"/>
                <a:gd name="connsiteY5" fmla="*/ 14084 h 42125"/>
                <a:gd name="connsiteX6" fmla="*/ 57225 w 57225"/>
                <a:gd name="connsiteY6" fmla="*/ 14084 h 42125"/>
                <a:gd name="connsiteX7" fmla="*/ 57225 w 57225"/>
                <a:gd name="connsiteY7" fmla="*/ 28042 h 42125"/>
                <a:gd name="connsiteX8" fmla="*/ 38193 w 57225"/>
                <a:gd name="connsiteY8" fmla="*/ 28042 h 42125"/>
                <a:gd name="connsiteX9" fmla="*/ 38193 w 57225"/>
                <a:gd name="connsiteY9" fmla="*/ 42126 h 42125"/>
                <a:gd name="connsiteX10" fmla="*/ 19033 w 57225"/>
                <a:gd name="connsiteY10" fmla="*/ 42126 h 42125"/>
                <a:gd name="connsiteX11" fmla="*/ 19033 w 57225"/>
                <a:gd name="connsiteY11" fmla="*/ 28042 h 42125"/>
                <a:gd name="connsiteX12" fmla="*/ 0 w 57225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2125">
                  <a:moveTo>
                    <a:pt x="0" y="28042"/>
                  </a:moveTo>
                  <a:lnTo>
                    <a:pt x="0" y="14084"/>
                  </a:lnTo>
                  <a:lnTo>
                    <a:pt x="19033" y="14084"/>
                  </a:lnTo>
                  <a:lnTo>
                    <a:pt x="19033" y="0"/>
                  </a:lnTo>
                  <a:lnTo>
                    <a:pt x="38193" y="0"/>
                  </a:lnTo>
                  <a:lnTo>
                    <a:pt x="38193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3" y="28042"/>
                  </a:lnTo>
                  <a:lnTo>
                    <a:pt x="38193" y="42126"/>
                  </a:lnTo>
                  <a:lnTo>
                    <a:pt x="19033" y="42126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8" name="Freihandform: Form 277">
              <a:extLst>
                <a:ext uri="{FF2B5EF4-FFF2-40B4-BE49-F238E27FC236}">
                  <a16:creationId xmlns:a16="http://schemas.microsoft.com/office/drawing/2014/main" id="{61086960-10C5-A402-9CB9-ACE0BC9392D5}"/>
                </a:ext>
              </a:extLst>
            </p:cNvPr>
            <p:cNvSpPr/>
            <p:nvPr/>
          </p:nvSpPr>
          <p:spPr>
            <a:xfrm>
              <a:off x="4405095" y="4240728"/>
              <a:ext cx="57224" cy="42125"/>
            </a:xfrm>
            <a:custGeom>
              <a:avLst/>
              <a:gdLst>
                <a:gd name="connsiteX0" fmla="*/ 0 w 57224"/>
                <a:gd name="connsiteY0" fmla="*/ 28042 h 42125"/>
                <a:gd name="connsiteX1" fmla="*/ 0 w 57224"/>
                <a:gd name="connsiteY1" fmla="*/ 14084 h 42125"/>
                <a:gd name="connsiteX2" fmla="*/ 19159 w 57224"/>
                <a:gd name="connsiteY2" fmla="*/ 14084 h 42125"/>
                <a:gd name="connsiteX3" fmla="*/ 19159 w 57224"/>
                <a:gd name="connsiteY3" fmla="*/ 0 h 42125"/>
                <a:gd name="connsiteX4" fmla="*/ 38192 w 57224"/>
                <a:gd name="connsiteY4" fmla="*/ 0 h 42125"/>
                <a:gd name="connsiteX5" fmla="*/ 38192 w 57224"/>
                <a:gd name="connsiteY5" fmla="*/ 14084 h 42125"/>
                <a:gd name="connsiteX6" fmla="*/ 57225 w 57224"/>
                <a:gd name="connsiteY6" fmla="*/ 14084 h 42125"/>
                <a:gd name="connsiteX7" fmla="*/ 57225 w 57224"/>
                <a:gd name="connsiteY7" fmla="*/ 28042 h 42125"/>
                <a:gd name="connsiteX8" fmla="*/ 38192 w 57224"/>
                <a:gd name="connsiteY8" fmla="*/ 28042 h 42125"/>
                <a:gd name="connsiteX9" fmla="*/ 38192 w 57224"/>
                <a:gd name="connsiteY9" fmla="*/ 42126 h 42125"/>
                <a:gd name="connsiteX10" fmla="*/ 19159 w 57224"/>
                <a:gd name="connsiteY10" fmla="*/ 42126 h 42125"/>
                <a:gd name="connsiteX11" fmla="*/ 19159 w 57224"/>
                <a:gd name="connsiteY11" fmla="*/ 28042 h 42125"/>
                <a:gd name="connsiteX12" fmla="*/ 0 w 57224"/>
                <a:gd name="connsiteY12" fmla="*/ 28042 h 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4" h="42125">
                  <a:moveTo>
                    <a:pt x="0" y="28042"/>
                  </a:moveTo>
                  <a:lnTo>
                    <a:pt x="0" y="14084"/>
                  </a:lnTo>
                  <a:lnTo>
                    <a:pt x="19159" y="14084"/>
                  </a:lnTo>
                  <a:lnTo>
                    <a:pt x="19159" y="0"/>
                  </a:lnTo>
                  <a:lnTo>
                    <a:pt x="38192" y="0"/>
                  </a:lnTo>
                  <a:lnTo>
                    <a:pt x="38192" y="14084"/>
                  </a:lnTo>
                  <a:lnTo>
                    <a:pt x="57225" y="14084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2126"/>
                  </a:lnTo>
                  <a:lnTo>
                    <a:pt x="19159" y="42126"/>
                  </a:lnTo>
                  <a:lnTo>
                    <a:pt x="19159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9" name="Freihandform: Form 278">
              <a:extLst>
                <a:ext uri="{FF2B5EF4-FFF2-40B4-BE49-F238E27FC236}">
                  <a16:creationId xmlns:a16="http://schemas.microsoft.com/office/drawing/2014/main" id="{2BCC3EEB-365F-2040-9EAE-058A73F1E657}"/>
                </a:ext>
              </a:extLst>
            </p:cNvPr>
            <p:cNvSpPr/>
            <p:nvPr/>
          </p:nvSpPr>
          <p:spPr>
            <a:xfrm>
              <a:off x="4540609" y="4272830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3 w 57225"/>
                <a:gd name="connsiteY4" fmla="*/ 0 h 41998"/>
                <a:gd name="connsiteX5" fmla="*/ 38193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3 w 57225"/>
                <a:gd name="connsiteY8" fmla="*/ 28042 h 41998"/>
                <a:gd name="connsiteX9" fmla="*/ 38193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3" y="0"/>
                  </a:lnTo>
                  <a:lnTo>
                    <a:pt x="38193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3" y="28042"/>
                  </a:lnTo>
                  <a:lnTo>
                    <a:pt x="38193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0" name="Freihandform: Form 279">
              <a:extLst>
                <a:ext uri="{FF2B5EF4-FFF2-40B4-BE49-F238E27FC236}">
                  <a16:creationId xmlns:a16="http://schemas.microsoft.com/office/drawing/2014/main" id="{D38659F0-C8A1-DDD6-C1B4-48338065EE6D}"/>
                </a:ext>
              </a:extLst>
            </p:cNvPr>
            <p:cNvSpPr/>
            <p:nvPr/>
          </p:nvSpPr>
          <p:spPr>
            <a:xfrm>
              <a:off x="4542512" y="4272830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3 w 57225"/>
                <a:gd name="connsiteY4" fmla="*/ 0 h 41998"/>
                <a:gd name="connsiteX5" fmla="*/ 38193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3 w 57225"/>
                <a:gd name="connsiteY8" fmla="*/ 28042 h 41998"/>
                <a:gd name="connsiteX9" fmla="*/ 38193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3" y="0"/>
                  </a:lnTo>
                  <a:lnTo>
                    <a:pt x="38193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3" y="28042"/>
                  </a:lnTo>
                  <a:lnTo>
                    <a:pt x="38193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1" name="Freihandform: Form 280">
              <a:extLst>
                <a:ext uri="{FF2B5EF4-FFF2-40B4-BE49-F238E27FC236}">
                  <a16:creationId xmlns:a16="http://schemas.microsoft.com/office/drawing/2014/main" id="{F8940147-612A-C033-047D-EBF583DA3522}"/>
                </a:ext>
              </a:extLst>
            </p:cNvPr>
            <p:cNvSpPr/>
            <p:nvPr/>
          </p:nvSpPr>
          <p:spPr>
            <a:xfrm>
              <a:off x="4623845" y="4272830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3 w 57225"/>
                <a:gd name="connsiteY4" fmla="*/ 0 h 41998"/>
                <a:gd name="connsiteX5" fmla="*/ 38193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3 w 57225"/>
                <a:gd name="connsiteY8" fmla="*/ 28042 h 41998"/>
                <a:gd name="connsiteX9" fmla="*/ 38193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3" y="0"/>
                  </a:lnTo>
                  <a:lnTo>
                    <a:pt x="38193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3" y="28042"/>
                  </a:lnTo>
                  <a:lnTo>
                    <a:pt x="38193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2" name="Freihandform: Form 281">
              <a:extLst>
                <a:ext uri="{FF2B5EF4-FFF2-40B4-BE49-F238E27FC236}">
                  <a16:creationId xmlns:a16="http://schemas.microsoft.com/office/drawing/2014/main" id="{E2013A54-1681-4C22-0798-6CCF915B5A04}"/>
                </a:ext>
              </a:extLst>
            </p:cNvPr>
            <p:cNvSpPr/>
            <p:nvPr/>
          </p:nvSpPr>
          <p:spPr>
            <a:xfrm>
              <a:off x="4650872" y="4272830"/>
              <a:ext cx="57224" cy="41998"/>
            </a:xfrm>
            <a:custGeom>
              <a:avLst/>
              <a:gdLst>
                <a:gd name="connsiteX0" fmla="*/ 0 w 57224"/>
                <a:gd name="connsiteY0" fmla="*/ 28042 h 41998"/>
                <a:gd name="connsiteX1" fmla="*/ 0 w 57224"/>
                <a:gd name="connsiteY1" fmla="*/ 13957 h 41998"/>
                <a:gd name="connsiteX2" fmla="*/ 19159 w 57224"/>
                <a:gd name="connsiteY2" fmla="*/ 13957 h 41998"/>
                <a:gd name="connsiteX3" fmla="*/ 19159 w 57224"/>
                <a:gd name="connsiteY3" fmla="*/ 0 h 41998"/>
                <a:gd name="connsiteX4" fmla="*/ 38192 w 57224"/>
                <a:gd name="connsiteY4" fmla="*/ 0 h 41998"/>
                <a:gd name="connsiteX5" fmla="*/ 38192 w 57224"/>
                <a:gd name="connsiteY5" fmla="*/ 13957 h 41998"/>
                <a:gd name="connsiteX6" fmla="*/ 57225 w 57224"/>
                <a:gd name="connsiteY6" fmla="*/ 13957 h 41998"/>
                <a:gd name="connsiteX7" fmla="*/ 57225 w 57224"/>
                <a:gd name="connsiteY7" fmla="*/ 28042 h 41998"/>
                <a:gd name="connsiteX8" fmla="*/ 38192 w 57224"/>
                <a:gd name="connsiteY8" fmla="*/ 28042 h 41998"/>
                <a:gd name="connsiteX9" fmla="*/ 38192 w 57224"/>
                <a:gd name="connsiteY9" fmla="*/ 41999 h 41998"/>
                <a:gd name="connsiteX10" fmla="*/ 19159 w 57224"/>
                <a:gd name="connsiteY10" fmla="*/ 41999 h 41998"/>
                <a:gd name="connsiteX11" fmla="*/ 19159 w 57224"/>
                <a:gd name="connsiteY11" fmla="*/ 28042 h 41998"/>
                <a:gd name="connsiteX12" fmla="*/ 0 w 57224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4" h="41998">
                  <a:moveTo>
                    <a:pt x="0" y="28042"/>
                  </a:moveTo>
                  <a:lnTo>
                    <a:pt x="0" y="13957"/>
                  </a:lnTo>
                  <a:lnTo>
                    <a:pt x="19159" y="13957"/>
                  </a:lnTo>
                  <a:lnTo>
                    <a:pt x="19159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2" y="28042"/>
                  </a:lnTo>
                  <a:lnTo>
                    <a:pt x="38192" y="41999"/>
                  </a:lnTo>
                  <a:lnTo>
                    <a:pt x="19159" y="41999"/>
                  </a:lnTo>
                  <a:lnTo>
                    <a:pt x="19159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3" name="Freihandform: Form 282">
              <a:extLst>
                <a:ext uri="{FF2B5EF4-FFF2-40B4-BE49-F238E27FC236}">
                  <a16:creationId xmlns:a16="http://schemas.microsoft.com/office/drawing/2014/main" id="{050AF879-5D3B-58CE-4287-9B35E05455E9}"/>
                </a:ext>
              </a:extLst>
            </p:cNvPr>
            <p:cNvSpPr/>
            <p:nvPr/>
          </p:nvSpPr>
          <p:spPr>
            <a:xfrm>
              <a:off x="4811509" y="4291990"/>
              <a:ext cx="57224" cy="41998"/>
            </a:xfrm>
            <a:custGeom>
              <a:avLst/>
              <a:gdLst>
                <a:gd name="connsiteX0" fmla="*/ 0 w 57224"/>
                <a:gd name="connsiteY0" fmla="*/ 27915 h 41998"/>
                <a:gd name="connsiteX1" fmla="*/ 0 w 57224"/>
                <a:gd name="connsiteY1" fmla="*/ 13957 h 41998"/>
                <a:gd name="connsiteX2" fmla="*/ 19033 w 57224"/>
                <a:gd name="connsiteY2" fmla="*/ 13957 h 41998"/>
                <a:gd name="connsiteX3" fmla="*/ 19033 w 57224"/>
                <a:gd name="connsiteY3" fmla="*/ 0 h 41998"/>
                <a:gd name="connsiteX4" fmla="*/ 38066 w 57224"/>
                <a:gd name="connsiteY4" fmla="*/ 0 h 41998"/>
                <a:gd name="connsiteX5" fmla="*/ 38066 w 57224"/>
                <a:gd name="connsiteY5" fmla="*/ 13957 h 41998"/>
                <a:gd name="connsiteX6" fmla="*/ 57225 w 57224"/>
                <a:gd name="connsiteY6" fmla="*/ 13957 h 41998"/>
                <a:gd name="connsiteX7" fmla="*/ 57225 w 57224"/>
                <a:gd name="connsiteY7" fmla="*/ 27915 h 41998"/>
                <a:gd name="connsiteX8" fmla="*/ 38066 w 57224"/>
                <a:gd name="connsiteY8" fmla="*/ 27915 h 41998"/>
                <a:gd name="connsiteX9" fmla="*/ 38066 w 57224"/>
                <a:gd name="connsiteY9" fmla="*/ 41999 h 41998"/>
                <a:gd name="connsiteX10" fmla="*/ 19033 w 57224"/>
                <a:gd name="connsiteY10" fmla="*/ 41999 h 41998"/>
                <a:gd name="connsiteX11" fmla="*/ 19033 w 57224"/>
                <a:gd name="connsiteY11" fmla="*/ 27915 h 41998"/>
                <a:gd name="connsiteX12" fmla="*/ 0 w 57224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4" h="41998">
                  <a:moveTo>
                    <a:pt x="0" y="27915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066" y="27915"/>
                  </a:lnTo>
                  <a:lnTo>
                    <a:pt x="38066" y="41999"/>
                  </a:lnTo>
                  <a:lnTo>
                    <a:pt x="19033" y="41999"/>
                  </a:lnTo>
                  <a:lnTo>
                    <a:pt x="19033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4" name="Freihandform: Form 283">
              <a:extLst>
                <a:ext uri="{FF2B5EF4-FFF2-40B4-BE49-F238E27FC236}">
                  <a16:creationId xmlns:a16="http://schemas.microsoft.com/office/drawing/2014/main" id="{74FE531F-26FB-C0ED-F26D-39978BFA8DA6}"/>
                </a:ext>
              </a:extLst>
            </p:cNvPr>
            <p:cNvSpPr/>
            <p:nvPr/>
          </p:nvSpPr>
          <p:spPr>
            <a:xfrm>
              <a:off x="4824959" y="4291990"/>
              <a:ext cx="57224" cy="41998"/>
            </a:xfrm>
            <a:custGeom>
              <a:avLst/>
              <a:gdLst>
                <a:gd name="connsiteX0" fmla="*/ 0 w 57224"/>
                <a:gd name="connsiteY0" fmla="*/ 27915 h 41998"/>
                <a:gd name="connsiteX1" fmla="*/ 0 w 57224"/>
                <a:gd name="connsiteY1" fmla="*/ 13957 h 41998"/>
                <a:gd name="connsiteX2" fmla="*/ 19033 w 57224"/>
                <a:gd name="connsiteY2" fmla="*/ 13957 h 41998"/>
                <a:gd name="connsiteX3" fmla="*/ 19033 w 57224"/>
                <a:gd name="connsiteY3" fmla="*/ 0 h 41998"/>
                <a:gd name="connsiteX4" fmla="*/ 38192 w 57224"/>
                <a:gd name="connsiteY4" fmla="*/ 0 h 41998"/>
                <a:gd name="connsiteX5" fmla="*/ 38192 w 57224"/>
                <a:gd name="connsiteY5" fmla="*/ 13957 h 41998"/>
                <a:gd name="connsiteX6" fmla="*/ 57225 w 57224"/>
                <a:gd name="connsiteY6" fmla="*/ 13957 h 41998"/>
                <a:gd name="connsiteX7" fmla="*/ 57225 w 57224"/>
                <a:gd name="connsiteY7" fmla="*/ 27915 h 41998"/>
                <a:gd name="connsiteX8" fmla="*/ 38192 w 57224"/>
                <a:gd name="connsiteY8" fmla="*/ 27915 h 41998"/>
                <a:gd name="connsiteX9" fmla="*/ 38192 w 57224"/>
                <a:gd name="connsiteY9" fmla="*/ 41999 h 41998"/>
                <a:gd name="connsiteX10" fmla="*/ 19033 w 57224"/>
                <a:gd name="connsiteY10" fmla="*/ 41999 h 41998"/>
                <a:gd name="connsiteX11" fmla="*/ 19033 w 57224"/>
                <a:gd name="connsiteY11" fmla="*/ 27915 h 41998"/>
                <a:gd name="connsiteX12" fmla="*/ 0 w 57224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4" h="41998">
                  <a:moveTo>
                    <a:pt x="0" y="27915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5" name="Freihandform: Form 284">
              <a:extLst>
                <a:ext uri="{FF2B5EF4-FFF2-40B4-BE49-F238E27FC236}">
                  <a16:creationId xmlns:a16="http://schemas.microsoft.com/office/drawing/2014/main" id="{6DDACEC8-4AEF-2DC4-5BBD-F1519374D4B1}"/>
                </a:ext>
              </a:extLst>
            </p:cNvPr>
            <p:cNvSpPr/>
            <p:nvPr/>
          </p:nvSpPr>
          <p:spPr>
            <a:xfrm>
              <a:off x="4846148" y="4291990"/>
              <a:ext cx="57352" cy="41998"/>
            </a:xfrm>
            <a:custGeom>
              <a:avLst/>
              <a:gdLst>
                <a:gd name="connsiteX0" fmla="*/ 0 w 57352"/>
                <a:gd name="connsiteY0" fmla="*/ 27915 h 41998"/>
                <a:gd name="connsiteX1" fmla="*/ 0 w 57352"/>
                <a:gd name="connsiteY1" fmla="*/ 13957 h 41998"/>
                <a:gd name="connsiteX2" fmla="*/ 19160 w 57352"/>
                <a:gd name="connsiteY2" fmla="*/ 13957 h 41998"/>
                <a:gd name="connsiteX3" fmla="*/ 19160 w 57352"/>
                <a:gd name="connsiteY3" fmla="*/ 0 h 41998"/>
                <a:gd name="connsiteX4" fmla="*/ 38193 w 57352"/>
                <a:gd name="connsiteY4" fmla="*/ 0 h 41998"/>
                <a:gd name="connsiteX5" fmla="*/ 38193 w 57352"/>
                <a:gd name="connsiteY5" fmla="*/ 13957 h 41998"/>
                <a:gd name="connsiteX6" fmla="*/ 57352 w 57352"/>
                <a:gd name="connsiteY6" fmla="*/ 13957 h 41998"/>
                <a:gd name="connsiteX7" fmla="*/ 57352 w 57352"/>
                <a:gd name="connsiteY7" fmla="*/ 27915 h 41998"/>
                <a:gd name="connsiteX8" fmla="*/ 38193 w 57352"/>
                <a:gd name="connsiteY8" fmla="*/ 27915 h 41998"/>
                <a:gd name="connsiteX9" fmla="*/ 38193 w 57352"/>
                <a:gd name="connsiteY9" fmla="*/ 41999 h 41998"/>
                <a:gd name="connsiteX10" fmla="*/ 19160 w 57352"/>
                <a:gd name="connsiteY10" fmla="*/ 41999 h 41998"/>
                <a:gd name="connsiteX11" fmla="*/ 19160 w 57352"/>
                <a:gd name="connsiteY11" fmla="*/ 27915 h 41998"/>
                <a:gd name="connsiteX12" fmla="*/ 0 w 57352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2" h="41998">
                  <a:moveTo>
                    <a:pt x="0" y="27915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3" y="0"/>
                  </a:lnTo>
                  <a:lnTo>
                    <a:pt x="38193" y="13957"/>
                  </a:lnTo>
                  <a:lnTo>
                    <a:pt x="57352" y="13957"/>
                  </a:lnTo>
                  <a:lnTo>
                    <a:pt x="57352" y="27915"/>
                  </a:lnTo>
                  <a:lnTo>
                    <a:pt x="38193" y="27915"/>
                  </a:lnTo>
                  <a:lnTo>
                    <a:pt x="38193" y="41999"/>
                  </a:lnTo>
                  <a:lnTo>
                    <a:pt x="19160" y="41999"/>
                  </a:lnTo>
                  <a:lnTo>
                    <a:pt x="19160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6" name="Freihandform: Form 285">
              <a:extLst>
                <a:ext uri="{FF2B5EF4-FFF2-40B4-BE49-F238E27FC236}">
                  <a16:creationId xmlns:a16="http://schemas.microsoft.com/office/drawing/2014/main" id="{2A2611CE-D3C0-35B0-72C7-7B17907FEE28}"/>
                </a:ext>
              </a:extLst>
            </p:cNvPr>
            <p:cNvSpPr/>
            <p:nvPr/>
          </p:nvSpPr>
          <p:spPr>
            <a:xfrm>
              <a:off x="4898425" y="4291990"/>
              <a:ext cx="57352" cy="41998"/>
            </a:xfrm>
            <a:custGeom>
              <a:avLst/>
              <a:gdLst>
                <a:gd name="connsiteX0" fmla="*/ 0 w 57352"/>
                <a:gd name="connsiteY0" fmla="*/ 27915 h 41998"/>
                <a:gd name="connsiteX1" fmla="*/ 0 w 57352"/>
                <a:gd name="connsiteY1" fmla="*/ 13957 h 41998"/>
                <a:gd name="connsiteX2" fmla="*/ 19160 w 57352"/>
                <a:gd name="connsiteY2" fmla="*/ 13957 h 41998"/>
                <a:gd name="connsiteX3" fmla="*/ 19160 w 57352"/>
                <a:gd name="connsiteY3" fmla="*/ 0 h 41998"/>
                <a:gd name="connsiteX4" fmla="*/ 38193 w 57352"/>
                <a:gd name="connsiteY4" fmla="*/ 0 h 41998"/>
                <a:gd name="connsiteX5" fmla="*/ 38193 w 57352"/>
                <a:gd name="connsiteY5" fmla="*/ 13957 h 41998"/>
                <a:gd name="connsiteX6" fmla="*/ 57352 w 57352"/>
                <a:gd name="connsiteY6" fmla="*/ 13957 h 41998"/>
                <a:gd name="connsiteX7" fmla="*/ 57352 w 57352"/>
                <a:gd name="connsiteY7" fmla="*/ 27915 h 41998"/>
                <a:gd name="connsiteX8" fmla="*/ 38193 w 57352"/>
                <a:gd name="connsiteY8" fmla="*/ 27915 h 41998"/>
                <a:gd name="connsiteX9" fmla="*/ 38193 w 57352"/>
                <a:gd name="connsiteY9" fmla="*/ 41999 h 41998"/>
                <a:gd name="connsiteX10" fmla="*/ 19160 w 57352"/>
                <a:gd name="connsiteY10" fmla="*/ 41999 h 41998"/>
                <a:gd name="connsiteX11" fmla="*/ 19160 w 57352"/>
                <a:gd name="connsiteY11" fmla="*/ 27915 h 41998"/>
                <a:gd name="connsiteX12" fmla="*/ 0 w 57352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2" h="41998">
                  <a:moveTo>
                    <a:pt x="0" y="27915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3" y="0"/>
                  </a:lnTo>
                  <a:lnTo>
                    <a:pt x="38193" y="13957"/>
                  </a:lnTo>
                  <a:lnTo>
                    <a:pt x="57352" y="13957"/>
                  </a:lnTo>
                  <a:lnTo>
                    <a:pt x="57352" y="27915"/>
                  </a:lnTo>
                  <a:lnTo>
                    <a:pt x="38193" y="27915"/>
                  </a:lnTo>
                  <a:lnTo>
                    <a:pt x="38193" y="41999"/>
                  </a:lnTo>
                  <a:lnTo>
                    <a:pt x="19160" y="41999"/>
                  </a:lnTo>
                  <a:lnTo>
                    <a:pt x="19160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7" name="Freihandform: Form 286">
              <a:extLst>
                <a:ext uri="{FF2B5EF4-FFF2-40B4-BE49-F238E27FC236}">
                  <a16:creationId xmlns:a16="http://schemas.microsoft.com/office/drawing/2014/main" id="{290A221F-ACC5-DAE9-7F9A-7F7D2FDAC8F5}"/>
                </a:ext>
              </a:extLst>
            </p:cNvPr>
            <p:cNvSpPr/>
            <p:nvPr/>
          </p:nvSpPr>
          <p:spPr>
            <a:xfrm>
              <a:off x="4933318" y="4291990"/>
              <a:ext cx="57225" cy="41998"/>
            </a:xfrm>
            <a:custGeom>
              <a:avLst/>
              <a:gdLst>
                <a:gd name="connsiteX0" fmla="*/ 0 w 57225"/>
                <a:gd name="connsiteY0" fmla="*/ 27915 h 41998"/>
                <a:gd name="connsiteX1" fmla="*/ 0 w 57225"/>
                <a:gd name="connsiteY1" fmla="*/ 13957 h 41998"/>
                <a:gd name="connsiteX2" fmla="*/ 19160 w 57225"/>
                <a:gd name="connsiteY2" fmla="*/ 13957 h 41998"/>
                <a:gd name="connsiteX3" fmla="*/ 19160 w 57225"/>
                <a:gd name="connsiteY3" fmla="*/ 0 h 41998"/>
                <a:gd name="connsiteX4" fmla="*/ 38193 w 57225"/>
                <a:gd name="connsiteY4" fmla="*/ 0 h 41998"/>
                <a:gd name="connsiteX5" fmla="*/ 38193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7915 h 41998"/>
                <a:gd name="connsiteX8" fmla="*/ 38193 w 57225"/>
                <a:gd name="connsiteY8" fmla="*/ 27915 h 41998"/>
                <a:gd name="connsiteX9" fmla="*/ 38193 w 57225"/>
                <a:gd name="connsiteY9" fmla="*/ 41999 h 41998"/>
                <a:gd name="connsiteX10" fmla="*/ 19160 w 57225"/>
                <a:gd name="connsiteY10" fmla="*/ 41999 h 41998"/>
                <a:gd name="connsiteX11" fmla="*/ 19160 w 57225"/>
                <a:gd name="connsiteY11" fmla="*/ 27915 h 41998"/>
                <a:gd name="connsiteX12" fmla="*/ 0 w 57225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7915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3" y="0"/>
                  </a:lnTo>
                  <a:lnTo>
                    <a:pt x="38193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193" y="27915"/>
                  </a:lnTo>
                  <a:lnTo>
                    <a:pt x="38193" y="41999"/>
                  </a:lnTo>
                  <a:lnTo>
                    <a:pt x="19160" y="41999"/>
                  </a:lnTo>
                  <a:lnTo>
                    <a:pt x="19160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8" name="Freihandform: Form 287">
              <a:extLst>
                <a:ext uri="{FF2B5EF4-FFF2-40B4-BE49-F238E27FC236}">
                  <a16:creationId xmlns:a16="http://schemas.microsoft.com/office/drawing/2014/main" id="{74741AF6-8F63-5D35-4CC7-41847E11E76C}"/>
                </a:ext>
              </a:extLst>
            </p:cNvPr>
            <p:cNvSpPr/>
            <p:nvPr/>
          </p:nvSpPr>
          <p:spPr>
            <a:xfrm>
              <a:off x="4975825" y="4291990"/>
              <a:ext cx="57225" cy="41998"/>
            </a:xfrm>
            <a:custGeom>
              <a:avLst/>
              <a:gdLst>
                <a:gd name="connsiteX0" fmla="*/ 0 w 57225"/>
                <a:gd name="connsiteY0" fmla="*/ 27915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3 w 57225"/>
                <a:gd name="connsiteY4" fmla="*/ 0 h 41998"/>
                <a:gd name="connsiteX5" fmla="*/ 38193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7915 h 41998"/>
                <a:gd name="connsiteX8" fmla="*/ 38193 w 57225"/>
                <a:gd name="connsiteY8" fmla="*/ 27915 h 41998"/>
                <a:gd name="connsiteX9" fmla="*/ 38193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7915 h 41998"/>
                <a:gd name="connsiteX12" fmla="*/ 0 w 57225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7915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3" y="0"/>
                  </a:lnTo>
                  <a:lnTo>
                    <a:pt x="38193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193" y="27915"/>
                  </a:lnTo>
                  <a:lnTo>
                    <a:pt x="38193" y="41999"/>
                  </a:lnTo>
                  <a:lnTo>
                    <a:pt x="19033" y="41999"/>
                  </a:lnTo>
                  <a:lnTo>
                    <a:pt x="19033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9" name="Freihandform: Form 288">
              <a:extLst>
                <a:ext uri="{FF2B5EF4-FFF2-40B4-BE49-F238E27FC236}">
                  <a16:creationId xmlns:a16="http://schemas.microsoft.com/office/drawing/2014/main" id="{998ADA89-3306-A842-DA2A-9643F3D7CD4B}"/>
                </a:ext>
              </a:extLst>
            </p:cNvPr>
            <p:cNvSpPr/>
            <p:nvPr/>
          </p:nvSpPr>
          <p:spPr>
            <a:xfrm>
              <a:off x="5014525" y="4291990"/>
              <a:ext cx="57224" cy="41998"/>
            </a:xfrm>
            <a:custGeom>
              <a:avLst/>
              <a:gdLst>
                <a:gd name="connsiteX0" fmla="*/ 0 w 57224"/>
                <a:gd name="connsiteY0" fmla="*/ 27915 h 41998"/>
                <a:gd name="connsiteX1" fmla="*/ 0 w 57224"/>
                <a:gd name="connsiteY1" fmla="*/ 13957 h 41998"/>
                <a:gd name="connsiteX2" fmla="*/ 19033 w 57224"/>
                <a:gd name="connsiteY2" fmla="*/ 13957 h 41998"/>
                <a:gd name="connsiteX3" fmla="*/ 19033 w 57224"/>
                <a:gd name="connsiteY3" fmla="*/ 0 h 41998"/>
                <a:gd name="connsiteX4" fmla="*/ 38192 w 57224"/>
                <a:gd name="connsiteY4" fmla="*/ 0 h 41998"/>
                <a:gd name="connsiteX5" fmla="*/ 38192 w 57224"/>
                <a:gd name="connsiteY5" fmla="*/ 13957 h 41998"/>
                <a:gd name="connsiteX6" fmla="*/ 57225 w 57224"/>
                <a:gd name="connsiteY6" fmla="*/ 13957 h 41998"/>
                <a:gd name="connsiteX7" fmla="*/ 57225 w 57224"/>
                <a:gd name="connsiteY7" fmla="*/ 27915 h 41998"/>
                <a:gd name="connsiteX8" fmla="*/ 38192 w 57224"/>
                <a:gd name="connsiteY8" fmla="*/ 27915 h 41998"/>
                <a:gd name="connsiteX9" fmla="*/ 38192 w 57224"/>
                <a:gd name="connsiteY9" fmla="*/ 41999 h 41998"/>
                <a:gd name="connsiteX10" fmla="*/ 19033 w 57224"/>
                <a:gd name="connsiteY10" fmla="*/ 41999 h 41998"/>
                <a:gd name="connsiteX11" fmla="*/ 19033 w 57224"/>
                <a:gd name="connsiteY11" fmla="*/ 27915 h 41998"/>
                <a:gd name="connsiteX12" fmla="*/ 0 w 57224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4" h="41998">
                  <a:moveTo>
                    <a:pt x="0" y="27915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0" name="Freihandform: Form 289">
              <a:extLst>
                <a:ext uri="{FF2B5EF4-FFF2-40B4-BE49-F238E27FC236}">
                  <a16:creationId xmlns:a16="http://schemas.microsoft.com/office/drawing/2014/main" id="{A44AE6CE-7B93-D6FD-16F3-054647F614C9}"/>
                </a:ext>
              </a:extLst>
            </p:cNvPr>
            <p:cNvSpPr/>
            <p:nvPr/>
          </p:nvSpPr>
          <p:spPr>
            <a:xfrm>
              <a:off x="5039648" y="4291990"/>
              <a:ext cx="57352" cy="41998"/>
            </a:xfrm>
            <a:custGeom>
              <a:avLst/>
              <a:gdLst>
                <a:gd name="connsiteX0" fmla="*/ 0 w 57352"/>
                <a:gd name="connsiteY0" fmla="*/ 27915 h 41998"/>
                <a:gd name="connsiteX1" fmla="*/ 0 w 57352"/>
                <a:gd name="connsiteY1" fmla="*/ 13957 h 41998"/>
                <a:gd name="connsiteX2" fmla="*/ 19160 w 57352"/>
                <a:gd name="connsiteY2" fmla="*/ 13957 h 41998"/>
                <a:gd name="connsiteX3" fmla="*/ 19160 w 57352"/>
                <a:gd name="connsiteY3" fmla="*/ 0 h 41998"/>
                <a:gd name="connsiteX4" fmla="*/ 38193 w 57352"/>
                <a:gd name="connsiteY4" fmla="*/ 0 h 41998"/>
                <a:gd name="connsiteX5" fmla="*/ 38193 w 57352"/>
                <a:gd name="connsiteY5" fmla="*/ 13957 h 41998"/>
                <a:gd name="connsiteX6" fmla="*/ 57352 w 57352"/>
                <a:gd name="connsiteY6" fmla="*/ 13957 h 41998"/>
                <a:gd name="connsiteX7" fmla="*/ 57352 w 57352"/>
                <a:gd name="connsiteY7" fmla="*/ 27915 h 41998"/>
                <a:gd name="connsiteX8" fmla="*/ 38193 w 57352"/>
                <a:gd name="connsiteY8" fmla="*/ 27915 h 41998"/>
                <a:gd name="connsiteX9" fmla="*/ 38193 w 57352"/>
                <a:gd name="connsiteY9" fmla="*/ 41999 h 41998"/>
                <a:gd name="connsiteX10" fmla="*/ 19160 w 57352"/>
                <a:gd name="connsiteY10" fmla="*/ 41999 h 41998"/>
                <a:gd name="connsiteX11" fmla="*/ 19160 w 57352"/>
                <a:gd name="connsiteY11" fmla="*/ 27915 h 41998"/>
                <a:gd name="connsiteX12" fmla="*/ 0 w 57352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2" h="41998">
                  <a:moveTo>
                    <a:pt x="0" y="27915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3" y="0"/>
                  </a:lnTo>
                  <a:lnTo>
                    <a:pt x="38193" y="13957"/>
                  </a:lnTo>
                  <a:lnTo>
                    <a:pt x="57352" y="13957"/>
                  </a:lnTo>
                  <a:lnTo>
                    <a:pt x="57352" y="27915"/>
                  </a:lnTo>
                  <a:lnTo>
                    <a:pt x="38193" y="27915"/>
                  </a:lnTo>
                  <a:lnTo>
                    <a:pt x="38193" y="41999"/>
                  </a:lnTo>
                  <a:lnTo>
                    <a:pt x="19160" y="41999"/>
                  </a:lnTo>
                  <a:lnTo>
                    <a:pt x="19160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1" name="Freihandform: Form 290">
              <a:extLst>
                <a:ext uri="{FF2B5EF4-FFF2-40B4-BE49-F238E27FC236}">
                  <a16:creationId xmlns:a16="http://schemas.microsoft.com/office/drawing/2014/main" id="{60C99B41-F5E3-5F13-C7AA-080011056DE1}"/>
                </a:ext>
              </a:extLst>
            </p:cNvPr>
            <p:cNvSpPr/>
            <p:nvPr/>
          </p:nvSpPr>
          <p:spPr>
            <a:xfrm>
              <a:off x="5264108" y="4291990"/>
              <a:ext cx="57225" cy="41998"/>
            </a:xfrm>
            <a:custGeom>
              <a:avLst/>
              <a:gdLst>
                <a:gd name="connsiteX0" fmla="*/ 0 w 57225"/>
                <a:gd name="connsiteY0" fmla="*/ 27915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3 w 57225"/>
                <a:gd name="connsiteY4" fmla="*/ 0 h 41998"/>
                <a:gd name="connsiteX5" fmla="*/ 38193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7915 h 41998"/>
                <a:gd name="connsiteX8" fmla="*/ 38193 w 57225"/>
                <a:gd name="connsiteY8" fmla="*/ 27915 h 41998"/>
                <a:gd name="connsiteX9" fmla="*/ 38193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7915 h 41998"/>
                <a:gd name="connsiteX12" fmla="*/ 0 w 57225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7915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3" y="0"/>
                  </a:lnTo>
                  <a:lnTo>
                    <a:pt x="38193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193" y="27915"/>
                  </a:lnTo>
                  <a:lnTo>
                    <a:pt x="38193" y="41999"/>
                  </a:lnTo>
                  <a:lnTo>
                    <a:pt x="19033" y="41999"/>
                  </a:lnTo>
                  <a:lnTo>
                    <a:pt x="19033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2" name="Freihandform: Form 291">
              <a:extLst>
                <a:ext uri="{FF2B5EF4-FFF2-40B4-BE49-F238E27FC236}">
                  <a16:creationId xmlns:a16="http://schemas.microsoft.com/office/drawing/2014/main" id="{16632713-5A4A-42B7-85AD-3CBCA69720D9}"/>
                </a:ext>
              </a:extLst>
            </p:cNvPr>
            <p:cNvSpPr/>
            <p:nvPr/>
          </p:nvSpPr>
          <p:spPr>
            <a:xfrm>
              <a:off x="5325901" y="4291990"/>
              <a:ext cx="57225" cy="41998"/>
            </a:xfrm>
            <a:custGeom>
              <a:avLst/>
              <a:gdLst>
                <a:gd name="connsiteX0" fmla="*/ 0 w 57225"/>
                <a:gd name="connsiteY0" fmla="*/ 27915 h 41998"/>
                <a:gd name="connsiteX1" fmla="*/ 0 w 57225"/>
                <a:gd name="connsiteY1" fmla="*/ 13957 h 41998"/>
                <a:gd name="connsiteX2" fmla="*/ 19160 w 57225"/>
                <a:gd name="connsiteY2" fmla="*/ 13957 h 41998"/>
                <a:gd name="connsiteX3" fmla="*/ 19160 w 57225"/>
                <a:gd name="connsiteY3" fmla="*/ 0 h 41998"/>
                <a:gd name="connsiteX4" fmla="*/ 38193 w 57225"/>
                <a:gd name="connsiteY4" fmla="*/ 0 h 41998"/>
                <a:gd name="connsiteX5" fmla="*/ 38193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7915 h 41998"/>
                <a:gd name="connsiteX8" fmla="*/ 38193 w 57225"/>
                <a:gd name="connsiteY8" fmla="*/ 27915 h 41998"/>
                <a:gd name="connsiteX9" fmla="*/ 38193 w 57225"/>
                <a:gd name="connsiteY9" fmla="*/ 41999 h 41998"/>
                <a:gd name="connsiteX10" fmla="*/ 19160 w 57225"/>
                <a:gd name="connsiteY10" fmla="*/ 41999 h 41998"/>
                <a:gd name="connsiteX11" fmla="*/ 19160 w 57225"/>
                <a:gd name="connsiteY11" fmla="*/ 27915 h 41998"/>
                <a:gd name="connsiteX12" fmla="*/ 0 w 57225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7915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3" y="0"/>
                  </a:lnTo>
                  <a:lnTo>
                    <a:pt x="38193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193" y="27915"/>
                  </a:lnTo>
                  <a:lnTo>
                    <a:pt x="38193" y="41999"/>
                  </a:lnTo>
                  <a:lnTo>
                    <a:pt x="19160" y="41999"/>
                  </a:lnTo>
                  <a:lnTo>
                    <a:pt x="19160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3" name="Freihandform: Form 292">
              <a:extLst>
                <a:ext uri="{FF2B5EF4-FFF2-40B4-BE49-F238E27FC236}">
                  <a16:creationId xmlns:a16="http://schemas.microsoft.com/office/drawing/2014/main" id="{D2A86956-14CC-CB78-347F-C8F6FBCAAEF4}"/>
                </a:ext>
              </a:extLst>
            </p:cNvPr>
            <p:cNvSpPr/>
            <p:nvPr/>
          </p:nvSpPr>
          <p:spPr>
            <a:xfrm>
              <a:off x="5349248" y="4291990"/>
              <a:ext cx="57225" cy="41998"/>
            </a:xfrm>
            <a:custGeom>
              <a:avLst/>
              <a:gdLst>
                <a:gd name="connsiteX0" fmla="*/ 0 w 57225"/>
                <a:gd name="connsiteY0" fmla="*/ 27915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3 w 57225"/>
                <a:gd name="connsiteY4" fmla="*/ 0 h 41998"/>
                <a:gd name="connsiteX5" fmla="*/ 38193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7915 h 41998"/>
                <a:gd name="connsiteX8" fmla="*/ 38193 w 57225"/>
                <a:gd name="connsiteY8" fmla="*/ 27915 h 41998"/>
                <a:gd name="connsiteX9" fmla="*/ 38193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7915 h 41998"/>
                <a:gd name="connsiteX12" fmla="*/ 0 w 57225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7915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3" y="0"/>
                  </a:lnTo>
                  <a:lnTo>
                    <a:pt x="38193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193" y="27915"/>
                  </a:lnTo>
                  <a:lnTo>
                    <a:pt x="38193" y="41999"/>
                  </a:lnTo>
                  <a:lnTo>
                    <a:pt x="19033" y="41999"/>
                  </a:lnTo>
                  <a:lnTo>
                    <a:pt x="19033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4" name="Freihandform: Form 293">
              <a:extLst>
                <a:ext uri="{FF2B5EF4-FFF2-40B4-BE49-F238E27FC236}">
                  <a16:creationId xmlns:a16="http://schemas.microsoft.com/office/drawing/2014/main" id="{95A66198-3F56-37A2-8C85-1B388C4AC901}"/>
                </a:ext>
              </a:extLst>
            </p:cNvPr>
            <p:cNvSpPr/>
            <p:nvPr/>
          </p:nvSpPr>
          <p:spPr>
            <a:xfrm>
              <a:off x="5434388" y="4291990"/>
              <a:ext cx="57224" cy="41998"/>
            </a:xfrm>
            <a:custGeom>
              <a:avLst/>
              <a:gdLst>
                <a:gd name="connsiteX0" fmla="*/ 0 w 57224"/>
                <a:gd name="connsiteY0" fmla="*/ 27915 h 41998"/>
                <a:gd name="connsiteX1" fmla="*/ 0 w 57224"/>
                <a:gd name="connsiteY1" fmla="*/ 13957 h 41998"/>
                <a:gd name="connsiteX2" fmla="*/ 19033 w 57224"/>
                <a:gd name="connsiteY2" fmla="*/ 13957 h 41998"/>
                <a:gd name="connsiteX3" fmla="*/ 19033 w 57224"/>
                <a:gd name="connsiteY3" fmla="*/ 0 h 41998"/>
                <a:gd name="connsiteX4" fmla="*/ 38066 w 57224"/>
                <a:gd name="connsiteY4" fmla="*/ 0 h 41998"/>
                <a:gd name="connsiteX5" fmla="*/ 38066 w 57224"/>
                <a:gd name="connsiteY5" fmla="*/ 13957 h 41998"/>
                <a:gd name="connsiteX6" fmla="*/ 57225 w 57224"/>
                <a:gd name="connsiteY6" fmla="*/ 13957 h 41998"/>
                <a:gd name="connsiteX7" fmla="*/ 57225 w 57224"/>
                <a:gd name="connsiteY7" fmla="*/ 27915 h 41998"/>
                <a:gd name="connsiteX8" fmla="*/ 38066 w 57224"/>
                <a:gd name="connsiteY8" fmla="*/ 27915 h 41998"/>
                <a:gd name="connsiteX9" fmla="*/ 38066 w 57224"/>
                <a:gd name="connsiteY9" fmla="*/ 41999 h 41998"/>
                <a:gd name="connsiteX10" fmla="*/ 19033 w 57224"/>
                <a:gd name="connsiteY10" fmla="*/ 41999 h 41998"/>
                <a:gd name="connsiteX11" fmla="*/ 19033 w 57224"/>
                <a:gd name="connsiteY11" fmla="*/ 27915 h 41998"/>
                <a:gd name="connsiteX12" fmla="*/ 0 w 57224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4" h="41998">
                  <a:moveTo>
                    <a:pt x="0" y="27915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066" y="0"/>
                  </a:lnTo>
                  <a:lnTo>
                    <a:pt x="38066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066" y="27915"/>
                  </a:lnTo>
                  <a:lnTo>
                    <a:pt x="38066" y="41999"/>
                  </a:lnTo>
                  <a:lnTo>
                    <a:pt x="19033" y="41999"/>
                  </a:lnTo>
                  <a:lnTo>
                    <a:pt x="19033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5" name="Freihandform: Form 294">
              <a:extLst>
                <a:ext uri="{FF2B5EF4-FFF2-40B4-BE49-F238E27FC236}">
                  <a16:creationId xmlns:a16="http://schemas.microsoft.com/office/drawing/2014/main" id="{04D2938A-E796-EE88-F83A-B3D751F9CB63}"/>
                </a:ext>
              </a:extLst>
            </p:cNvPr>
            <p:cNvSpPr/>
            <p:nvPr/>
          </p:nvSpPr>
          <p:spPr>
            <a:xfrm>
              <a:off x="5635502" y="4291990"/>
              <a:ext cx="57224" cy="41998"/>
            </a:xfrm>
            <a:custGeom>
              <a:avLst/>
              <a:gdLst>
                <a:gd name="connsiteX0" fmla="*/ 0 w 57224"/>
                <a:gd name="connsiteY0" fmla="*/ 27915 h 41998"/>
                <a:gd name="connsiteX1" fmla="*/ 0 w 57224"/>
                <a:gd name="connsiteY1" fmla="*/ 13957 h 41998"/>
                <a:gd name="connsiteX2" fmla="*/ 19033 w 57224"/>
                <a:gd name="connsiteY2" fmla="*/ 13957 h 41998"/>
                <a:gd name="connsiteX3" fmla="*/ 19033 w 57224"/>
                <a:gd name="connsiteY3" fmla="*/ 0 h 41998"/>
                <a:gd name="connsiteX4" fmla="*/ 38192 w 57224"/>
                <a:gd name="connsiteY4" fmla="*/ 0 h 41998"/>
                <a:gd name="connsiteX5" fmla="*/ 38192 w 57224"/>
                <a:gd name="connsiteY5" fmla="*/ 13957 h 41998"/>
                <a:gd name="connsiteX6" fmla="*/ 57225 w 57224"/>
                <a:gd name="connsiteY6" fmla="*/ 13957 h 41998"/>
                <a:gd name="connsiteX7" fmla="*/ 57225 w 57224"/>
                <a:gd name="connsiteY7" fmla="*/ 27915 h 41998"/>
                <a:gd name="connsiteX8" fmla="*/ 38192 w 57224"/>
                <a:gd name="connsiteY8" fmla="*/ 27915 h 41998"/>
                <a:gd name="connsiteX9" fmla="*/ 38192 w 57224"/>
                <a:gd name="connsiteY9" fmla="*/ 41999 h 41998"/>
                <a:gd name="connsiteX10" fmla="*/ 19033 w 57224"/>
                <a:gd name="connsiteY10" fmla="*/ 41999 h 41998"/>
                <a:gd name="connsiteX11" fmla="*/ 19033 w 57224"/>
                <a:gd name="connsiteY11" fmla="*/ 27915 h 41998"/>
                <a:gd name="connsiteX12" fmla="*/ 0 w 57224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4" h="41998">
                  <a:moveTo>
                    <a:pt x="0" y="27915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6" name="Freihandform: Form 295">
              <a:extLst>
                <a:ext uri="{FF2B5EF4-FFF2-40B4-BE49-F238E27FC236}">
                  <a16:creationId xmlns:a16="http://schemas.microsoft.com/office/drawing/2014/main" id="{C50EC7CE-895E-E82D-6A73-7D8BEE77F889}"/>
                </a:ext>
              </a:extLst>
            </p:cNvPr>
            <p:cNvSpPr/>
            <p:nvPr/>
          </p:nvSpPr>
          <p:spPr>
            <a:xfrm>
              <a:off x="5650982" y="4291990"/>
              <a:ext cx="57224" cy="41998"/>
            </a:xfrm>
            <a:custGeom>
              <a:avLst/>
              <a:gdLst>
                <a:gd name="connsiteX0" fmla="*/ 0 w 57224"/>
                <a:gd name="connsiteY0" fmla="*/ 27915 h 41998"/>
                <a:gd name="connsiteX1" fmla="*/ 0 w 57224"/>
                <a:gd name="connsiteY1" fmla="*/ 13957 h 41998"/>
                <a:gd name="connsiteX2" fmla="*/ 19033 w 57224"/>
                <a:gd name="connsiteY2" fmla="*/ 13957 h 41998"/>
                <a:gd name="connsiteX3" fmla="*/ 19033 w 57224"/>
                <a:gd name="connsiteY3" fmla="*/ 0 h 41998"/>
                <a:gd name="connsiteX4" fmla="*/ 38192 w 57224"/>
                <a:gd name="connsiteY4" fmla="*/ 0 h 41998"/>
                <a:gd name="connsiteX5" fmla="*/ 38192 w 57224"/>
                <a:gd name="connsiteY5" fmla="*/ 13957 h 41998"/>
                <a:gd name="connsiteX6" fmla="*/ 57225 w 57224"/>
                <a:gd name="connsiteY6" fmla="*/ 13957 h 41998"/>
                <a:gd name="connsiteX7" fmla="*/ 57225 w 57224"/>
                <a:gd name="connsiteY7" fmla="*/ 27915 h 41998"/>
                <a:gd name="connsiteX8" fmla="*/ 38192 w 57224"/>
                <a:gd name="connsiteY8" fmla="*/ 27915 h 41998"/>
                <a:gd name="connsiteX9" fmla="*/ 38192 w 57224"/>
                <a:gd name="connsiteY9" fmla="*/ 41999 h 41998"/>
                <a:gd name="connsiteX10" fmla="*/ 19033 w 57224"/>
                <a:gd name="connsiteY10" fmla="*/ 41999 h 41998"/>
                <a:gd name="connsiteX11" fmla="*/ 19033 w 57224"/>
                <a:gd name="connsiteY11" fmla="*/ 27915 h 41998"/>
                <a:gd name="connsiteX12" fmla="*/ 0 w 57224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4" h="41998">
                  <a:moveTo>
                    <a:pt x="0" y="27915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7" name="Freihandform: Form 296">
              <a:extLst>
                <a:ext uri="{FF2B5EF4-FFF2-40B4-BE49-F238E27FC236}">
                  <a16:creationId xmlns:a16="http://schemas.microsoft.com/office/drawing/2014/main" id="{295E8337-D56A-8F0D-498E-70130603DC98}"/>
                </a:ext>
              </a:extLst>
            </p:cNvPr>
            <p:cNvSpPr/>
            <p:nvPr/>
          </p:nvSpPr>
          <p:spPr>
            <a:xfrm>
              <a:off x="5708968" y="4291990"/>
              <a:ext cx="57225" cy="41998"/>
            </a:xfrm>
            <a:custGeom>
              <a:avLst/>
              <a:gdLst>
                <a:gd name="connsiteX0" fmla="*/ 0 w 57225"/>
                <a:gd name="connsiteY0" fmla="*/ 27915 h 41998"/>
                <a:gd name="connsiteX1" fmla="*/ 0 w 57225"/>
                <a:gd name="connsiteY1" fmla="*/ 13957 h 41998"/>
                <a:gd name="connsiteX2" fmla="*/ 19160 w 57225"/>
                <a:gd name="connsiteY2" fmla="*/ 13957 h 41998"/>
                <a:gd name="connsiteX3" fmla="*/ 19160 w 57225"/>
                <a:gd name="connsiteY3" fmla="*/ 0 h 41998"/>
                <a:gd name="connsiteX4" fmla="*/ 38193 w 57225"/>
                <a:gd name="connsiteY4" fmla="*/ 0 h 41998"/>
                <a:gd name="connsiteX5" fmla="*/ 38193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7915 h 41998"/>
                <a:gd name="connsiteX8" fmla="*/ 38193 w 57225"/>
                <a:gd name="connsiteY8" fmla="*/ 27915 h 41998"/>
                <a:gd name="connsiteX9" fmla="*/ 38193 w 57225"/>
                <a:gd name="connsiteY9" fmla="*/ 41999 h 41998"/>
                <a:gd name="connsiteX10" fmla="*/ 19160 w 57225"/>
                <a:gd name="connsiteY10" fmla="*/ 41999 h 41998"/>
                <a:gd name="connsiteX11" fmla="*/ 19160 w 57225"/>
                <a:gd name="connsiteY11" fmla="*/ 27915 h 41998"/>
                <a:gd name="connsiteX12" fmla="*/ 0 w 57225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7915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3" y="0"/>
                  </a:lnTo>
                  <a:lnTo>
                    <a:pt x="38193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193" y="27915"/>
                  </a:lnTo>
                  <a:lnTo>
                    <a:pt x="38193" y="41999"/>
                  </a:lnTo>
                  <a:lnTo>
                    <a:pt x="19160" y="41999"/>
                  </a:lnTo>
                  <a:lnTo>
                    <a:pt x="19160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8" name="Freihandform: Form 297">
              <a:extLst>
                <a:ext uri="{FF2B5EF4-FFF2-40B4-BE49-F238E27FC236}">
                  <a16:creationId xmlns:a16="http://schemas.microsoft.com/office/drawing/2014/main" id="{F9658645-FCA3-82D4-BE6E-7F758B42D027}"/>
                </a:ext>
              </a:extLst>
            </p:cNvPr>
            <p:cNvSpPr/>
            <p:nvPr/>
          </p:nvSpPr>
          <p:spPr>
            <a:xfrm>
              <a:off x="5747668" y="4291990"/>
              <a:ext cx="57224" cy="41998"/>
            </a:xfrm>
            <a:custGeom>
              <a:avLst/>
              <a:gdLst>
                <a:gd name="connsiteX0" fmla="*/ 0 w 57224"/>
                <a:gd name="connsiteY0" fmla="*/ 27915 h 41998"/>
                <a:gd name="connsiteX1" fmla="*/ 0 w 57224"/>
                <a:gd name="connsiteY1" fmla="*/ 13957 h 41998"/>
                <a:gd name="connsiteX2" fmla="*/ 19033 w 57224"/>
                <a:gd name="connsiteY2" fmla="*/ 13957 h 41998"/>
                <a:gd name="connsiteX3" fmla="*/ 19033 w 57224"/>
                <a:gd name="connsiteY3" fmla="*/ 0 h 41998"/>
                <a:gd name="connsiteX4" fmla="*/ 38192 w 57224"/>
                <a:gd name="connsiteY4" fmla="*/ 0 h 41998"/>
                <a:gd name="connsiteX5" fmla="*/ 38192 w 57224"/>
                <a:gd name="connsiteY5" fmla="*/ 13957 h 41998"/>
                <a:gd name="connsiteX6" fmla="*/ 57225 w 57224"/>
                <a:gd name="connsiteY6" fmla="*/ 13957 h 41998"/>
                <a:gd name="connsiteX7" fmla="*/ 57225 w 57224"/>
                <a:gd name="connsiteY7" fmla="*/ 27915 h 41998"/>
                <a:gd name="connsiteX8" fmla="*/ 38192 w 57224"/>
                <a:gd name="connsiteY8" fmla="*/ 27915 h 41998"/>
                <a:gd name="connsiteX9" fmla="*/ 38192 w 57224"/>
                <a:gd name="connsiteY9" fmla="*/ 41999 h 41998"/>
                <a:gd name="connsiteX10" fmla="*/ 19033 w 57224"/>
                <a:gd name="connsiteY10" fmla="*/ 41999 h 41998"/>
                <a:gd name="connsiteX11" fmla="*/ 19033 w 57224"/>
                <a:gd name="connsiteY11" fmla="*/ 27915 h 41998"/>
                <a:gd name="connsiteX12" fmla="*/ 0 w 57224"/>
                <a:gd name="connsiteY12" fmla="*/ 27915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4" h="41998">
                  <a:moveTo>
                    <a:pt x="0" y="27915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2" y="0"/>
                  </a:lnTo>
                  <a:lnTo>
                    <a:pt x="38192" y="13957"/>
                  </a:lnTo>
                  <a:lnTo>
                    <a:pt x="57225" y="13957"/>
                  </a:lnTo>
                  <a:lnTo>
                    <a:pt x="57225" y="27915"/>
                  </a:lnTo>
                  <a:lnTo>
                    <a:pt x="38192" y="27915"/>
                  </a:lnTo>
                  <a:lnTo>
                    <a:pt x="38192" y="41999"/>
                  </a:lnTo>
                  <a:lnTo>
                    <a:pt x="19033" y="41999"/>
                  </a:lnTo>
                  <a:lnTo>
                    <a:pt x="19033" y="27915"/>
                  </a:lnTo>
                  <a:lnTo>
                    <a:pt x="0" y="27915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9" name="Freihandform: Form 298">
              <a:extLst>
                <a:ext uri="{FF2B5EF4-FFF2-40B4-BE49-F238E27FC236}">
                  <a16:creationId xmlns:a16="http://schemas.microsoft.com/office/drawing/2014/main" id="{A06B699D-602D-FDCA-F5F1-F1B3F6EE8726}"/>
                </a:ext>
              </a:extLst>
            </p:cNvPr>
            <p:cNvSpPr/>
            <p:nvPr/>
          </p:nvSpPr>
          <p:spPr>
            <a:xfrm>
              <a:off x="6006895" y="4413546"/>
              <a:ext cx="57351" cy="41998"/>
            </a:xfrm>
            <a:custGeom>
              <a:avLst/>
              <a:gdLst>
                <a:gd name="connsiteX0" fmla="*/ 0 w 57351"/>
                <a:gd name="connsiteY0" fmla="*/ 28042 h 41998"/>
                <a:gd name="connsiteX1" fmla="*/ 0 w 57351"/>
                <a:gd name="connsiteY1" fmla="*/ 13957 h 41998"/>
                <a:gd name="connsiteX2" fmla="*/ 19160 w 57351"/>
                <a:gd name="connsiteY2" fmla="*/ 13957 h 41998"/>
                <a:gd name="connsiteX3" fmla="*/ 19160 w 57351"/>
                <a:gd name="connsiteY3" fmla="*/ 0 h 41998"/>
                <a:gd name="connsiteX4" fmla="*/ 38193 w 57351"/>
                <a:gd name="connsiteY4" fmla="*/ 0 h 41998"/>
                <a:gd name="connsiteX5" fmla="*/ 38193 w 57351"/>
                <a:gd name="connsiteY5" fmla="*/ 13957 h 41998"/>
                <a:gd name="connsiteX6" fmla="*/ 57352 w 57351"/>
                <a:gd name="connsiteY6" fmla="*/ 13957 h 41998"/>
                <a:gd name="connsiteX7" fmla="*/ 57352 w 57351"/>
                <a:gd name="connsiteY7" fmla="*/ 28042 h 41998"/>
                <a:gd name="connsiteX8" fmla="*/ 38193 w 57351"/>
                <a:gd name="connsiteY8" fmla="*/ 28042 h 41998"/>
                <a:gd name="connsiteX9" fmla="*/ 38193 w 57351"/>
                <a:gd name="connsiteY9" fmla="*/ 41999 h 41998"/>
                <a:gd name="connsiteX10" fmla="*/ 19160 w 57351"/>
                <a:gd name="connsiteY10" fmla="*/ 41999 h 41998"/>
                <a:gd name="connsiteX11" fmla="*/ 19160 w 57351"/>
                <a:gd name="connsiteY11" fmla="*/ 28042 h 41998"/>
                <a:gd name="connsiteX12" fmla="*/ 0 w 57351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51" h="41998">
                  <a:moveTo>
                    <a:pt x="0" y="28042"/>
                  </a:moveTo>
                  <a:lnTo>
                    <a:pt x="0" y="13957"/>
                  </a:lnTo>
                  <a:lnTo>
                    <a:pt x="19160" y="13957"/>
                  </a:lnTo>
                  <a:lnTo>
                    <a:pt x="19160" y="0"/>
                  </a:lnTo>
                  <a:lnTo>
                    <a:pt x="38193" y="0"/>
                  </a:lnTo>
                  <a:lnTo>
                    <a:pt x="38193" y="13957"/>
                  </a:lnTo>
                  <a:lnTo>
                    <a:pt x="57352" y="13957"/>
                  </a:lnTo>
                  <a:lnTo>
                    <a:pt x="57352" y="28042"/>
                  </a:lnTo>
                  <a:lnTo>
                    <a:pt x="38193" y="28042"/>
                  </a:lnTo>
                  <a:lnTo>
                    <a:pt x="38193" y="41999"/>
                  </a:lnTo>
                  <a:lnTo>
                    <a:pt x="19160" y="41999"/>
                  </a:lnTo>
                  <a:lnTo>
                    <a:pt x="19160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0" name="Freihandform: Form 299">
              <a:extLst>
                <a:ext uri="{FF2B5EF4-FFF2-40B4-BE49-F238E27FC236}">
                  <a16:creationId xmlns:a16="http://schemas.microsoft.com/office/drawing/2014/main" id="{29046292-49CC-A609-0BD0-B47E433EA484}"/>
                </a:ext>
              </a:extLst>
            </p:cNvPr>
            <p:cNvSpPr/>
            <p:nvPr/>
          </p:nvSpPr>
          <p:spPr>
            <a:xfrm>
              <a:off x="6743971" y="4413546"/>
              <a:ext cx="57225" cy="41998"/>
            </a:xfrm>
            <a:custGeom>
              <a:avLst/>
              <a:gdLst>
                <a:gd name="connsiteX0" fmla="*/ 0 w 57225"/>
                <a:gd name="connsiteY0" fmla="*/ 28042 h 41998"/>
                <a:gd name="connsiteX1" fmla="*/ 0 w 57225"/>
                <a:gd name="connsiteY1" fmla="*/ 13957 h 41998"/>
                <a:gd name="connsiteX2" fmla="*/ 19033 w 57225"/>
                <a:gd name="connsiteY2" fmla="*/ 13957 h 41998"/>
                <a:gd name="connsiteX3" fmla="*/ 19033 w 57225"/>
                <a:gd name="connsiteY3" fmla="*/ 0 h 41998"/>
                <a:gd name="connsiteX4" fmla="*/ 38193 w 57225"/>
                <a:gd name="connsiteY4" fmla="*/ 0 h 41998"/>
                <a:gd name="connsiteX5" fmla="*/ 38193 w 57225"/>
                <a:gd name="connsiteY5" fmla="*/ 13957 h 41998"/>
                <a:gd name="connsiteX6" fmla="*/ 57225 w 57225"/>
                <a:gd name="connsiteY6" fmla="*/ 13957 h 41998"/>
                <a:gd name="connsiteX7" fmla="*/ 57225 w 57225"/>
                <a:gd name="connsiteY7" fmla="*/ 28042 h 41998"/>
                <a:gd name="connsiteX8" fmla="*/ 38193 w 57225"/>
                <a:gd name="connsiteY8" fmla="*/ 28042 h 41998"/>
                <a:gd name="connsiteX9" fmla="*/ 38193 w 57225"/>
                <a:gd name="connsiteY9" fmla="*/ 41999 h 41998"/>
                <a:gd name="connsiteX10" fmla="*/ 19033 w 57225"/>
                <a:gd name="connsiteY10" fmla="*/ 41999 h 41998"/>
                <a:gd name="connsiteX11" fmla="*/ 19033 w 57225"/>
                <a:gd name="connsiteY11" fmla="*/ 28042 h 41998"/>
                <a:gd name="connsiteX12" fmla="*/ 0 w 57225"/>
                <a:gd name="connsiteY12" fmla="*/ 2804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25" h="41998">
                  <a:moveTo>
                    <a:pt x="0" y="28042"/>
                  </a:moveTo>
                  <a:lnTo>
                    <a:pt x="0" y="13957"/>
                  </a:lnTo>
                  <a:lnTo>
                    <a:pt x="19033" y="13957"/>
                  </a:lnTo>
                  <a:lnTo>
                    <a:pt x="19033" y="0"/>
                  </a:lnTo>
                  <a:lnTo>
                    <a:pt x="38193" y="0"/>
                  </a:lnTo>
                  <a:lnTo>
                    <a:pt x="38193" y="13957"/>
                  </a:lnTo>
                  <a:lnTo>
                    <a:pt x="57225" y="13957"/>
                  </a:lnTo>
                  <a:lnTo>
                    <a:pt x="57225" y="28042"/>
                  </a:lnTo>
                  <a:lnTo>
                    <a:pt x="38193" y="28042"/>
                  </a:lnTo>
                  <a:lnTo>
                    <a:pt x="38193" y="41999"/>
                  </a:lnTo>
                  <a:lnTo>
                    <a:pt x="19033" y="41999"/>
                  </a:lnTo>
                  <a:lnTo>
                    <a:pt x="19033" y="28042"/>
                  </a:lnTo>
                  <a:lnTo>
                    <a:pt x="0" y="28042"/>
                  </a:lnTo>
                  <a:close/>
                </a:path>
              </a:pathLst>
            </a:custGeom>
            <a:solidFill>
              <a:srgbClr val="0460A9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330" name="Gruppieren 329">
            <a:extLst>
              <a:ext uri="{FF2B5EF4-FFF2-40B4-BE49-F238E27FC236}">
                <a16:creationId xmlns:a16="http://schemas.microsoft.com/office/drawing/2014/main" id="{E340C360-8EFC-58CD-64A0-BB83CBD963D3}"/>
              </a:ext>
            </a:extLst>
          </p:cNvPr>
          <p:cNvGrpSpPr/>
          <p:nvPr/>
        </p:nvGrpSpPr>
        <p:grpSpPr>
          <a:xfrm>
            <a:off x="1419401" y="1531178"/>
            <a:ext cx="4255129" cy="2181941"/>
            <a:chOff x="1109886" y="1672064"/>
            <a:chExt cx="6046842" cy="3100694"/>
          </a:xfrm>
        </p:grpSpPr>
        <p:sp>
          <p:nvSpPr>
            <p:cNvPr id="301" name="Freihandform: Form 300">
              <a:extLst>
                <a:ext uri="{FF2B5EF4-FFF2-40B4-BE49-F238E27FC236}">
                  <a16:creationId xmlns:a16="http://schemas.microsoft.com/office/drawing/2014/main" id="{92CE6CC9-AAA8-F239-E6EF-9B4B48AC71E1}"/>
                </a:ext>
              </a:extLst>
            </p:cNvPr>
            <p:cNvSpPr/>
            <p:nvPr/>
          </p:nvSpPr>
          <p:spPr>
            <a:xfrm>
              <a:off x="1163304" y="4733551"/>
              <a:ext cx="5993424" cy="12688"/>
            </a:xfrm>
            <a:custGeom>
              <a:avLst/>
              <a:gdLst>
                <a:gd name="connsiteX0" fmla="*/ 0 w 5993424"/>
                <a:gd name="connsiteY0" fmla="*/ 0 h 12688"/>
                <a:gd name="connsiteX1" fmla="*/ 5993425 w 5993424"/>
                <a:gd name="connsiteY1" fmla="*/ 0 h 12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93424" h="12688">
                  <a:moveTo>
                    <a:pt x="0" y="0"/>
                  </a:moveTo>
                  <a:lnTo>
                    <a:pt x="5993425" y="0"/>
                  </a:lnTo>
                </a:path>
              </a:pathLst>
            </a:custGeom>
            <a:ln w="10144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2" name="Freihandform: Form 301">
              <a:extLst>
                <a:ext uri="{FF2B5EF4-FFF2-40B4-BE49-F238E27FC236}">
                  <a16:creationId xmlns:a16="http://schemas.microsoft.com/office/drawing/2014/main" id="{7C5FC8A1-CC17-8CD8-B265-058AC5D1AC96}"/>
                </a:ext>
              </a:extLst>
            </p:cNvPr>
            <p:cNvSpPr/>
            <p:nvPr/>
          </p:nvSpPr>
          <p:spPr>
            <a:xfrm>
              <a:off x="1344496" y="4733551"/>
              <a:ext cx="12688" cy="39207"/>
            </a:xfrm>
            <a:custGeom>
              <a:avLst/>
              <a:gdLst>
                <a:gd name="connsiteX0" fmla="*/ 0 w 12688"/>
                <a:gd name="connsiteY0" fmla="*/ 0 h 39207"/>
                <a:gd name="connsiteX1" fmla="*/ 0 w 12688"/>
                <a:gd name="connsiteY1" fmla="*/ 39207 h 39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88" h="39207">
                  <a:moveTo>
                    <a:pt x="0" y="0"/>
                  </a:moveTo>
                  <a:lnTo>
                    <a:pt x="0" y="39207"/>
                  </a:lnTo>
                </a:path>
              </a:pathLst>
            </a:custGeom>
            <a:ln w="10144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3" name="Freihandform: Form 302">
              <a:extLst>
                <a:ext uri="{FF2B5EF4-FFF2-40B4-BE49-F238E27FC236}">
                  <a16:creationId xmlns:a16="http://schemas.microsoft.com/office/drawing/2014/main" id="{1E178E15-3723-9E6B-3A21-60FF3BF70700}"/>
                </a:ext>
              </a:extLst>
            </p:cNvPr>
            <p:cNvSpPr/>
            <p:nvPr/>
          </p:nvSpPr>
          <p:spPr>
            <a:xfrm>
              <a:off x="1697237" y="4733551"/>
              <a:ext cx="12688" cy="39207"/>
            </a:xfrm>
            <a:custGeom>
              <a:avLst/>
              <a:gdLst>
                <a:gd name="connsiteX0" fmla="*/ 0 w 12688"/>
                <a:gd name="connsiteY0" fmla="*/ 0 h 39207"/>
                <a:gd name="connsiteX1" fmla="*/ 0 w 12688"/>
                <a:gd name="connsiteY1" fmla="*/ 39207 h 39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88" h="39207">
                  <a:moveTo>
                    <a:pt x="0" y="0"/>
                  </a:moveTo>
                  <a:lnTo>
                    <a:pt x="0" y="39207"/>
                  </a:lnTo>
                </a:path>
              </a:pathLst>
            </a:custGeom>
            <a:ln w="10144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4" name="Freihandform: Form 303">
              <a:extLst>
                <a:ext uri="{FF2B5EF4-FFF2-40B4-BE49-F238E27FC236}">
                  <a16:creationId xmlns:a16="http://schemas.microsoft.com/office/drawing/2014/main" id="{54BCF758-C884-6A83-DEE1-17448410AC33}"/>
                </a:ext>
              </a:extLst>
            </p:cNvPr>
            <p:cNvSpPr/>
            <p:nvPr/>
          </p:nvSpPr>
          <p:spPr>
            <a:xfrm>
              <a:off x="2050105" y="4733551"/>
              <a:ext cx="12688" cy="39207"/>
            </a:xfrm>
            <a:custGeom>
              <a:avLst/>
              <a:gdLst>
                <a:gd name="connsiteX0" fmla="*/ 0 w 12688"/>
                <a:gd name="connsiteY0" fmla="*/ 0 h 39207"/>
                <a:gd name="connsiteX1" fmla="*/ 0 w 12688"/>
                <a:gd name="connsiteY1" fmla="*/ 39207 h 39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88" h="39207">
                  <a:moveTo>
                    <a:pt x="0" y="0"/>
                  </a:moveTo>
                  <a:lnTo>
                    <a:pt x="0" y="39207"/>
                  </a:lnTo>
                </a:path>
              </a:pathLst>
            </a:custGeom>
            <a:ln w="10144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5" name="Freihandform: Form 304">
              <a:extLst>
                <a:ext uri="{FF2B5EF4-FFF2-40B4-BE49-F238E27FC236}">
                  <a16:creationId xmlns:a16="http://schemas.microsoft.com/office/drawing/2014/main" id="{7144F42A-11F8-5212-3F90-3A732E4A4B9C}"/>
                </a:ext>
              </a:extLst>
            </p:cNvPr>
            <p:cNvSpPr/>
            <p:nvPr/>
          </p:nvSpPr>
          <p:spPr>
            <a:xfrm>
              <a:off x="2402973" y="4733551"/>
              <a:ext cx="12688" cy="39207"/>
            </a:xfrm>
            <a:custGeom>
              <a:avLst/>
              <a:gdLst>
                <a:gd name="connsiteX0" fmla="*/ 0 w 12688"/>
                <a:gd name="connsiteY0" fmla="*/ 0 h 39207"/>
                <a:gd name="connsiteX1" fmla="*/ 0 w 12688"/>
                <a:gd name="connsiteY1" fmla="*/ 39207 h 39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88" h="39207">
                  <a:moveTo>
                    <a:pt x="0" y="0"/>
                  </a:moveTo>
                  <a:lnTo>
                    <a:pt x="0" y="39207"/>
                  </a:lnTo>
                </a:path>
              </a:pathLst>
            </a:custGeom>
            <a:ln w="10144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6" name="Freihandform: Form 305">
              <a:extLst>
                <a:ext uri="{FF2B5EF4-FFF2-40B4-BE49-F238E27FC236}">
                  <a16:creationId xmlns:a16="http://schemas.microsoft.com/office/drawing/2014/main" id="{A8000F8E-C6E4-C055-B94B-71C3C68E2143}"/>
                </a:ext>
              </a:extLst>
            </p:cNvPr>
            <p:cNvSpPr/>
            <p:nvPr/>
          </p:nvSpPr>
          <p:spPr>
            <a:xfrm>
              <a:off x="2755841" y="4733551"/>
              <a:ext cx="12688" cy="39207"/>
            </a:xfrm>
            <a:custGeom>
              <a:avLst/>
              <a:gdLst>
                <a:gd name="connsiteX0" fmla="*/ 0 w 12688"/>
                <a:gd name="connsiteY0" fmla="*/ 0 h 39207"/>
                <a:gd name="connsiteX1" fmla="*/ 0 w 12688"/>
                <a:gd name="connsiteY1" fmla="*/ 39207 h 39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88" h="39207">
                  <a:moveTo>
                    <a:pt x="0" y="0"/>
                  </a:moveTo>
                  <a:lnTo>
                    <a:pt x="0" y="39207"/>
                  </a:lnTo>
                </a:path>
              </a:pathLst>
            </a:custGeom>
            <a:ln w="10144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7" name="Freihandform: Form 306">
              <a:extLst>
                <a:ext uri="{FF2B5EF4-FFF2-40B4-BE49-F238E27FC236}">
                  <a16:creationId xmlns:a16="http://schemas.microsoft.com/office/drawing/2014/main" id="{2D153AB0-9158-25D5-21A9-1E91341D1C1F}"/>
                </a:ext>
              </a:extLst>
            </p:cNvPr>
            <p:cNvSpPr/>
            <p:nvPr/>
          </p:nvSpPr>
          <p:spPr>
            <a:xfrm>
              <a:off x="3108582" y="4733551"/>
              <a:ext cx="12688" cy="39207"/>
            </a:xfrm>
            <a:custGeom>
              <a:avLst/>
              <a:gdLst>
                <a:gd name="connsiteX0" fmla="*/ 0 w 12688"/>
                <a:gd name="connsiteY0" fmla="*/ 0 h 39207"/>
                <a:gd name="connsiteX1" fmla="*/ 0 w 12688"/>
                <a:gd name="connsiteY1" fmla="*/ 39207 h 39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88" h="39207">
                  <a:moveTo>
                    <a:pt x="0" y="0"/>
                  </a:moveTo>
                  <a:lnTo>
                    <a:pt x="0" y="39207"/>
                  </a:lnTo>
                </a:path>
              </a:pathLst>
            </a:custGeom>
            <a:ln w="10144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8" name="Freihandform: Form 307">
              <a:extLst>
                <a:ext uri="{FF2B5EF4-FFF2-40B4-BE49-F238E27FC236}">
                  <a16:creationId xmlns:a16="http://schemas.microsoft.com/office/drawing/2014/main" id="{354836DA-22E9-1FA3-702F-6705D2E7D73C}"/>
                </a:ext>
              </a:extLst>
            </p:cNvPr>
            <p:cNvSpPr/>
            <p:nvPr/>
          </p:nvSpPr>
          <p:spPr>
            <a:xfrm>
              <a:off x="3461577" y="4733551"/>
              <a:ext cx="12688" cy="39207"/>
            </a:xfrm>
            <a:custGeom>
              <a:avLst/>
              <a:gdLst>
                <a:gd name="connsiteX0" fmla="*/ 0 w 12688"/>
                <a:gd name="connsiteY0" fmla="*/ 0 h 39207"/>
                <a:gd name="connsiteX1" fmla="*/ 0 w 12688"/>
                <a:gd name="connsiteY1" fmla="*/ 39207 h 39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88" h="39207">
                  <a:moveTo>
                    <a:pt x="0" y="0"/>
                  </a:moveTo>
                  <a:lnTo>
                    <a:pt x="0" y="39207"/>
                  </a:lnTo>
                </a:path>
              </a:pathLst>
            </a:custGeom>
            <a:ln w="10144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9" name="Freihandform: Form 308">
              <a:extLst>
                <a:ext uri="{FF2B5EF4-FFF2-40B4-BE49-F238E27FC236}">
                  <a16:creationId xmlns:a16="http://schemas.microsoft.com/office/drawing/2014/main" id="{EC4180CC-FAEF-4DC6-993E-8964A770DC83}"/>
                </a:ext>
              </a:extLst>
            </p:cNvPr>
            <p:cNvSpPr/>
            <p:nvPr/>
          </p:nvSpPr>
          <p:spPr>
            <a:xfrm>
              <a:off x="3814318" y="4733551"/>
              <a:ext cx="12688" cy="39207"/>
            </a:xfrm>
            <a:custGeom>
              <a:avLst/>
              <a:gdLst>
                <a:gd name="connsiteX0" fmla="*/ 0 w 12688"/>
                <a:gd name="connsiteY0" fmla="*/ 0 h 39207"/>
                <a:gd name="connsiteX1" fmla="*/ 0 w 12688"/>
                <a:gd name="connsiteY1" fmla="*/ 39207 h 39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88" h="39207">
                  <a:moveTo>
                    <a:pt x="0" y="0"/>
                  </a:moveTo>
                  <a:lnTo>
                    <a:pt x="0" y="39207"/>
                  </a:lnTo>
                </a:path>
              </a:pathLst>
            </a:custGeom>
            <a:ln w="10144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0" name="Freihandform: Form 309">
              <a:extLst>
                <a:ext uri="{FF2B5EF4-FFF2-40B4-BE49-F238E27FC236}">
                  <a16:creationId xmlns:a16="http://schemas.microsoft.com/office/drawing/2014/main" id="{2DE87907-27B9-B59D-2DAE-BDCA7C0CAD91}"/>
                </a:ext>
              </a:extLst>
            </p:cNvPr>
            <p:cNvSpPr/>
            <p:nvPr/>
          </p:nvSpPr>
          <p:spPr>
            <a:xfrm>
              <a:off x="4167185" y="4733551"/>
              <a:ext cx="12688" cy="39207"/>
            </a:xfrm>
            <a:custGeom>
              <a:avLst/>
              <a:gdLst>
                <a:gd name="connsiteX0" fmla="*/ 0 w 12688"/>
                <a:gd name="connsiteY0" fmla="*/ 0 h 39207"/>
                <a:gd name="connsiteX1" fmla="*/ 0 w 12688"/>
                <a:gd name="connsiteY1" fmla="*/ 39207 h 39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88" h="39207">
                  <a:moveTo>
                    <a:pt x="0" y="0"/>
                  </a:moveTo>
                  <a:lnTo>
                    <a:pt x="0" y="39207"/>
                  </a:lnTo>
                </a:path>
              </a:pathLst>
            </a:custGeom>
            <a:ln w="10144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1" name="Freihandform: Form 310">
              <a:extLst>
                <a:ext uri="{FF2B5EF4-FFF2-40B4-BE49-F238E27FC236}">
                  <a16:creationId xmlns:a16="http://schemas.microsoft.com/office/drawing/2014/main" id="{5903BC48-CC16-7225-31E1-B7973A341017}"/>
                </a:ext>
              </a:extLst>
            </p:cNvPr>
            <p:cNvSpPr/>
            <p:nvPr/>
          </p:nvSpPr>
          <p:spPr>
            <a:xfrm>
              <a:off x="4520180" y="4733551"/>
              <a:ext cx="12688" cy="39207"/>
            </a:xfrm>
            <a:custGeom>
              <a:avLst/>
              <a:gdLst>
                <a:gd name="connsiteX0" fmla="*/ 0 w 12688"/>
                <a:gd name="connsiteY0" fmla="*/ 0 h 39207"/>
                <a:gd name="connsiteX1" fmla="*/ 0 w 12688"/>
                <a:gd name="connsiteY1" fmla="*/ 39207 h 39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88" h="39207">
                  <a:moveTo>
                    <a:pt x="0" y="0"/>
                  </a:moveTo>
                  <a:lnTo>
                    <a:pt x="0" y="39207"/>
                  </a:lnTo>
                </a:path>
              </a:pathLst>
            </a:custGeom>
            <a:ln w="10144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2" name="Freihandform: Form 311">
              <a:extLst>
                <a:ext uri="{FF2B5EF4-FFF2-40B4-BE49-F238E27FC236}">
                  <a16:creationId xmlns:a16="http://schemas.microsoft.com/office/drawing/2014/main" id="{34EEF979-8764-4E6A-E32D-619AE6448214}"/>
                </a:ext>
              </a:extLst>
            </p:cNvPr>
            <p:cNvSpPr/>
            <p:nvPr/>
          </p:nvSpPr>
          <p:spPr>
            <a:xfrm>
              <a:off x="4872921" y="4733551"/>
              <a:ext cx="12688" cy="39207"/>
            </a:xfrm>
            <a:custGeom>
              <a:avLst/>
              <a:gdLst>
                <a:gd name="connsiteX0" fmla="*/ 0 w 12688"/>
                <a:gd name="connsiteY0" fmla="*/ 0 h 39207"/>
                <a:gd name="connsiteX1" fmla="*/ 0 w 12688"/>
                <a:gd name="connsiteY1" fmla="*/ 39207 h 39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88" h="39207">
                  <a:moveTo>
                    <a:pt x="0" y="0"/>
                  </a:moveTo>
                  <a:lnTo>
                    <a:pt x="0" y="39207"/>
                  </a:lnTo>
                </a:path>
              </a:pathLst>
            </a:custGeom>
            <a:ln w="10144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3" name="Freihandform: Form 312">
              <a:extLst>
                <a:ext uri="{FF2B5EF4-FFF2-40B4-BE49-F238E27FC236}">
                  <a16:creationId xmlns:a16="http://schemas.microsoft.com/office/drawing/2014/main" id="{ABD96AF3-9B7F-41AE-9AE9-46332CDF9317}"/>
                </a:ext>
              </a:extLst>
            </p:cNvPr>
            <p:cNvSpPr/>
            <p:nvPr/>
          </p:nvSpPr>
          <p:spPr>
            <a:xfrm>
              <a:off x="5225789" y="4733551"/>
              <a:ext cx="12688" cy="39207"/>
            </a:xfrm>
            <a:custGeom>
              <a:avLst/>
              <a:gdLst>
                <a:gd name="connsiteX0" fmla="*/ 0 w 12688"/>
                <a:gd name="connsiteY0" fmla="*/ 0 h 39207"/>
                <a:gd name="connsiteX1" fmla="*/ 0 w 12688"/>
                <a:gd name="connsiteY1" fmla="*/ 39207 h 39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88" h="39207">
                  <a:moveTo>
                    <a:pt x="0" y="0"/>
                  </a:moveTo>
                  <a:lnTo>
                    <a:pt x="0" y="39207"/>
                  </a:lnTo>
                </a:path>
              </a:pathLst>
            </a:custGeom>
            <a:ln w="10144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4" name="Freihandform: Form 313">
              <a:extLst>
                <a:ext uri="{FF2B5EF4-FFF2-40B4-BE49-F238E27FC236}">
                  <a16:creationId xmlns:a16="http://schemas.microsoft.com/office/drawing/2014/main" id="{5D0DD534-AEC7-055F-4839-90C9D41F8200}"/>
                </a:ext>
              </a:extLst>
            </p:cNvPr>
            <p:cNvSpPr/>
            <p:nvPr/>
          </p:nvSpPr>
          <p:spPr>
            <a:xfrm>
              <a:off x="5578657" y="4733551"/>
              <a:ext cx="12688" cy="39207"/>
            </a:xfrm>
            <a:custGeom>
              <a:avLst/>
              <a:gdLst>
                <a:gd name="connsiteX0" fmla="*/ 0 w 12688"/>
                <a:gd name="connsiteY0" fmla="*/ 0 h 39207"/>
                <a:gd name="connsiteX1" fmla="*/ 0 w 12688"/>
                <a:gd name="connsiteY1" fmla="*/ 39207 h 39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88" h="39207">
                  <a:moveTo>
                    <a:pt x="0" y="0"/>
                  </a:moveTo>
                  <a:lnTo>
                    <a:pt x="0" y="39207"/>
                  </a:lnTo>
                </a:path>
              </a:pathLst>
            </a:custGeom>
            <a:ln w="10144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5" name="Freihandform: Form 314">
              <a:extLst>
                <a:ext uri="{FF2B5EF4-FFF2-40B4-BE49-F238E27FC236}">
                  <a16:creationId xmlns:a16="http://schemas.microsoft.com/office/drawing/2014/main" id="{61394903-6E75-CAD1-32BD-48939D05B96E}"/>
                </a:ext>
              </a:extLst>
            </p:cNvPr>
            <p:cNvSpPr/>
            <p:nvPr/>
          </p:nvSpPr>
          <p:spPr>
            <a:xfrm>
              <a:off x="5931525" y="4733551"/>
              <a:ext cx="12688" cy="39207"/>
            </a:xfrm>
            <a:custGeom>
              <a:avLst/>
              <a:gdLst>
                <a:gd name="connsiteX0" fmla="*/ 0 w 12688"/>
                <a:gd name="connsiteY0" fmla="*/ 0 h 39207"/>
                <a:gd name="connsiteX1" fmla="*/ 0 w 12688"/>
                <a:gd name="connsiteY1" fmla="*/ 39207 h 39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88" h="39207">
                  <a:moveTo>
                    <a:pt x="0" y="0"/>
                  </a:moveTo>
                  <a:lnTo>
                    <a:pt x="0" y="39207"/>
                  </a:lnTo>
                </a:path>
              </a:pathLst>
            </a:custGeom>
            <a:ln w="10144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6" name="Freihandform: Form 315">
              <a:extLst>
                <a:ext uri="{FF2B5EF4-FFF2-40B4-BE49-F238E27FC236}">
                  <a16:creationId xmlns:a16="http://schemas.microsoft.com/office/drawing/2014/main" id="{27366645-C8F0-9814-BC60-3D9EA21523A4}"/>
                </a:ext>
              </a:extLst>
            </p:cNvPr>
            <p:cNvSpPr/>
            <p:nvPr/>
          </p:nvSpPr>
          <p:spPr>
            <a:xfrm>
              <a:off x="6284266" y="4733551"/>
              <a:ext cx="12688" cy="39207"/>
            </a:xfrm>
            <a:custGeom>
              <a:avLst/>
              <a:gdLst>
                <a:gd name="connsiteX0" fmla="*/ 0 w 12688"/>
                <a:gd name="connsiteY0" fmla="*/ 0 h 39207"/>
                <a:gd name="connsiteX1" fmla="*/ 0 w 12688"/>
                <a:gd name="connsiteY1" fmla="*/ 39207 h 39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88" h="39207">
                  <a:moveTo>
                    <a:pt x="0" y="0"/>
                  </a:moveTo>
                  <a:lnTo>
                    <a:pt x="0" y="39207"/>
                  </a:lnTo>
                </a:path>
              </a:pathLst>
            </a:custGeom>
            <a:ln w="10144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7" name="Freihandform: Form 316">
              <a:extLst>
                <a:ext uri="{FF2B5EF4-FFF2-40B4-BE49-F238E27FC236}">
                  <a16:creationId xmlns:a16="http://schemas.microsoft.com/office/drawing/2014/main" id="{B3960004-5404-A1CD-2742-5E39FF1B8F35}"/>
                </a:ext>
              </a:extLst>
            </p:cNvPr>
            <p:cNvSpPr/>
            <p:nvPr/>
          </p:nvSpPr>
          <p:spPr>
            <a:xfrm>
              <a:off x="6637260" y="4733551"/>
              <a:ext cx="12688" cy="39207"/>
            </a:xfrm>
            <a:custGeom>
              <a:avLst/>
              <a:gdLst>
                <a:gd name="connsiteX0" fmla="*/ 0 w 12688"/>
                <a:gd name="connsiteY0" fmla="*/ 0 h 39207"/>
                <a:gd name="connsiteX1" fmla="*/ 0 w 12688"/>
                <a:gd name="connsiteY1" fmla="*/ 39207 h 39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88" h="39207">
                  <a:moveTo>
                    <a:pt x="0" y="0"/>
                  </a:moveTo>
                  <a:lnTo>
                    <a:pt x="0" y="39207"/>
                  </a:lnTo>
                </a:path>
              </a:pathLst>
            </a:custGeom>
            <a:ln w="10144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8" name="Freihandform: Form 317">
              <a:extLst>
                <a:ext uri="{FF2B5EF4-FFF2-40B4-BE49-F238E27FC236}">
                  <a16:creationId xmlns:a16="http://schemas.microsoft.com/office/drawing/2014/main" id="{D359EB77-1CE1-3B7C-A331-946B4EDF9890}"/>
                </a:ext>
              </a:extLst>
            </p:cNvPr>
            <p:cNvSpPr/>
            <p:nvPr/>
          </p:nvSpPr>
          <p:spPr>
            <a:xfrm>
              <a:off x="1163304" y="1672064"/>
              <a:ext cx="12688" cy="3061487"/>
            </a:xfrm>
            <a:custGeom>
              <a:avLst/>
              <a:gdLst>
                <a:gd name="connsiteX0" fmla="*/ 0 w 12688"/>
                <a:gd name="connsiteY0" fmla="*/ 3061487 h 3061487"/>
                <a:gd name="connsiteX1" fmla="*/ 0 w 12688"/>
                <a:gd name="connsiteY1" fmla="*/ 0 h 3061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88" h="3061487">
                  <a:moveTo>
                    <a:pt x="0" y="3061487"/>
                  </a:moveTo>
                  <a:lnTo>
                    <a:pt x="0" y="0"/>
                  </a:lnTo>
                </a:path>
              </a:pathLst>
            </a:custGeom>
            <a:ln w="10144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9" name="Freihandform: Form 318">
              <a:extLst>
                <a:ext uri="{FF2B5EF4-FFF2-40B4-BE49-F238E27FC236}">
                  <a16:creationId xmlns:a16="http://schemas.microsoft.com/office/drawing/2014/main" id="{341760CD-0189-F77E-D75E-82DFB77AF6B0}"/>
                </a:ext>
              </a:extLst>
            </p:cNvPr>
            <p:cNvSpPr/>
            <p:nvPr/>
          </p:nvSpPr>
          <p:spPr>
            <a:xfrm>
              <a:off x="1109886" y="4677721"/>
              <a:ext cx="53418" cy="12688"/>
            </a:xfrm>
            <a:custGeom>
              <a:avLst/>
              <a:gdLst>
                <a:gd name="connsiteX0" fmla="*/ 53419 w 53418"/>
                <a:gd name="connsiteY0" fmla="*/ 0 h 12688"/>
                <a:gd name="connsiteX1" fmla="*/ 0 w 53418"/>
                <a:gd name="connsiteY1" fmla="*/ 0 h 12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18" h="12688">
                  <a:moveTo>
                    <a:pt x="53419" y="0"/>
                  </a:moveTo>
                  <a:lnTo>
                    <a:pt x="0" y="0"/>
                  </a:lnTo>
                </a:path>
              </a:pathLst>
            </a:custGeom>
            <a:ln w="10144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0" name="Freihandform: Form 319">
              <a:extLst>
                <a:ext uri="{FF2B5EF4-FFF2-40B4-BE49-F238E27FC236}">
                  <a16:creationId xmlns:a16="http://schemas.microsoft.com/office/drawing/2014/main" id="{F023CFB8-F976-5F5C-0680-7D7722AC7919}"/>
                </a:ext>
              </a:extLst>
            </p:cNvPr>
            <p:cNvSpPr/>
            <p:nvPr/>
          </p:nvSpPr>
          <p:spPr>
            <a:xfrm>
              <a:off x="1109886" y="4382713"/>
              <a:ext cx="53418" cy="12688"/>
            </a:xfrm>
            <a:custGeom>
              <a:avLst/>
              <a:gdLst>
                <a:gd name="connsiteX0" fmla="*/ 53419 w 53418"/>
                <a:gd name="connsiteY0" fmla="*/ 0 h 12688"/>
                <a:gd name="connsiteX1" fmla="*/ 0 w 53418"/>
                <a:gd name="connsiteY1" fmla="*/ 0 h 12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18" h="12688">
                  <a:moveTo>
                    <a:pt x="53419" y="0"/>
                  </a:moveTo>
                  <a:lnTo>
                    <a:pt x="0" y="0"/>
                  </a:lnTo>
                </a:path>
              </a:pathLst>
            </a:custGeom>
            <a:ln w="10144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1" name="Freihandform: Form 320">
              <a:extLst>
                <a:ext uri="{FF2B5EF4-FFF2-40B4-BE49-F238E27FC236}">
                  <a16:creationId xmlns:a16="http://schemas.microsoft.com/office/drawing/2014/main" id="{173BC437-8E90-372A-35A1-E4743255AD3B}"/>
                </a:ext>
              </a:extLst>
            </p:cNvPr>
            <p:cNvSpPr/>
            <p:nvPr/>
          </p:nvSpPr>
          <p:spPr>
            <a:xfrm>
              <a:off x="1109886" y="4087705"/>
              <a:ext cx="53418" cy="12688"/>
            </a:xfrm>
            <a:custGeom>
              <a:avLst/>
              <a:gdLst>
                <a:gd name="connsiteX0" fmla="*/ 53419 w 53418"/>
                <a:gd name="connsiteY0" fmla="*/ 0 h 12688"/>
                <a:gd name="connsiteX1" fmla="*/ 0 w 53418"/>
                <a:gd name="connsiteY1" fmla="*/ 0 h 12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18" h="12688">
                  <a:moveTo>
                    <a:pt x="53419" y="0"/>
                  </a:moveTo>
                  <a:lnTo>
                    <a:pt x="0" y="0"/>
                  </a:lnTo>
                </a:path>
              </a:pathLst>
            </a:custGeom>
            <a:ln w="10144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2" name="Freihandform: Form 321">
              <a:extLst>
                <a:ext uri="{FF2B5EF4-FFF2-40B4-BE49-F238E27FC236}">
                  <a16:creationId xmlns:a16="http://schemas.microsoft.com/office/drawing/2014/main" id="{2431E1F9-4091-D9DB-4212-DADDF8B221E7}"/>
                </a:ext>
              </a:extLst>
            </p:cNvPr>
            <p:cNvSpPr/>
            <p:nvPr/>
          </p:nvSpPr>
          <p:spPr>
            <a:xfrm>
              <a:off x="1109886" y="3792697"/>
              <a:ext cx="53418" cy="12688"/>
            </a:xfrm>
            <a:custGeom>
              <a:avLst/>
              <a:gdLst>
                <a:gd name="connsiteX0" fmla="*/ 53419 w 53418"/>
                <a:gd name="connsiteY0" fmla="*/ 0 h 12688"/>
                <a:gd name="connsiteX1" fmla="*/ 0 w 53418"/>
                <a:gd name="connsiteY1" fmla="*/ 0 h 12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18" h="12688">
                  <a:moveTo>
                    <a:pt x="53419" y="0"/>
                  </a:moveTo>
                  <a:lnTo>
                    <a:pt x="0" y="0"/>
                  </a:lnTo>
                </a:path>
              </a:pathLst>
            </a:custGeom>
            <a:ln w="10144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3" name="Freihandform: Form 322">
              <a:extLst>
                <a:ext uri="{FF2B5EF4-FFF2-40B4-BE49-F238E27FC236}">
                  <a16:creationId xmlns:a16="http://schemas.microsoft.com/office/drawing/2014/main" id="{09C1C7C6-7856-8D5F-FA19-82647A28C60F}"/>
                </a:ext>
              </a:extLst>
            </p:cNvPr>
            <p:cNvSpPr/>
            <p:nvPr/>
          </p:nvSpPr>
          <p:spPr>
            <a:xfrm>
              <a:off x="1109886" y="3497815"/>
              <a:ext cx="53418" cy="12688"/>
            </a:xfrm>
            <a:custGeom>
              <a:avLst/>
              <a:gdLst>
                <a:gd name="connsiteX0" fmla="*/ 53419 w 53418"/>
                <a:gd name="connsiteY0" fmla="*/ 0 h 12688"/>
                <a:gd name="connsiteX1" fmla="*/ 0 w 53418"/>
                <a:gd name="connsiteY1" fmla="*/ 0 h 12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18" h="12688">
                  <a:moveTo>
                    <a:pt x="53419" y="0"/>
                  </a:moveTo>
                  <a:lnTo>
                    <a:pt x="0" y="0"/>
                  </a:lnTo>
                </a:path>
              </a:pathLst>
            </a:custGeom>
            <a:ln w="10144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4" name="Freihandform: Form 323">
              <a:extLst>
                <a:ext uri="{FF2B5EF4-FFF2-40B4-BE49-F238E27FC236}">
                  <a16:creationId xmlns:a16="http://schemas.microsoft.com/office/drawing/2014/main" id="{A5686014-5E48-ED27-7385-DD03364BC233}"/>
                </a:ext>
              </a:extLst>
            </p:cNvPr>
            <p:cNvSpPr/>
            <p:nvPr/>
          </p:nvSpPr>
          <p:spPr>
            <a:xfrm>
              <a:off x="1109886" y="3202807"/>
              <a:ext cx="53418" cy="12688"/>
            </a:xfrm>
            <a:custGeom>
              <a:avLst/>
              <a:gdLst>
                <a:gd name="connsiteX0" fmla="*/ 53419 w 53418"/>
                <a:gd name="connsiteY0" fmla="*/ 0 h 12688"/>
                <a:gd name="connsiteX1" fmla="*/ 0 w 53418"/>
                <a:gd name="connsiteY1" fmla="*/ 0 h 12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18" h="12688">
                  <a:moveTo>
                    <a:pt x="53419" y="0"/>
                  </a:moveTo>
                  <a:lnTo>
                    <a:pt x="0" y="0"/>
                  </a:lnTo>
                </a:path>
              </a:pathLst>
            </a:custGeom>
            <a:ln w="10144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5" name="Freihandform: Form 324">
              <a:extLst>
                <a:ext uri="{FF2B5EF4-FFF2-40B4-BE49-F238E27FC236}">
                  <a16:creationId xmlns:a16="http://schemas.microsoft.com/office/drawing/2014/main" id="{7FB4F8A9-867E-C011-D1E4-4E2B6E6D1EED}"/>
                </a:ext>
              </a:extLst>
            </p:cNvPr>
            <p:cNvSpPr/>
            <p:nvPr/>
          </p:nvSpPr>
          <p:spPr>
            <a:xfrm>
              <a:off x="1109886" y="2907799"/>
              <a:ext cx="53418" cy="12688"/>
            </a:xfrm>
            <a:custGeom>
              <a:avLst/>
              <a:gdLst>
                <a:gd name="connsiteX0" fmla="*/ 53419 w 53418"/>
                <a:gd name="connsiteY0" fmla="*/ 0 h 12688"/>
                <a:gd name="connsiteX1" fmla="*/ 0 w 53418"/>
                <a:gd name="connsiteY1" fmla="*/ 0 h 12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18" h="12688">
                  <a:moveTo>
                    <a:pt x="53419" y="0"/>
                  </a:moveTo>
                  <a:lnTo>
                    <a:pt x="0" y="0"/>
                  </a:lnTo>
                </a:path>
              </a:pathLst>
            </a:custGeom>
            <a:ln w="10144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6" name="Freihandform: Form 325">
              <a:extLst>
                <a:ext uri="{FF2B5EF4-FFF2-40B4-BE49-F238E27FC236}">
                  <a16:creationId xmlns:a16="http://schemas.microsoft.com/office/drawing/2014/main" id="{C4329055-E3BA-052F-1A55-CA72AD23F3E8}"/>
                </a:ext>
              </a:extLst>
            </p:cNvPr>
            <p:cNvSpPr/>
            <p:nvPr/>
          </p:nvSpPr>
          <p:spPr>
            <a:xfrm>
              <a:off x="1109886" y="2612918"/>
              <a:ext cx="53418" cy="12688"/>
            </a:xfrm>
            <a:custGeom>
              <a:avLst/>
              <a:gdLst>
                <a:gd name="connsiteX0" fmla="*/ 53419 w 53418"/>
                <a:gd name="connsiteY0" fmla="*/ 0 h 12688"/>
                <a:gd name="connsiteX1" fmla="*/ 0 w 53418"/>
                <a:gd name="connsiteY1" fmla="*/ 0 h 12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18" h="12688">
                  <a:moveTo>
                    <a:pt x="53419" y="0"/>
                  </a:moveTo>
                  <a:lnTo>
                    <a:pt x="0" y="0"/>
                  </a:lnTo>
                </a:path>
              </a:pathLst>
            </a:custGeom>
            <a:ln w="10144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7" name="Freihandform: Form 326">
              <a:extLst>
                <a:ext uri="{FF2B5EF4-FFF2-40B4-BE49-F238E27FC236}">
                  <a16:creationId xmlns:a16="http://schemas.microsoft.com/office/drawing/2014/main" id="{3A3CD11A-A2F0-4E8E-9218-4CFF9CCC2030}"/>
                </a:ext>
              </a:extLst>
            </p:cNvPr>
            <p:cNvSpPr/>
            <p:nvPr/>
          </p:nvSpPr>
          <p:spPr>
            <a:xfrm>
              <a:off x="1109886" y="2317909"/>
              <a:ext cx="53418" cy="12688"/>
            </a:xfrm>
            <a:custGeom>
              <a:avLst/>
              <a:gdLst>
                <a:gd name="connsiteX0" fmla="*/ 53419 w 53418"/>
                <a:gd name="connsiteY0" fmla="*/ 0 h 12688"/>
                <a:gd name="connsiteX1" fmla="*/ 0 w 53418"/>
                <a:gd name="connsiteY1" fmla="*/ 0 h 12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18" h="12688">
                  <a:moveTo>
                    <a:pt x="53419" y="0"/>
                  </a:moveTo>
                  <a:lnTo>
                    <a:pt x="0" y="0"/>
                  </a:lnTo>
                </a:path>
              </a:pathLst>
            </a:custGeom>
            <a:ln w="10144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8" name="Freihandform: Form 327">
              <a:extLst>
                <a:ext uri="{FF2B5EF4-FFF2-40B4-BE49-F238E27FC236}">
                  <a16:creationId xmlns:a16="http://schemas.microsoft.com/office/drawing/2014/main" id="{C27F25A7-391B-C8A7-6F9F-B4DE59FCF938}"/>
                </a:ext>
              </a:extLst>
            </p:cNvPr>
            <p:cNvSpPr/>
            <p:nvPr/>
          </p:nvSpPr>
          <p:spPr>
            <a:xfrm>
              <a:off x="1109886" y="2023028"/>
              <a:ext cx="53418" cy="12688"/>
            </a:xfrm>
            <a:custGeom>
              <a:avLst/>
              <a:gdLst>
                <a:gd name="connsiteX0" fmla="*/ 53419 w 53418"/>
                <a:gd name="connsiteY0" fmla="*/ 0 h 12688"/>
                <a:gd name="connsiteX1" fmla="*/ 0 w 53418"/>
                <a:gd name="connsiteY1" fmla="*/ 0 h 12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18" h="12688">
                  <a:moveTo>
                    <a:pt x="53419" y="0"/>
                  </a:moveTo>
                  <a:lnTo>
                    <a:pt x="0" y="0"/>
                  </a:lnTo>
                </a:path>
              </a:pathLst>
            </a:custGeom>
            <a:ln w="10144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9" name="Freihandform: Form 328">
              <a:extLst>
                <a:ext uri="{FF2B5EF4-FFF2-40B4-BE49-F238E27FC236}">
                  <a16:creationId xmlns:a16="http://schemas.microsoft.com/office/drawing/2014/main" id="{E5C94EBD-18B0-B61A-D1E7-699CB1003CC4}"/>
                </a:ext>
              </a:extLst>
            </p:cNvPr>
            <p:cNvSpPr/>
            <p:nvPr/>
          </p:nvSpPr>
          <p:spPr>
            <a:xfrm>
              <a:off x="1109886" y="1728020"/>
              <a:ext cx="53418" cy="12688"/>
            </a:xfrm>
            <a:custGeom>
              <a:avLst/>
              <a:gdLst>
                <a:gd name="connsiteX0" fmla="*/ 53419 w 53418"/>
                <a:gd name="connsiteY0" fmla="*/ 0 h 12688"/>
                <a:gd name="connsiteX1" fmla="*/ 0 w 53418"/>
                <a:gd name="connsiteY1" fmla="*/ 0 h 12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18" h="12688">
                  <a:moveTo>
                    <a:pt x="53419" y="0"/>
                  </a:moveTo>
                  <a:lnTo>
                    <a:pt x="0" y="0"/>
                  </a:lnTo>
                </a:path>
              </a:pathLst>
            </a:custGeom>
            <a:ln w="10144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1" name="Kreuz 20">
            <a:extLst>
              <a:ext uri="{FF2B5EF4-FFF2-40B4-BE49-F238E27FC236}">
                <a16:creationId xmlns:a16="http://schemas.microsoft.com/office/drawing/2014/main" id="{EA43701A-D7C4-7CDB-1BD5-E2F1C6451318}"/>
              </a:ext>
            </a:extLst>
          </p:cNvPr>
          <p:cNvSpPr/>
          <p:nvPr/>
        </p:nvSpPr>
        <p:spPr>
          <a:xfrm>
            <a:off x="5144406" y="3597470"/>
            <a:ext cx="36608" cy="36608"/>
          </a:xfrm>
          <a:prstGeom prst="plus">
            <a:avLst>
              <a:gd name="adj" fmla="val 4184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400" name="Gruppieren 399">
            <a:extLst>
              <a:ext uri="{FF2B5EF4-FFF2-40B4-BE49-F238E27FC236}">
                <a16:creationId xmlns:a16="http://schemas.microsoft.com/office/drawing/2014/main" id="{5048BFEC-C71B-32EB-2904-DB52B9805D54}"/>
              </a:ext>
            </a:extLst>
          </p:cNvPr>
          <p:cNvGrpSpPr/>
          <p:nvPr/>
        </p:nvGrpSpPr>
        <p:grpSpPr>
          <a:xfrm>
            <a:off x="1059613" y="1506811"/>
            <a:ext cx="336961" cy="2195830"/>
            <a:chOff x="1059613" y="1637437"/>
            <a:chExt cx="336961" cy="2195830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670B492F-0A73-A26E-3D5B-2A4702048E85}"/>
                </a:ext>
              </a:extLst>
            </p:cNvPr>
            <p:cNvSpPr txBox="1"/>
            <p:nvPr/>
          </p:nvSpPr>
          <p:spPr>
            <a:xfrm rot="16200000">
              <a:off x="38809" y="2658241"/>
              <a:ext cx="2164719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Wahrscheinlichkeit für PFS</a:t>
              </a:r>
            </a:p>
          </p:txBody>
        </p:sp>
        <p:sp>
          <p:nvSpPr>
            <p:cNvPr id="28" name="TextBox 26, chunk 1">
              <a:extLst>
                <a:ext uri="{FF2B5EF4-FFF2-40B4-BE49-F238E27FC236}">
                  <a16:creationId xmlns:a16="http://schemas.microsoft.com/office/drawing/2014/main" id="{78B1D417-62FB-C720-CFFB-66794D1E8C02}"/>
                </a:ext>
              </a:extLst>
            </p:cNvPr>
            <p:cNvSpPr txBox="1"/>
            <p:nvPr/>
          </p:nvSpPr>
          <p:spPr>
            <a:xfrm>
              <a:off x="1201651" y="1637438"/>
              <a:ext cx="194923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1,0</a:t>
              </a: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" name="TextBox 26, chunk 2">
              <a:extLst>
                <a:ext uri="{FF2B5EF4-FFF2-40B4-BE49-F238E27FC236}">
                  <a16:creationId xmlns:a16="http://schemas.microsoft.com/office/drawing/2014/main" id="{3B32D6A1-AE0E-61D2-4F75-DC6B514FFEC8}"/>
                </a:ext>
              </a:extLst>
            </p:cNvPr>
            <p:cNvSpPr txBox="1"/>
            <p:nvPr/>
          </p:nvSpPr>
          <p:spPr>
            <a:xfrm>
              <a:off x="1201651" y="1844710"/>
              <a:ext cx="194923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9</a:t>
              </a: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TextBox 26, chunk 3">
              <a:extLst>
                <a:ext uri="{FF2B5EF4-FFF2-40B4-BE49-F238E27FC236}">
                  <a16:creationId xmlns:a16="http://schemas.microsoft.com/office/drawing/2014/main" id="{DC9C70CF-79F8-F580-AC95-3B1E9724241E}"/>
                </a:ext>
              </a:extLst>
            </p:cNvPr>
            <p:cNvSpPr txBox="1"/>
            <p:nvPr/>
          </p:nvSpPr>
          <p:spPr>
            <a:xfrm>
              <a:off x="1201651" y="2051981"/>
              <a:ext cx="194923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8</a:t>
              </a: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TextBox 26, chunk 4">
              <a:extLst>
                <a:ext uri="{FF2B5EF4-FFF2-40B4-BE49-F238E27FC236}">
                  <a16:creationId xmlns:a16="http://schemas.microsoft.com/office/drawing/2014/main" id="{E14B62AA-AAEB-56E9-7F68-3264F7E8257F}"/>
                </a:ext>
              </a:extLst>
            </p:cNvPr>
            <p:cNvSpPr txBox="1"/>
            <p:nvPr/>
          </p:nvSpPr>
          <p:spPr>
            <a:xfrm>
              <a:off x="1201651" y="2259253"/>
              <a:ext cx="194923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7</a:t>
              </a: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" name="TextBox 26, chunk 5">
              <a:extLst>
                <a:ext uri="{FF2B5EF4-FFF2-40B4-BE49-F238E27FC236}">
                  <a16:creationId xmlns:a16="http://schemas.microsoft.com/office/drawing/2014/main" id="{F14468ED-AC84-B053-5FB8-D85EB9DFB0F1}"/>
                </a:ext>
              </a:extLst>
            </p:cNvPr>
            <p:cNvSpPr txBox="1"/>
            <p:nvPr/>
          </p:nvSpPr>
          <p:spPr>
            <a:xfrm>
              <a:off x="1201651" y="2466525"/>
              <a:ext cx="194923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6</a:t>
              </a: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" name="TextBox 26, chunk 6">
              <a:extLst>
                <a:ext uri="{FF2B5EF4-FFF2-40B4-BE49-F238E27FC236}">
                  <a16:creationId xmlns:a16="http://schemas.microsoft.com/office/drawing/2014/main" id="{57121767-2792-3DD7-F961-B7553607AAB1}"/>
                </a:ext>
              </a:extLst>
            </p:cNvPr>
            <p:cNvSpPr txBox="1"/>
            <p:nvPr/>
          </p:nvSpPr>
          <p:spPr>
            <a:xfrm>
              <a:off x="1201651" y="2673797"/>
              <a:ext cx="194923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5</a:t>
              </a: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" name="TextBox 26, chunk 7">
              <a:extLst>
                <a:ext uri="{FF2B5EF4-FFF2-40B4-BE49-F238E27FC236}">
                  <a16:creationId xmlns:a16="http://schemas.microsoft.com/office/drawing/2014/main" id="{5FF138A2-E143-7D78-C077-A529B1FB697E}"/>
                </a:ext>
              </a:extLst>
            </p:cNvPr>
            <p:cNvSpPr txBox="1"/>
            <p:nvPr/>
          </p:nvSpPr>
          <p:spPr>
            <a:xfrm>
              <a:off x="1201651" y="2881069"/>
              <a:ext cx="194923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4</a:t>
              </a: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" name="TextBox 26, chunk 8">
              <a:extLst>
                <a:ext uri="{FF2B5EF4-FFF2-40B4-BE49-F238E27FC236}">
                  <a16:creationId xmlns:a16="http://schemas.microsoft.com/office/drawing/2014/main" id="{C29A8829-6400-55B7-E5B2-6711ED14F0B3}"/>
                </a:ext>
              </a:extLst>
            </p:cNvPr>
            <p:cNvSpPr txBox="1"/>
            <p:nvPr/>
          </p:nvSpPr>
          <p:spPr>
            <a:xfrm>
              <a:off x="1201651" y="3088340"/>
              <a:ext cx="194923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3</a:t>
              </a: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" name="TextBox 26, chunk 9">
              <a:extLst>
                <a:ext uri="{FF2B5EF4-FFF2-40B4-BE49-F238E27FC236}">
                  <a16:creationId xmlns:a16="http://schemas.microsoft.com/office/drawing/2014/main" id="{36E3012F-A662-F0D8-F6E9-5AF6213B1F5E}"/>
                </a:ext>
              </a:extLst>
            </p:cNvPr>
            <p:cNvSpPr txBox="1"/>
            <p:nvPr/>
          </p:nvSpPr>
          <p:spPr>
            <a:xfrm>
              <a:off x="1201651" y="3295612"/>
              <a:ext cx="194923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2</a:t>
              </a: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TextBox 26, chunk 10">
              <a:extLst>
                <a:ext uri="{FF2B5EF4-FFF2-40B4-BE49-F238E27FC236}">
                  <a16:creationId xmlns:a16="http://schemas.microsoft.com/office/drawing/2014/main" id="{55585E31-83A2-8102-E09E-9401CDCCC057}"/>
                </a:ext>
              </a:extLst>
            </p:cNvPr>
            <p:cNvSpPr txBox="1"/>
            <p:nvPr/>
          </p:nvSpPr>
          <p:spPr>
            <a:xfrm>
              <a:off x="1201651" y="3502884"/>
              <a:ext cx="194923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1</a:t>
              </a: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TextBox 26, chunk 11">
              <a:extLst>
                <a:ext uri="{FF2B5EF4-FFF2-40B4-BE49-F238E27FC236}">
                  <a16:creationId xmlns:a16="http://schemas.microsoft.com/office/drawing/2014/main" id="{10A0A1B8-76E9-97A3-AA2B-1B4D43E81FF1}"/>
                </a:ext>
              </a:extLst>
            </p:cNvPr>
            <p:cNvSpPr txBox="1"/>
            <p:nvPr/>
          </p:nvSpPr>
          <p:spPr>
            <a:xfrm>
              <a:off x="1201651" y="3710156"/>
              <a:ext cx="194923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0</a:t>
              </a:r>
            </a:p>
          </p:txBody>
        </p:sp>
      </p:grp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208A0BD7-97F2-F375-2B0C-DB9879B59AF4}"/>
              </a:ext>
            </a:extLst>
          </p:cNvPr>
          <p:cNvGrpSpPr/>
          <p:nvPr/>
        </p:nvGrpSpPr>
        <p:grpSpPr>
          <a:xfrm>
            <a:off x="1520666" y="3734550"/>
            <a:ext cx="3855274" cy="123111"/>
            <a:chOff x="1253791" y="4839788"/>
            <a:chExt cx="5478619" cy="174950"/>
          </a:xfrm>
        </p:grpSpPr>
        <p:sp>
          <p:nvSpPr>
            <p:cNvPr id="39" name="TextBox 26, chunk 11">
              <a:extLst>
                <a:ext uri="{FF2B5EF4-FFF2-40B4-BE49-F238E27FC236}">
                  <a16:creationId xmlns:a16="http://schemas.microsoft.com/office/drawing/2014/main" id="{56ED6054-87AB-7A48-FCF8-B7A81F92B193}"/>
                </a:ext>
              </a:extLst>
            </p:cNvPr>
            <p:cNvSpPr txBox="1"/>
            <p:nvPr/>
          </p:nvSpPr>
          <p:spPr>
            <a:xfrm>
              <a:off x="1253791" y="4839788"/>
              <a:ext cx="192329" cy="174950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</a:t>
              </a:r>
            </a:p>
          </p:txBody>
        </p:sp>
        <p:sp>
          <p:nvSpPr>
            <p:cNvPr id="40" name="TextBox 26, chunk 11">
              <a:extLst>
                <a:ext uri="{FF2B5EF4-FFF2-40B4-BE49-F238E27FC236}">
                  <a16:creationId xmlns:a16="http://schemas.microsoft.com/office/drawing/2014/main" id="{DE6CF940-CFD4-FE1E-A4C4-30CA1BA4A23C}"/>
                </a:ext>
              </a:extLst>
            </p:cNvPr>
            <p:cNvSpPr txBox="1"/>
            <p:nvPr/>
          </p:nvSpPr>
          <p:spPr>
            <a:xfrm>
              <a:off x="6540081" y="4839788"/>
              <a:ext cx="192329" cy="174950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90</a:t>
              </a:r>
            </a:p>
          </p:txBody>
        </p:sp>
        <p:sp>
          <p:nvSpPr>
            <p:cNvPr id="41" name="TextBox 26, chunk 11">
              <a:extLst>
                <a:ext uri="{FF2B5EF4-FFF2-40B4-BE49-F238E27FC236}">
                  <a16:creationId xmlns:a16="http://schemas.microsoft.com/office/drawing/2014/main" id="{ACB014BA-33C9-E7A7-FB3C-DF3430FB909E}"/>
                </a:ext>
              </a:extLst>
            </p:cNvPr>
            <p:cNvSpPr txBox="1"/>
            <p:nvPr/>
          </p:nvSpPr>
          <p:spPr>
            <a:xfrm>
              <a:off x="6187657" y="4839788"/>
              <a:ext cx="192329" cy="174950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84</a:t>
              </a:r>
            </a:p>
          </p:txBody>
        </p:sp>
        <p:sp>
          <p:nvSpPr>
            <p:cNvPr id="42" name="TextBox 26, chunk 11">
              <a:extLst>
                <a:ext uri="{FF2B5EF4-FFF2-40B4-BE49-F238E27FC236}">
                  <a16:creationId xmlns:a16="http://schemas.microsoft.com/office/drawing/2014/main" id="{FAEF8550-C40C-3F4D-7028-F707949E52EE}"/>
                </a:ext>
              </a:extLst>
            </p:cNvPr>
            <p:cNvSpPr txBox="1"/>
            <p:nvPr/>
          </p:nvSpPr>
          <p:spPr>
            <a:xfrm>
              <a:off x="5835238" y="4839788"/>
              <a:ext cx="192329" cy="174950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78</a:t>
              </a:r>
            </a:p>
          </p:txBody>
        </p:sp>
        <p:sp>
          <p:nvSpPr>
            <p:cNvPr id="43" name="TextBox 26, chunk 11">
              <a:extLst>
                <a:ext uri="{FF2B5EF4-FFF2-40B4-BE49-F238E27FC236}">
                  <a16:creationId xmlns:a16="http://schemas.microsoft.com/office/drawing/2014/main" id="{0730E012-E3DF-3B8C-2D04-344978DE4274}"/>
                </a:ext>
              </a:extLst>
            </p:cNvPr>
            <p:cNvSpPr txBox="1"/>
            <p:nvPr/>
          </p:nvSpPr>
          <p:spPr>
            <a:xfrm>
              <a:off x="5482819" y="4839788"/>
              <a:ext cx="192329" cy="174950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72</a:t>
              </a:r>
            </a:p>
          </p:txBody>
        </p:sp>
        <p:sp>
          <p:nvSpPr>
            <p:cNvPr id="44" name="TextBox 26, chunk 11">
              <a:extLst>
                <a:ext uri="{FF2B5EF4-FFF2-40B4-BE49-F238E27FC236}">
                  <a16:creationId xmlns:a16="http://schemas.microsoft.com/office/drawing/2014/main" id="{34D1C54E-FFA7-A097-7B86-79D05E9B7BE8}"/>
                </a:ext>
              </a:extLst>
            </p:cNvPr>
            <p:cNvSpPr txBox="1"/>
            <p:nvPr/>
          </p:nvSpPr>
          <p:spPr>
            <a:xfrm>
              <a:off x="5130399" y="4839788"/>
              <a:ext cx="192329" cy="174950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66</a:t>
              </a:r>
            </a:p>
          </p:txBody>
        </p:sp>
        <p:sp>
          <p:nvSpPr>
            <p:cNvPr id="45" name="TextBox 26, chunk 11">
              <a:extLst>
                <a:ext uri="{FF2B5EF4-FFF2-40B4-BE49-F238E27FC236}">
                  <a16:creationId xmlns:a16="http://schemas.microsoft.com/office/drawing/2014/main" id="{9A5094CD-6F51-7729-6953-20724C25D939}"/>
                </a:ext>
              </a:extLst>
            </p:cNvPr>
            <p:cNvSpPr txBox="1"/>
            <p:nvPr/>
          </p:nvSpPr>
          <p:spPr>
            <a:xfrm>
              <a:off x="4777981" y="4839788"/>
              <a:ext cx="192329" cy="174950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60</a:t>
              </a:r>
            </a:p>
          </p:txBody>
        </p:sp>
        <p:sp>
          <p:nvSpPr>
            <p:cNvPr id="46" name="TextBox 26, chunk 11">
              <a:extLst>
                <a:ext uri="{FF2B5EF4-FFF2-40B4-BE49-F238E27FC236}">
                  <a16:creationId xmlns:a16="http://schemas.microsoft.com/office/drawing/2014/main" id="{4C4D2A7D-D01B-93DA-3A7C-70F277EE5131}"/>
                </a:ext>
              </a:extLst>
            </p:cNvPr>
            <p:cNvSpPr txBox="1"/>
            <p:nvPr/>
          </p:nvSpPr>
          <p:spPr>
            <a:xfrm>
              <a:off x="4425562" y="4839788"/>
              <a:ext cx="192329" cy="174950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54</a:t>
              </a:r>
            </a:p>
          </p:txBody>
        </p:sp>
        <p:sp>
          <p:nvSpPr>
            <p:cNvPr id="47" name="TextBox 26, chunk 11">
              <a:extLst>
                <a:ext uri="{FF2B5EF4-FFF2-40B4-BE49-F238E27FC236}">
                  <a16:creationId xmlns:a16="http://schemas.microsoft.com/office/drawing/2014/main" id="{7502B300-52A6-D5D1-608E-E71D3EE702DE}"/>
                </a:ext>
              </a:extLst>
            </p:cNvPr>
            <p:cNvSpPr txBox="1"/>
            <p:nvPr/>
          </p:nvSpPr>
          <p:spPr>
            <a:xfrm>
              <a:off x="4073142" y="4839788"/>
              <a:ext cx="192329" cy="174950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48</a:t>
              </a:r>
            </a:p>
          </p:txBody>
        </p:sp>
        <p:sp>
          <p:nvSpPr>
            <p:cNvPr id="48" name="TextBox 26, chunk 11">
              <a:extLst>
                <a:ext uri="{FF2B5EF4-FFF2-40B4-BE49-F238E27FC236}">
                  <a16:creationId xmlns:a16="http://schemas.microsoft.com/office/drawing/2014/main" id="{D90B1380-D76D-3223-66B6-37695DCEE0E3}"/>
                </a:ext>
              </a:extLst>
            </p:cNvPr>
            <p:cNvSpPr txBox="1"/>
            <p:nvPr/>
          </p:nvSpPr>
          <p:spPr>
            <a:xfrm>
              <a:off x="3720724" y="4839788"/>
              <a:ext cx="192329" cy="174950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42</a:t>
              </a:r>
            </a:p>
          </p:txBody>
        </p:sp>
        <p:sp>
          <p:nvSpPr>
            <p:cNvPr id="49" name="TextBox 26, chunk 11">
              <a:extLst>
                <a:ext uri="{FF2B5EF4-FFF2-40B4-BE49-F238E27FC236}">
                  <a16:creationId xmlns:a16="http://schemas.microsoft.com/office/drawing/2014/main" id="{968CDDF5-3B41-B07E-5263-581FE8C06C09}"/>
                </a:ext>
              </a:extLst>
            </p:cNvPr>
            <p:cNvSpPr txBox="1"/>
            <p:nvPr/>
          </p:nvSpPr>
          <p:spPr>
            <a:xfrm>
              <a:off x="3368305" y="4839788"/>
              <a:ext cx="192329" cy="174950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36</a:t>
              </a:r>
            </a:p>
          </p:txBody>
        </p:sp>
        <p:sp>
          <p:nvSpPr>
            <p:cNvPr id="50" name="TextBox 26, chunk 11">
              <a:extLst>
                <a:ext uri="{FF2B5EF4-FFF2-40B4-BE49-F238E27FC236}">
                  <a16:creationId xmlns:a16="http://schemas.microsoft.com/office/drawing/2014/main" id="{CB99D49F-27AB-3505-4044-95D441A7A20D}"/>
                </a:ext>
              </a:extLst>
            </p:cNvPr>
            <p:cNvSpPr txBox="1"/>
            <p:nvPr/>
          </p:nvSpPr>
          <p:spPr>
            <a:xfrm>
              <a:off x="3015887" y="4839788"/>
              <a:ext cx="192329" cy="174950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30</a:t>
              </a:r>
            </a:p>
          </p:txBody>
        </p:sp>
        <p:sp>
          <p:nvSpPr>
            <p:cNvPr id="51" name="TextBox 26, chunk 11">
              <a:extLst>
                <a:ext uri="{FF2B5EF4-FFF2-40B4-BE49-F238E27FC236}">
                  <a16:creationId xmlns:a16="http://schemas.microsoft.com/office/drawing/2014/main" id="{E42C6B93-0279-CD43-00D6-6227DD22ECA2}"/>
                </a:ext>
              </a:extLst>
            </p:cNvPr>
            <p:cNvSpPr txBox="1"/>
            <p:nvPr/>
          </p:nvSpPr>
          <p:spPr>
            <a:xfrm>
              <a:off x="2663467" y="4839788"/>
              <a:ext cx="192329" cy="174950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24</a:t>
              </a:r>
            </a:p>
          </p:txBody>
        </p:sp>
        <p:sp>
          <p:nvSpPr>
            <p:cNvPr id="52" name="TextBox 26, chunk 11">
              <a:extLst>
                <a:ext uri="{FF2B5EF4-FFF2-40B4-BE49-F238E27FC236}">
                  <a16:creationId xmlns:a16="http://schemas.microsoft.com/office/drawing/2014/main" id="{9CBE2766-6BB0-BDBE-608A-64A6ABE8897E}"/>
                </a:ext>
              </a:extLst>
            </p:cNvPr>
            <p:cNvSpPr txBox="1"/>
            <p:nvPr/>
          </p:nvSpPr>
          <p:spPr>
            <a:xfrm>
              <a:off x="2311048" y="4839788"/>
              <a:ext cx="192329" cy="174950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18</a:t>
              </a:r>
            </a:p>
          </p:txBody>
        </p:sp>
        <p:sp>
          <p:nvSpPr>
            <p:cNvPr id="53" name="TextBox 26, chunk 11">
              <a:extLst>
                <a:ext uri="{FF2B5EF4-FFF2-40B4-BE49-F238E27FC236}">
                  <a16:creationId xmlns:a16="http://schemas.microsoft.com/office/drawing/2014/main" id="{446CB2F5-1DAB-0285-8271-63C05FBF9D99}"/>
                </a:ext>
              </a:extLst>
            </p:cNvPr>
            <p:cNvSpPr txBox="1"/>
            <p:nvPr/>
          </p:nvSpPr>
          <p:spPr>
            <a:xfrm>
              <a:off x="1958630" y="4839788"/>
              <a:ext cx="192329" cy="174950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12</a:t>
              </a:r>
            </a:p>
          </p:txBody>
        </p:sp>
        <p:sp>
          <p:nvSpPr>
            <p:cNvPr id="55" name="TextBox 26, chunk 11">
              <a:extLst>
                <a:ext uri="{FF2B5EF4-FFF2-40B4-BE49-F238E27FC236}">
                  <a16:creationId xmlns:a16="http://schemas.microsoft.com/office/drawing/2014/main" id="{ACA97127-C921-364B-9C37-F841F4DDE889}"/>
                </a:ext>
              </a:extLst>
            </p:cNvPr>
            <p:cNvSpPr txBox="1"/>
            <p:nvPr/>
          </p:nvSpPr>
          <p:spPr>
            <a:xfrm>
              <a:off x="1606210" y="4839788"/>
              <a:ext cx="192329" cy="174950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6</a:t>
              </a:r>
            </a:p>
          </p:txBody>
        </p:sp>
      </p:grpSp>
      <p:sp>
        <p:nvSpPr>
          <p:cNvPr id="58" name="Textfeld 57">
            <a:extLst>
              <a:ext uri="{FF2B5EF4-FFF2-40B4-BE49-F238E27FC236}">
                <a16:creationId xmlns:a16="http://schemas.microsoft.com/office/drawing/2014/main" id="{3E644288-0988-E2AA-556D-C1EA45D5EAEC}"/>
              </a:ext>
            </a:extLst>
          </p:cNvPr>
          <p:cNvSpPr txBox="1"/>
          <p:nvPr/>
        </p:nvSpPr>
        <p:spPr>
          <a:xfrm>
            <a:off x="2489939" y="3928961"/>
            <a:ext cx="216471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eit in Monaten</a:t>
            </a:r>
          </a:p>
        </p:txBody>
      </p:sp>
      <p:sp>
        <p:nvSpPr>
          <p:cNvPr id="6" name="TextBox 26, chunk 11">
            <a:extLst>
              <a:ext uri="{FF2B5EF4-FFF2-40B4-BE49-F238E27FC236}">
                <a16:creationId xmlns:a16="http://schemas.microsoft.com/office/drawing/2014/main" id="{6669FCAD-6E39-8A67-AA79-88B8E5D2C8C3}"/>
              </a:ext>
            </a:extLst>
          </p:cNvPr>
          <p:cNvSpPr txBox="1"/>
          <p:nvPr/>
        </p:nvSpPr>
        <p:spPr>
          <a:xfrm>
            <a:off x="4617942" y="3056696"/>
            <a:ext cx="661645" cy="12311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algn="r">
              <a:defRPr sz="1200">
                <a:solidFill>
                  <a:srgbClr val="595959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 = 0,0168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085FBEDB-EE91-485C-B8DB-93D541E15011}"/>
              </a:ext>
            </a:extLst>
          </p:cNvPr>
          <p:cNvSpPr txBox="1"/>
          <p:nvPr/>
        </p:nvSpPr>
        <p:spPr>
          <a:xfrm>
            <a:off x="613558" y="4783557"/>
            <a:ext cx="5507028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46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585D"/>
              </a:buClr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L BRAF/</a:t>
            </a:r>
            <a:r>
              <a:rPr kumimoji="0" lang="de-DE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Ki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s. 1L BRAF/</a:t>
            </a:r>
            <a:r>
              <a:rPr kumimoji="0" lang="de-DE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Ki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</a:t>
            </a:r>
          </a:p>
          <a:p>
            <a:pPr marL="460375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585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ignifikant l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ängeres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edianes PFS: 8,4 vs. 7,7 Monate; p = 0,02).</a:t>
            </a:r>
          </a:p>
          <a:p>
            <a:pPr marL="460375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585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rgleichbares medianes OS: 17,2 vs. 16,0 Monate; p = 0,73</a:t>
            </a:r>
          </a:p>
          <a:p>
            <a:pPr marL="460375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585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esamtansprechrate (ORR): 56,4 % vs. 53,5 % </a:t>
            </a:r>
          </a:p>
          <a:p>
            <a:pPr marL="460375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585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ankheitskontrollrate (DCR): 73,4 % vs. </a:t>
            </a:r>
            <a:r>
              <a:rPr lang="de-DE" sz="1200" dirty="0">
                <a:solidFill>
                  <a:srgbClr val="002068"/>
                </a:solidFill>
                <a:latin typeface="Arial" panose="020B0604020202020204"/>
              </a:rPr>
              <a:t>69,4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%</a:t>
            </a:r>
          </a:p>
        </p:txBody>
      </p:sp>
      <p:sp>
        <p:nvSpPr>
          <p:cNvPr id="331" name="Textfeld 330">
            <a:extLst>
              <a:ext uri="{FF2B5EF4-FFF2-40B4-BE49-F238E27FC236}">
                <a16:creationId xmlns:a16="http://schemas.microsoft.com/office/drawing/2014/main" id="{610C0579-0EC2-FF4A-9A63-54C3952C5B99}"/>
              </a:ext>
            </a:extLst>
          </p:cNvPr>
          <p:cNvSpPr txBox="1"/>
          <p:nvPr/>
        </p:nvSpPr>
        <p:spPr>
          <a:xfrm>
            <a:off x="6028592" y="4783557"/>
            <a:ext cx="2825122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46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585D"/>
              </a:buClr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bgruppen-Analyse:</a:t>
            </a:r>
          </a:p>
          <a:p>
            <a:pPr marL="460375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585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orteile der Sequenz ICI → BRAF/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Ki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 allen Subgruppen, außer bei Patient*innen mit ECOG ≥ 2, hohem Alter oder starker Komorbidität</a:t>
            </a:r>
          </a:p>
        </p:txBody>
      </p:sp>
      <p:grpSp>
        <p:nvGrpSpPr>
          <p:cNvPr id="337" name="Grafik 331">
            <a:extLst>
              <a:ext uri="{FF2B5EF4-FFF2-40B4-BE49-F238E27FC236}">
                <a16:creationId xmlns:a16="http://schemas.microsoft.com/office/drawing/2014/main" id="{243AE157-F3C9-CC3C-DFE4-58AF2A559409}"/>
              </a:ext>
            </a:extLst>
          </p:cNvPr>
          <p:cNvGrpSpPr/>
          <p:nvPr/>
        </p:nvGrpSpPr>
        <p:grpSpPr>
          <a:xfrm>
            <a:off x="7103400" y="1565987"/>
            <a:ext cx="4080734" cy="1746294"/>
            <a:chOff x="7103400" y="1696613"/>
            <a:chExt cx="4080734" cy="1746294"/>
          </a:xfrm>
        </p:grpSpPr>
        <p:sp>
          <p:nvSpPr>
            <p:cNvPr id="338" name="Freihandform: Form 337">
              <a:extLst>
                <a:ext uri="{FF2B5EF4-FFF2-40B4-BE49-F238E27FC236}">
                  <a16:creationId xmlns:a16="http://schemas.microsoft.com/office/drawing/2014/main" id="{304ED54E-5AD8-114D-46EB-1CAC46D75ED5}"/>
                </a:ext>
              </a:extLst>
            </p:cNvPr>
            <p:cNvSpPr/>
            <p:nvPr/>
          </p:nvSpPr>
          <p:spPr>
            <a:xfrm>
              <a:off x="7121284" y="1710565"/>
              <a:ext cx="4042302" cy="1608169"/>
            </a:xfrm>
            <a:custGeom>
              <a:avLst/>
              <a:gdLst>
                <a:gd name="connsiteX0" fmla="*/ 0 w 4042302"/>
                <a:gd name="connsiteY0" fmla="*/ 0 h 1608169"/>
                <a:gd name="connsiteX1" fmla="*/ 9386 w 4042302"/>
                <a:gd name="connsiteY1" fmla="*/ 0 h 1608169"/>
                <a:gd name="connsiteX2" fmla="*/ 11923 w 4042302"/>
                <a:gd name="connsiteY2" fmla="*/ 0 h 1608169"/>
                <a:gd name="connsiteX3" fmla="*/ 11923 w 4042302"/>
                <a:gd name="connsiteY3" fmla="*/ 3932 h 1608169"/>
                <a:gd name="connsiteX4" fmla="*/ 10781 w 4042302"/>
                <a:gd name="connsiteY4" fmla="*/ 3171 h 1608169"/>
                <a:gd name="connsiteX5" fmla="*/ 14586 w 4042302"/>
                <a:gd name="connsiteY5" fmla="*/ 3171 h 1608169"/>
                <a:gd name="connsiteX6" fmla="*/ 14586 w 4042302"/>
                <a:gd name="connsiteY6" fmla="*/ 7103 h 1608169"/>
                <a:gd name="connsiteX7" fmla="*/ 13445 w 4042302"/>
                <a:gd name="connsiteY7" fmla="*/ 6215 h 1608169"/>
                <a:gd name="connsiteX8" fmla="*/ 18645 w 4042302"/>
                <a:gd name="connsiteY8" fmla="*/ 6215 h 1608169"/>
                <a:gd name="connsiteX9" fmla="*/ 18645 w 4042302"/>
                <a:gd name="connsiteY9" fmla="*/ 13445 h 1608169"/>
                <a:gd name="connsiteX10" fmla="*/ 17630 w 4042302"/>
                <a:gd name="connsiteY10" fmla="*/ 12684 h 1608169"/>
                <a:gd name="connsiteX11" fmla="*/ 21435 w 4042302"/>
                <a:gd name="connsiteY11" fmla="*/ 12684 h 1608169"/>
                <a:gd name="connsiteX12" fmla="*/ 21435 w 4042302"/>
                <a:gd name="connsiteY12" fmla="*/ 16616 h 1608169"/>
                <a:gd name="connsiteX13" fmla="*/ 20294 w 4042302"/>
                <a:gd name="connsiteY13" fmla="*/ 15855 h 1608169"/>
                <a:gd name="connsiteX14" fmla="*/ 25367 w 4042302"/>
                <a:gd name="connsiteY14" fmla="*/ 15855 h 1608169"/>
                <a:gd name="connsiteX15" fmla="*/ 25367 w 4042302"/>
                <a:gd name="connsiteY15" fmla="*/ 19787 h 1608169"/>
                <a:gd name="connsiteX16" fmla="*/ 24353 w 4042302"/>
                <a:gd name="connsiteY16" fmla="*/ 19026 h 1608169"/>
                <a:gd name="connsiteX17" fmla="*/ 26763 w 4042302"/>
                <a:gd name="connsiteY17" fmla="*/ 19026 h 1608169"/>
                <a:gd name="connsiteX18" fmla="*/ 26763 w 4042302"/>
                <a:gd name="connsiteY18" fmla="*/ 22958 h 1608169"/>
                <a:gd name="connsiteX19" fmla="*/ 25748 w 4042302"/>
                <a:gd name="connsiteY19" fmla="*/ 22197 h 1608169"/>
                <a:gd name="connsiteX20" fmla="*/ 28158 w 4042302"/>
                <a:gd name="connsiteY20" fmla="*/ 22197 h 1608169"/>
                <a:gd name="connsiteX21" fmla="*/ 28158 w 4042302"/>
                <a:gd name="connsiteY21" fmla="*/ 29299 h 1608169"/>
                <a:gd name="connsiteX22" fmla="*/ 27016 w 4042302"/>
                <a:gd name="connsiteY22" fmla="*/ 28538 h 1608169"/>
                <a:gd name="connsiteX23" fmla="*/ 36275 w 4042302"/>
                <a:gd name="connsiteY23" fmla="*/ 28538 h 1608169"/>
                <a:gd name="connsiteX24" fmla="*/ 36275 w 4042302"/>
                <a:gd name="connsiteY24" fmla="*/ 32470 h 1608169"/>
                <a:gd name="connsiteX25" fmla="*/ 35134 w 4042302"/>
                <a:gd name="connsiteY25" fmla="*/ 31709 h 1608169"/>
                <a:gd name="connsiteX26" fmla="*/ 40461 w 4042302"/>
                <a:gd name="connsiteY26" fmla="*/ 31709 h 1608169"/>
                <a:gd name="connsiteX27" fmla="*/ 40461 w 4042302"/>
                <a:gd name="connsiteY27" fmla="*/ 45281 h 1608169"/>
                <a:gd name="connsiteX28" fmla="*/ 39320 w 4042302"/>
                <a:gd name="connsiteY28" fmla="*/ 44520 h 1608169"/>
                <a:gd name="connsiteX29" fmla="*/ 44520 w 4042302"/>
                <a:gd name="connsiteY29" fmla="*/ 44520 h 1608169"/>
                <a:gd name="connsiteX30" fmla="*/ 44520 w 4042302"/>
                <a:gd name="connsiteY30" fmla="*/ 48452 h 1608169"/>
                <a:gd name="connsiteX31" fmla="*/ 43378 w 4042302"/>
                <a:gd name="connsiteY31" fmla="*/ 47564 h 1608169"/>
                <a:gd name="connsiteX32" fmla="*/ 47310 w 4042302"/>
                <a:gd name="connsiteY32" fmla="*/ 47564 h 1608169"/>
                <a:gd name="connsiteX33" fmla="*/ 47310 w 4042302"/>
                <a:gd name="connsiteY33" fmla="*/ 51623 h 1608169"/>
                <a:gd name="connsiteX34" fmla="*/ 46169 w 4042302"/>
                <a:gd name="connsiteY34" fmla="*/ 50862 h 1608169"/>
                <a:gd name="connsiteX35" fmla="*/ 68999 w 4042302"/>
                <a:gd name="connsiteY35" fmla="*/ 50862 h 1608169"/>
                <a:gd name="connsiteX36" fmla="*/ 68999 w 4042302"/>
                <a:gd name="connsiteY36" fmla="*/ 54794 h 1608169"/>
                <a:gd name="connsiteX37" fmla="*/ 67858 w 4042302"/>
                <a:gd name="connsiteY37" fmla="*/ 54033 h 1608169"/>
                <a:gd name="connsiteX38" fmla="*/ 74327 w 4042302"/>
                <a:gd name="connsiteY38" fmla="*/ 54033 h 1608169"/>
                <a:gd name="connsiteX39" fmla="*/ 74327 w 4042302"/>
                <a:gd name="connsiteY39" fmla="*/ 57965 h 1608169"/>
                <a:gd name="connsiteX40" fmla="*/ 73312 w 4042302"/>
                <a:gd name="connsiteY40" fmla="*/ 57077 h 1608169"/>
                <a:gd name="connsiteX41" fmla="*/ 75722 w 4042302"/>
                <a:gd name="connsiteY41" fmla="*/ 57077 h 1608169"/>
                <a:gd name="connsiteX42" fmla="*/ 75722 w 4042302"/>
                <a:gd name="connsiteY42" fmla="*/ 61136 h 1608169"/>
                <a:gd name="connsiteX43" fmla="*/ 74707 w 4042302"/>
                <a:gd name="connsiteY43" fmla="*/ 60375 h 1608169"/>
                <a:gd name="connsiteX44" fmla="*/ 78512 w 4042302"/>
                <a:gd name="connsiteY44" fmla="*/ 60375 h 1608169"/>
                <a:gd name="connsiteX45" fmla="*/ 78512 w 4042302"/>
                <a:gd name="connsiteY45" fmla="*/ 64306 h 1608169"/>
                <a:gd name="connsiteX46" fmla="*/ 77371 w 4042302"/>
                <a:gd name="connsiteY46" fmla="*/ 63545 h 1608169"/>
                <a:gd name="connsiteX47" fmla="*/ 81176 w 4042302"/>
                <a:gd name="connsiteY47" fmla="*/ 63545 h 1608169"/>
                <a:gd name="connsiteX48" fmla="*/ 81176 w 4042302"/>
                <a:gd name="connsiteY48" fmla="*/ 67477 h 1608169"/>
                <a:gd name="connsiteX49" fmla="*/ 80161 w 4042302"/>
                <a:gd name="connsiteY49" fmla="*/ 66716 h 1608169"/>
                <a:gd name="connsiteX50" fmla="*/ 82571 w 4042302"/>
                <a:gd name="connsiteY50" fmla="*/ 66716 h 1608169"/>
                <a:gd name="connsiteX51" fmla="*/ 82571 w 4042302"/>
                <a:gd name="connsiteY51" fmla="*/ 70648 h 1608169"/>
                <a:gd name="connsiteX52" fmla="*/ 81556 w 4042302"/>
                <a:gd name="connsiteY52" fmla="*/ 69887 h 1608169"/>
                <a:gd name="connsiteX53" fmla="*/ 82825 w 4042302"/>
                <a:gd name="connsiteY53" fmla="*/ 69887 h 1608169"/>
                <a:gd name="connsiteX54" fmla="*/ 98806 w 4042302"/>
                <a:gd name="connsiteY54" fmla="*/ 69887 h 1608169"/>
                <a:gd name="connsiteX55" fmla="*/ 98806 w 4042302"/>
                <a:gd name="connsiteY55" fmla="*/ 73819 h 1608169"/>
                <a:gd name="connsiteX56" fmla="*/ 97792 w 4042302"/>
                <a:gd name="connsiteY56" fmla="*/ 73058 h 1608169"/>
                <a:gd name="connsiteX57" fmla="*/ 100201 w 4042302"/>
                <a:gd name="connsiteY57" fmla="*/ 73058 h 1608169"/>
                <a:gd name="connsiteX58" fmla="*/ 100201 w 4042302"/>
                <a:gd name="connsiteY58" fmla="*/ 76990 h 1608169"/>
                <a:gd name="connsiteX59" fmla="*/ 99060 w 4042302"/>
                <a:gd name="connsiteY59" fmla="*/ 76229 h 1608169"/>
                <a:gd name="connsiteX60" fmla="*/ 101597 w 4042302"/>
                <a:gd name="connsiteY60" fmla="*/ 76229 h 1608169"/>
                <a:gd name="connsiteX61" fmla="*/ 101597 w 4042302"/>
                <a:gd name="connsiteY61" fmla="*/ 80161 h 1608169"/>
                <a:gd name="connsiteX62" fmla="*/ 100455 w 4042302"/>
                <a:gd name="connsiteY62" fmla="*/ 79400 h 1608169"/>
                <a:gd name="connsiteX63" fmla="*/ 102992 w 4042302"/>
                <a:gd name="connsiteY63" fmla="*/ 79400 h 1608169"/>
                <a:gd name="connsiteX64" fmla="*/ 102992 w 4042302"/>
                <a:gd name="connsiteY64" fmla="*/ 83332 h 1608169"/>
                <a:gd name="connsiteX65" fmla="*/ 101850 w 4042302"/>
                <a:gd name="connsiteY65" fmla="*/ 82571 h 1608169"/>
                <a:gd name="connsiteX66" fmla="*/ 104387 w 4042302"/>
                <a:gd name="connsiteY66" fmla="*/ 82571 h 1608169"/>
                <a:gd name="connsiteX67" fmla="*/ 104387 w 4042302"/>
                <a:gd name="connsiteY67" fmla="*/ 89801 h 1608169"/>
                <a:gd name="connsiteX68" fmla="*/ 103246 w 4042302"/>
                <a:gd name="connsiteY68" fmla="*/ 88913 h 1608169"/>
                <a:gd name="connsiteX69" fmla="*/ 108319 w 4042302"/>
                <a:gd name="connsiteY69" fmla="*/ 88913 h 1608169"/>
                <a:gd name="connsiteX70" fmla="*/ 108319 w 4042302"/>
                <a:gd name="connsiteY70" fmla="*/ 96143 h 1608169"/>
                <a:gd name="connsiteX71" fmla="*/ 107304 w 4042302"/>
                <a:gd name="connsiteY71" fmla="*/ 95255 h 1608169"/>
                <a:gd name="connsiteX72" fmla="*/ 109714 w 4042302"/>
                <a:gd name="connsiteY72" fmla="*/ 95255 h 1608169"/>
                <a:gd name="connsiteX73" fmla="*/ 109714 w 4042302"/>
                <a:gd name="connsiteY73" fmla="*/ 99314 h 1608169"/>
                <a:gd name="connsiteX74" fmla="*/ 108573 w 4042302"/>
                <a:gd name="connsiteY74" fmla="*/ 98553 h 1608169"/>
                <a:gd name="connsiteX75" fmla="*/ 111109 w 4042302"/>
                <a:gd name="connsiteY75" fmla="*/ 98553 h 1608169"/>
                <a:gd name="connsiteX76" fmla="*/ 111109 w 4042302"/>
                <a:gd name="connsiteY76" fmla="*/ 102484 h 1608169"/>
                <a:gd name="connsiteX77" fmla="*/ 109968 w 4042302"/>
                <a:gd name="connsiteY77" fmla="*/ 101723 h 1608169"/>
                <a:gd name="connsiteX78" fmla="*/ 112505 w 4042302"/>
                <a:gd name="connsiteY78" fmla="*/ 101723 h 1608169"/>
                <a:gd name="connsiteX79" fmla="*/ 112505 w 4042302"/>
                <a:gd name="connsiteY79" fmla="*/ 105655 h 1608169"/>
                <a:gd name="connsiteX80" fmla="*/ 111363 w 4042302"/>
                <a:gd name="connsiteY80" fmla="*/ 104894 h 1608169"/>
                <a:gd name="connsiteX81" fmla="*/ 115168 w 4042302"/>
                <a:gd name="connsiteY81" fmla="*/ 104894 h 1608169"/>
                <a:gd name="connsiteX82" fmla="*/ 115168 w 4042302"/>
                <a:gd name="connsiteY82" fmla="*/ 108953 h 1608169"/>
                <a:gd name="connsiteX83" fmla="*/ 114154 w 4042302"/>
                <a:gd name="connsiteY83" fmla="*/ 108065 h 1608169"/>
                <a:gd name="connsiteX84" fmla="*/ 116563 w 4042302"/>
                <a:gd name="connsiteY84" fmla="*/ 108065 h 1608169"/>
                <a:gd name="connsiteX85" fmla="*/ 116563 w 4042302"/>
                <a:gd name="connsiteY85" fmla="*/ 111997 h 1608169"/>
                <a:gd name="connsiteX86" fmla="*/ 115422 w 4042302"/>
                <a:gd name="connsiteY86" fmla="*/ 111236 h 1608169"/>
                <a:gd name="connsiteX87" fmla="*/ 121891 w 4042302"/>
                <a:gd name="connsiteY87" fmla="*/ 111236 h 1608169"/>
                <a:gd name="connsiteX88" fmla="*/ 121891 w 4042302"/>
                <a:gd name="connsiteY88" fmla="*/ 118466 h 1608169"/>
                <a:gd name="connsiteX89" fmla="*/ 120876 w 4042302"/>
                <a:gd name="connsiteY89" fmla="*/ 117578 h 1608169"/>
                <a:gd name="connsiteX90" fmla="*/ 124681 w 4042302"/>
                <a:gd name="connsiteY90" fmla="*/ 117578 h 1608169"/>
                <a:gd name="connsiteX91" fmla="*/ 124681 w 4042302"/>
                <a:gd name="connsiteY91" fmla="*/ 124808 h 1608169"/>
                <a:gd name="connsiteX92" fmla="*/ 123539 w 4042302"/>
                <a:gd name="connsiteY92" fmla="*/ 124047 h 1608169"/>
                <a:gd name="connsiteX93" fmla="*/ 126076 w 4042302"/>
                <a:gd name="connsiteY93" fmla="*/ 124047 h 1608169"/>
                <a:gd name="connsiteX94" fmla="*/ 126076 w 4042302"/>
                <a:gd name="connsiteY94" fmla="*/ 127979 h 1608169"/>
                <a:gd name="connsiteX95" fmla="*/ 124935 w 4042302"/>
                <a:gd name="connsiteY95" fmla="*/ 127218 h 1608169"/>
                <a:gd name="connsiteX96" fmla="*/ 127471 w 4042302"/>
                <a:gd name="connsiteY96" fmla="*/ 127218 h 1608169"/>
                <a:gd name="connsiteX97" fmla="*/ 127471 w 4042302"/>
                <a:gd name="connsiteY97" fmla="*/ 131150 h 1608169"/>
                <a:gd name="connsiteX98" fmla="*/ 126330 w 4042302"/>
                <a:gd name="connsiteY98" fmla="*/ 130389 h 1608169"/>
                <a:gd name="connsiteX99" fmla="*/ 128740 w 4042302"/>
                <a:gd name="connsiteY99" fmla="*/ 130389 h 1608169"/>
                <a:gd name="connsiteX100" fmla="*/ 128740 w 4042302"/>
                <a:gd name="connsiteY100" fmla="*/ 134321 h 1608169"/>
                <a:gd name="connsiteX101" fmla="*/ 127725 w 4042302"/>
                <a:gd name="connsiteY101" fmla="*/ 133560 h 1608169"/>
                <a:gd name="connsiteX102" fmla="*/ 131403 w 4042302"/>
                <a:gd name="connsiteY102" fmla="*/ 133560 h 1608169"/>
                <a:gd name="connsiteX103" fmla="*/ 131403 w 4042302"/>
                <a:gd name="connsiteY103" fmla="*/ 137492 h 1608169"/>
                <a:gd name="connsiteX104" fmla="*/ 130389 w 4042302"/>
                <a:gd name="connsiteY104" fmla="*/ 136731 h 1608169"/>
                <a:gd name="connsiteX105" fmla="*/ 132799 w 4042302"/>
                <a:gd name="connsiteY105" fmla="*/ 136731 h 1608169"/>
                <a:gd name="connsiteX106" fmla="*/ 132799 w 4042302"/>
                <a:gd name="connsiteY106" fmla="*/ 140789 h 1608169"/>
                <a:gd name="connsiteX107" fmla="*/ 131784 w 4042302"/>
                <a:gd name="connsiteY107" fmla="*/ 139901 h 1608169"/>
                <a:gd name="connsiteX108" fmla="*/ 134194 w 4042302"/>
                <a:gd name="connsiteY108" fmla="*/ 139901 h 1608169"/>
                <a:gd name="connsiteX109" fmla="*/ 134194 w 4042302"/>
                <a:gd name="connsiteY109" fmla="*/ 143833 h 1608169"/>
                <a:gd name="connsiteX110" fmla="*/ 133052 w 4042302"/>
                <a:gd name="connsiteY110" fmla="*/ 143072 h 1608169"/>
                <a:gd name="connsiteX111" fmla="*/ 135589 w 4042302"/>
                <a:gd name="connsiteY111" fmla="*/ 143072 h 1608169"/>
                <a:gd name="connsiteX112" fmla="*/ 135589 w 4042302"/>
                <a:gd name="connsiteY112" fmla="*/ 153473 h 1608169"/>
                <a:gd name="connsiteX113" fmla="*/ 134447 w 4042302"/>
                <a:gd name="connsiteY113" fmla="*/ 152712 h 1608169"/>
                <a:gd name="connsiteX114" fmla="*/ 141043 w 4042302"/>
                <a:gd name="connsiteY114" fmla="*/ 152712 h 1608169"/>
                <a:gd name="connsiteX115" fmla="*/ 141043 w 4042302"/>
                <a:gd name="connsiteY115" fmla="*/ 156644 h 1608169"/>
                <a:gd name="connsiteX116" fmla="*/ 139901 w 4042302"/>
                <a:gd name="connsiteY116" fmla="*/ 155883 h 1608169"/>
                <a:gd name="connsiteX117" fmla="*/ 145102 w 4042302"/>
                <a:gd name="connsiteY117" fmla="*/ 155883 h 1608169"/>
                <a:gd name="connsiteX118" fmla="*/ 145102 w 4042302"/>
                <a:gd name="connsiteY118" fmla="*/ 159815 h 1608169"/>
                <a:gd name="connsiteX119" fmla="*/ 143960 w 4042302"/>
                <a:gd name="connsiteY119" fmla="*/ 159054 h 1608169"/>
                <a:gd name="connsiteX120" fmla="*/ 146370 w 4042302"/>
                <a:gd name="connsiteY120" fmla="*/ 159054 h 1608169"/>
                <a:gd name="connsiteX121" fmla="*/ 146370 w 4042302"/>
                <a:gd name="connsiteY121" fmla="*/ 162986 h 1608169"/>
                <a:gd name="connsiteX122" fmla="*/ 145355 w 4042302"/>
                <a:gd name="connsiteY122" fmla="*/ 162225 h 1608169"/>
                <a:gd name="connsiteX123" fmla="*/ 149161 w 4042302"/>
                <a:gd name="connsiteY123" fmla="*/ 162225 h 1608169"/>
                <a:gd name="connsiteX124" fmla="*/ 149161 w 4042302"/>
                <a:gd name="connsiteY124" fmla="*/ 169455 h 1608169"/>
                <a:gd name="connsiteX125" fmla="*/ 148019 w 4042302"/>
                <a:gd name="connsiteY125" fmla="*/ 168567 h 1608169"/>
                <a:gd name="connsiteX126" fmla="*/ 150556 w 4042302"/>
                <a:gd name="connsiteY126" fmla="*/ 168567 h 1608169"/>
                <a:gd name="connsiteX127" fmla="*/ 150556 w 4042302"/>
                <a:gd name="connsiteY127" fmla="*/ 175796 h 1608169"/>
                <a:gd name="connsiteX128" fmla="*/ 149414 w 4042302"/>
                <a:gd name="connsiteY128" fmla="*/ 175035 h 1608169"/>
                <a:gd name="connsiteX129" fmla="*/ 151951 w 4042302"/>
                <a:gd name="connsiteY129" fmla="*/ 175035 h 1608169"/>
                <a:gd name="connsiteX130" fmla="*/ 151951 w 4042302"/>
                <a:gd name="connsiteY130" fmla="*/ 182265 h 1608169"/>
                <a:gd name="connsiteX131" fmla="*/ 150809 w 4042302"/>
                <a:gd name="connsiteY131" fmla="*/ 181377 h 1608169"/>
                <a:gd name="connsiteX132" fmla="*/ 154615 w 4042302"/>
                <a:gd name="connsiteY132" fmla="*/ 181377 h 1608169"/>
                <a:gd name="connsiteX133" fmla="*/ 154615 w 4042302"/>
                <a:gd name="connsiteY133" fmla="*/ 185309 h 1608169"/>
                <a:gd name="connsiteX134" fmla="*/ 153473 w 4042302"/>
                <a:gd name="connsiteY134" fmla="*/ 184548 h 1608169"/>
                <a:gd name="connsiteX135" fmla="*/ 155883 w 4042302"/>
                <a:gd name="connsiteY135" fmla="*/ 184548 h 1608169"/>
                <a:gd name="connsiteX136" fmla="*/ 155883 w 4042302"/>
                <a:gd name="connsiteY136" fmla="*/ 191778 h 1608169"/>
                <a:gd name="connsiteX137" fmla="*/ 154868 w 4042302"/>
                <a:gd name="connsiteY137" fmla="*/ 191017 h 1608169"/>
                <a:gd name="connsiteX138" fmla="*/ 157278 w 4042302"/>
                <a:gd name="connsiteY138" fmla="*/ 191017 h 1608169"/>
                <a:gd name="connsiteX139" fmla="*/ 157278 w 4042302"/>
                <a:gd name="connsiteY139" fmla="*/ 194949 h 1608169"/>
                <a:gd name="connsiteX140" fmla="*/ 156137 w 4042302"/>
                <a:gd name="connsiteY140" fmla="*/ 194188 h 1608169"/>
                <a:gd name="connsiteX141" fmla="*/ 158673 w 4042302"/>
                <a:gd name="connsiteY141" fmla="*/ 194188 h 1608169"/>
                <a:gd name="connsiteX142" fmla="*/ 158673 w 4042302"/>
                <a:gd name="connsiteY142" fmla="*/ 204462 h 1608169"/>
                <a:gd name="connsiteX143" fmla="*/ 157532 w 4042302"/>
                <a:gd name="connsiteY143" fmla="*/ 203701 h 1608169"/>
                <a:gd name="connsiteX144" fmla="*/ 160069 w 4042302"/>
                <a:gd name="connsiteY144" fmla="*/ 203701 h 1608169"/>
                <a:gd name="connsiteX145" fmla="*/ 160069 w 4042302"/>
                <a:gd name="connsiteY145" fmla="*/ 207759 h 1608169"/>
                <a:gd name="connsiteX146" fmla="*/ 158927 w 4042302"/>
                <a:gd name="connsiteY146" fmla="*/ 206998 h 1608169"/>
                <a:gd name="connsiteX147" fmla="*/ 162732 w 4042302"/>
                <a:gd name="connsiteY147" fmla="*/ 206998 h 1608169"/>
                <a:gd name="connsiteX148" fmla="*/ 162732 w 4042302"/>
                <a:gd name="connsiteY148" fmla="*/ 210930 h 1608169"/>
                <a:gd name="connsiteX149" fmla="*/ 161717 w 4042302"/>
                <a:gd name="connsiteY149" fmla="*/ 210042 h 1608169"/>
                <a:gd name="connsiteX150" fmla="*/ 164127 w 4042302"/>
                <a:gd name="connsiteY150" fmla="*/ 210042 h 1608169"/>
                <a:gd name="connsiteX151" fmla="*/ 164127 w 4042302"/>
                <a:gd name="connsiteY151" fmla="*/ 217272 h 1608169"/>
                <a:gd name="connsiteX152" fmla="*/ 162986 w 4042302"/>
                <a:gd name="connsiteY152" fmla="*/ 216511 h 1608169"/>
                <a:gd name="connsiteX153" fmla="*/ 165396 w 4042302"/>
                <a:gd name="connsiteY153" fmla="*/ 216511 h 1608169"/>
                <a:gd name="connsiteX154" fmla="*/ 165396 w 4042302"/>
                <a:gd name="connsiteY154" fmla="*/ 223741 h 1608169"/>
                <a:gd name="connsiteX155" fmla="*/ 164381 w 4042302"/>
                <a:gd name="connsiteY155" fmla="*/ 222853 h 1608169"/>
                <a:gd name="connsiteX156" fmla="*/ 166791 w 4042302"/>
                <a:gd name="connsiteY156" fmla="*/ 222853 h 1608169"/>
                <a:gd name="connsiteX157" fmla="*/ 166791 w 4042302"/>
                <a:gd name="connsiteY157" fmla="*/ 226912 h 1608169"/>
                <a:gd name="connsiteX158" fmla="*/ 165649 w 4042302"/>
                <a:gd name="connsiteY158" fmla="*/ 226151 h 1608169"/>
                <a:gd name="connsiteX159" fmla="*/ 168186 w 4042302"/>
                <a:gd name="connsiteY159" fmla="*/ 226151 h 1608169"/>
                <a:gd name="connsiteX160" fmla="*/ 168186 w 4042302"/>
                <a:gd name="connsiteY160" fmla="*/ 230083 h 1608169"/>
                <a:gd name="connsiteX161" fmla="*/ 167045 w 4042302"/>
                <a:gd name="connsiteY161" fmla="*/ 229322 h 1608169"/>
                <a:gd name="connsiteX162" fmla="*/ 169581 w 4042302"/>
                <a:gd name="connsiteY162" fmla="*/ 229322 h 1608169"/>
                <a:gd name="connsiteX163" fmla="*/ 169581 w 4042302"/>
                <a:gd name="connsiteY163" fmla="*/ 233254 h 1608169"/>
                <a:gd name="connsiteX164" fmla="*/ 168440 w 4042302"/>
                <a:gd name="connsiteY164" fmla="*/ 232493 h 1608169"/>
                <a:gd name="connsiteX165" fmla="*/ 173640 w 4042302"/>
                <a:gd name="connsiteY165" fmla="*/ 232493 h 1608169"/>
                <a:gd name="connsiteX166" fmla="*/ 173640 w 4042302"/>
                <a:gd name="connsiteY166" fmla="*/ 242893 h 1608169"/>
                <a:gd name="connsiteX167" fmla="*/ 172499 w 4042302"/>
                <a:gd name="connsiteY167" fmla="*/ 242005 h 1608169"/>
                <a:gd name="connsiteX168" fmla="*/ 175035 w 4042302"/>
                <a:gd name="connsiteY168" fmla="*/ 242005 h 1608169"/>
                <a:gd name="connsiteX169" fmla="*/ 175035 w 4042302"/>
                <a:gd name="connsiteY169" fmla="*/ 249235 h 1608169"/>
                <a:gd name="connsiteX170" fmla="*/ 173894 w 4042302"/>
                <a:gd name="connsiteY170" fmla="*/ 248474 h 1608169"/>
                <a:gd name="connsiteX171" fmla="*/ 179094 w 4042302"/>
                <a:gd name="connsiteY171" fmla="*/ 248474 h 1608169"/>
                <a:gd name="connsiteX172" fmla="*/ 179094 w 4042302"/>
                <a:gd name="connsiteY172" fmla="*/ 252533 h 1608169"/>
                <a:gd name="connsiteX173" fmla="*/ 177953 w 4042302"/>
                <a:gd name="connsiteY173" fmla="*/ 251645 h 1608169"/>
                <a:gd name="connsiteX174" fmla="*/ 184548 w 4042302"/>
                <a:gd name="connsiteY174" fmla="*/ 251645 h 1608169"/>
                <a:gd name="connsiteX175" fmla="*/ 184548 w 4042302"/>
                <a:gd name="connsiteY175" fmla="*/ 262046 h 1608169"/>
                <a:gd name="connsiteX176" fmla="*/ 183407 w 4042302"/>
                <a:gd name="connsiteY176" fmla="*/ 261285 h 1608169"/>
                <a:gd name="connsiteX177" fmla="*/ 187212 w 4042302"/>
                <a:gd name="connsiteY177" fmla="*/ 261285 h 1608169"/>
                <a:gd name="connsiteX178" fmla="*/ 187212 w 4042302"/>
                <a:gd name="connsiteY178" fmla="*/ 265343 h 1608169"/>
                <a:gd name="connsiteX179" fmla="*/ 186197 w 4042302"/>
                <a:gd name="connsiteY179" fmla="*/ 264456 h 1608169"/>
                <a:gd name="connsiteX180" fmla="*/ 188480 w 4042302"/>
                <a:gd name="connsiteY180" fmla="*/ 264456 h 1608169"/>
                <a:gd name="connsiteX181" fmla="*/ 188480 w 4042302"/>
                <a:gd name="connsiteY181" fmla="*/ 274983 h 1608169"/>
                <a:gd name="connsiteX182" fmla="*/ 187465 w 4042302"/>
                <a:gd name="connsiteY182" fmla="*/ 274095 h 1608169"/>
                <a:gd name="connsiteX183" fmla="*/ 189875 w 4042302"/>
                <a:gd name="connsiteY183" fmla="*/ 274095 h 1608169"/>
                <a:gd name="connsiteX184" fmla="*/ 189875 w 4042302"/>
                <a:gd name="connsiteY184" fmla="*/ 278154 h 1608169"/>
                <a:gd name="connsiteX185" fmla="*/ 188861 w 4042302"/>
                <a:gd name="connsiteY185" fmla="*/ 277393 h 1608169"/>
                <a:gd name="connsiteX186" fmla="*/ 191271 w 4042302"/>
                <a:gd name="connsiteY186" fmla="*/ 277393 h 1608169"/>
                <a:gd name="connsiteX187" fmla="*/ 191271 w 4042302"/>
                <a:gd name="connsiteY187" fmla="*/ 281325 h 1608169"/>
                <a:gd name="connsiteX188" fmla="*/ 190129 w 4042302"/>
                <a:gd name="connsiteY188" fmla="*/ 280564 h 1608169"/>
                <a:gd name="connsiteX189" fmla="*/ 192666 w 4042302"/>
                <a:gd name="connsiteY189" fmla="*/ 280564 h 1608169"/>
                <a:gd name="connsiteX190" fmla="*/ 192666 w 4042302"/>
                <a:gd name="connsiteY190" fmla="*/ 284623 h 1608169"/>
                <a:gd name="connsiteX191" fmla="*/ 191524 w 4042302"/>
                <a:gd name="connsiteY191" fmla="*/ 283735 h 1608169"/>
                <a:gd name="connsiteX192" fmla="*/ 195329 w 4042302"/>
                <a:gd name="connsiteY192" fmla="*/ 283735 h 1608169"/>
                <a:gd name="connsiteX193" fmla="*/ 195329 w 4042302"/>
                <a:gd name="connsiteY193" fmla="*/ 287794 h 1608169"/>
                <a:gd name="connsiteX194" fmla="*/ 194315 w 4042302"/>
                <a:gd name="connsiteY194" fmla="*/ 287033 h 1608169"/>
                <a:gd name="connsiteX195" fmla="*/ 198120 w 4042302"/>
                <a:gd name="connsiteY195" fmla="*/ 287033 h 1608169"/>
                <a:gd name="connsiteX196" fmla="*/ 198120 w 4042302"/>
                <a:gd name="connsiteY196" fmla="*/ 290965 h 1608169"/>
                <a:gd name="connsiteX197" fmla="*/ 196978 w 4042302"/>
                <a:gd name="connsiteY197" fmla="*/ 290204 h 1608169"/>
                <a:gd name="connsiteX198" fmla="*/ 203447 w 4042302"/>
                <a:gd name="connsiteY198" fmla="*/ 290204 h 1608169"/>
                <a:gd name="connsiteX199" fmla="*/ 203447 w 4042302"/>
                <a:gd name="connsiteY199" fmla="*/ 297433 h 1608169"/>
                <a:gd name="connsiteX200" fmla="*/ 202432 w 4042302"/>
                <a:gd name="connsiteY200" fmla="*/ 296672 h 1608169"/>
                <a:gd name="connsiteX201" fmla="*/ 204842 w 4042302"/>
                <a:gd name="connsiteY201" fmla="*/ 296672 h 1608169"/>
                <a:gd name="connsiteX202" fmla="*/ 204842 w 4042302"/>
                <a:gd name="connsiteY202" fmla="*/ 300604 h 1608169"/>
                <a:gd name="connsiteX203" fmla="*/ 203827 w 4042302"/>
                <a:gd name="connsiteY203" fmla="*/ 299843 h 1608169"/>
                <a:gd name="connsiteX204" fmla="*/ 207633 w 4042302"/>
                <a:gd name="connsiteY204" fmla="*/ 299843 h 1608169"/>
                <a:gd name="connsiteX205" fmla="*/ 207633 w 4042302"/>
                <a:gd name="connsiteY205" fmla="*/ 303902 h 1608169"/>
                <a:gd name="connsiteX206" fmla="*/ 206491 w 4042302"/>
                <a:gd name="connsiteY206" fmla="*/ 303141 h 1608169"/>
                <a:gd name="connsiteX207" fmla="*/ 209028 w 4042302"/>
                <a:gd name="connsiteY207" fmla="*/ 303141 h 1608169"/>
                <a:gd name="connsiteX208" fmla="*/ 209028 w 4042302"/>
                <a:gd name="connsiteY208" fmla="*/ 313542 h 1608169"/>
                <a:gd name="connsiteX209" fmla="*/ 207886 w 4042302"/>
                <a:gd name="connsiteY209" fmla="*/ 312781 h 1608169"/>
                <a:gd name="connsiteX210" fmla="*/ 210296 w 4042302"/>
                <a:gd name="connsiteY210" fmla="*/ 312781 h 1608169"/>
                <a:gd name="connsiteX211" fmla="*/ 210296 w 4042302"/>
                <a:gd name="connsiteY211" fmla="*/ 316839 h 1608169"/>
                <a:gd name="connsiteX212" fmla="*/ 209281 w 4042302"/>
                <a:gd name="connsiteY212" fmla="*/ 315952 h 1608169"/>
                <a:gd name="connsiteX213" fmla="*/ 215750 w 4042302"/>
                <a:gd name="connsiteY213" fmla="*/ 315952 h 1608169"/>
                <a:gd name="connsiteX214" fmla="*/ 215750 w 4042302"/>
                <a:gd name="connsiteY214" fmla="*/ 320010 h 1608169"/>
                <a:gd name="connsiteX215" fmla="*/ 214609 w 4042302"/>
                <a:gd name="connsiteY215" fmla="*/ 319249 h 1608169"/>
                <a:gd name="connsiteX216" fmla="*/ 217145 w 4042302"/>
                <a:gd name="connsiteY216" fmla="*/ 319249 h 1608169"/>
                <a:gd name="connsiteX217" fmla="*/ 217145 w 4042302"/>
                <a:gd name="connsiteY217" fmla="*/ 329650 h 1608169"/>
                <a:gd name="connsiteX218" fmla="*/ 216004 w 4042302"/>
                <a:gd name="connsiteY218" fmla="*/ 328889 h 1608169"/>
                <a:gd name="connsiteX219" fmla="*/ 218541 w 4042302"/>
                <a:gd name="connsiteY219" fmla="*/ 328889 h 1608169"/>
                <a:gd name="connsiteX220" fmla="*/ 218541 w 4042302"/>
                <a:gd name="connsiteY220" fmla="*/ 336119 h 1608169"/>
                <a:gd name="connsiteX221" fmla="*/ 217399 w 4042302"/>
                <a:gd name="connsiteY221" fmla="*/ 335358 h 1608169"/>
                <a:gd name="connsiteX222" fmla="*/ 222599 w 4042302"/>
                <a:gd name="connsiteY222" fmla="*/ 335358 h 1608169"/>
                <a:gd name="connsiteX223" fmla="*/ 222599 w 4042302"/>
                <a:gd name="connsiteY223" fmla="*/ 342587 h 1608169"/>
                <a:gd name="connsiteX224" fmla="*/ 221458 w 4042302"/>
                <a:gd name="connsiteY224" fmla="*/ 341826 h 1608169"/>
                <a:gd name="connsiteX225" fmla="*/ 223868 w 4042302"/>
                <a:gd name="connsiteY225" fmla="*/ 341826 h 1608169"/>
                <a:gd name="connsiteX226" fmla="*/ 223868 w 4042302"/>
                <a:gd name="connsiteY226" fmla="*/ 349056 h 1608169"/>
                <a:gd name="connsiteX227" fmla="*/ 222726 w 4042302"/>
                <a:gd name="connsiteY227" fmla="*/ 348295 h 1608169"/>
                <a:gd name="connsiteX228" fmla="*/ 225263 w 4042302"/>
                <a:gd name="connsiteY228" fmla="*/ 348295 h 1608169"/>
                <a:gd name="connsiteX229" fmla="*/ 225263 w 4042302"/>
                <a:gd name="connsiteY229" fmla="*/ 352354 h 1608169"/>
                <a:gd name="connsiteX230" fmla="*/ 224121 w 4042302"/>
                <a:gd name="connsiteY230" fmla="*/ 351466 h 1608169"/>
                <a:gd name="connsiteX231" fmla="*/ 230717 w 4042302"/>
                <a:gd name="connsiteY231" fmla="*/ 351466 h 1608169"/>
                <a:gd name="connsiteX232" fmla="*/ 230717 w 4042302"/>
                <a:gd name="connsiteY232" fmla="*/ 358696 h 1608169"/>
                <a:gd name="connsiteX233" fmla="*/ 229575 w 4042302"/>
                <a:gd name="connsiteY233" fmla="*/ 357935 h 1608169"/>
                <a:gd name="connsiteX234" fmla="*/ 233507 w 4042302"/>
                <a:gd name="connsiteY234" fmla="*/ 357935 h 1608169"/>
                <a:gd name="connsiteX235" fmla="*/ 233507 w 4042302"/>
                <a:gd name="connsiteY235" fmla="*/ 365291 h 1608169"/>
                <a:gd name="connsiteX236" fmla="*/ 232366 w 4042302"/>
                <a:gd name="connsiteY236" fmla="*/ 364403 h 1608169"/>
                <a:gd name="connsiteX237" fmla="*/ 233761 w 4042302"/>
                <a:gd name="connsiteY237" fmla="*/ 364403 h 1608169"/>
                <a:gd name="connsiteX238" fmla="*/ 236171 w 4042302"/>
                <a:gd name="connsiteY238" fmla="*/ 364403 h 1608169"/>
                <a:gd name="connsiteX239" fmla="*/ 236171 w 4042302"/>
                <a:gd name="connsiteY239" fmla="*/ 374931 h 1608169"/>
                <a:gd name="connsiteX240" fmla="*/ 235029 w 4042302"/>
                <a:gd name="connsiteY240" fmla="*/ 374170 h 1608169"/>
                <a:gd name="connsiteX241" fmla="*/ 237439 w 4042302"/>
                <a:gd name="connsiteY241" fmla="*/ 374170 h 1608169"/>
                <a:gd name="connsiteX242" fmla="*/ 237439 w 4042302"/>
                <a:gd name="connsiteY242" fmla="*/ 384570 h 1608169"/>
                <a:gd name="connsiteX243" fmla="*/ 236425 w 4042302"/>
                <a:gd name="connsiteY243" fmla="*/ 383809 h 1608169"/>
                <a:gd name="connsiteX244" fmla="*/ 238835 w 4042302"/>
                <a:gd name="connsiteY244" fmla="*/ 383809 h 1608169"/>
                <a:gd name="connsiteX245" fmla="*/ 238835 w 4042302"/>
                <a:gd name="connsiteY245" fmla="*/ 391039 h 1608169"/>
                <a:gd name="connsiteX246" fmla="*/ 237693 w 4042302"/>
                <a:gd name="connsiteY246" fmla="*/ 390278 h 1608169"/>
                <a:gd name="connsiteX247" fmla="*/ 243020 w 4042302"/>
                <a:gd name="connsiteY247" fmla="*/ 390278 h 1608169"/>
                <a:gd name="connsiteX248" fmla="*/ 243020 w 4042302"/>
                <a:gd name="connsiteY248" fmla="*/ 400806 h 1608169"/>
                <a:gd name="connsiteX249" fmla="*/ 241879 w 4042302"/>
                <a:gd name="connsiteY249" fmla="*/ 400045 h 1608169"/>
                <a:gd name="connsiteX250" fmla="*/ 244289 w 4042302"/>
                <a:gd name="connsiteY250" fmla="*/ 400045 h 1608169"/>
                <a:gd name="connsiteX251" fmla="*/ 244289 w 4042302"/>
                <a:gd name="connsiteY251" fmla="*/ 404103 h 1608169"/>
                <a:gd name="connsiteX252" fmla="*/ 243274 w 4042302"/>
                <a:gd name="connsiteY252" fmla="*/ 403342 h 1608169"/>
                <a:gd name="connsiteX253" fmla="*/ 245937 w 4042302"/>
                <a:gd name="connsiteY253" fmla="*/ 403342 h 1608169"/>
                <a:gd name="connsiteX254" fmla="*/ 248347 w 4042302"/>
                <a:gd name="connsiteY254" fmla="*/ 403342 h 1608169"/>
                <a:gd name="connsiteX255" fmla="*/ 248347 w 4042302"/>
                <a:gd name="connsiteY255" fmla="*/ 410572 h 1608169"/>
                <a:gd name="connsiteX256" fmla="*/ 247206 w 4042302"/>
                <a:gd name="connsiteY256" fmla="*/ 409811 h 1608169"/>
                <a:gd name="connsiteX257" fmla="*/ 249743 w 4042302"/>
                <a:gd name="connsiteY257" fmla="*/ 409811 h 1608169"/>
                <a:gd name="connsiteX258" fmla="*/ 249743 w 4042302"/>
                <a:gd name="connsiteY258" fmla="*/ 413743 h 1608169"/>
                <a:gd name="connsiteX259" fmla="*/ 248601 w 4042302"/>
                <a:gd name="connsiteY259" fmla="*/ 412982 h 1608169"/>
                <a:gd name="connsiteX260" fmla="*/ 251138 w 4042302"/>
                <a:gd name="connsiteY260" fmla="*/ 412982 h 1608169"/>
                <a:gd name="connsiteX261" fmla="*/ 251138 w 4042302"/>
                <a:gd name="connsiteY261" fmla="*/ 417041 h 1608169"/>
                <a:gd name="connsiteX262" fmla="*/ 249996 w 4042302"/>
                <a:gd name="connsiteY262" fmla="*/ 416280 h 1608169"/>
                <a:gd name="connsiteX263" fmla="*/ 252406 w 4042302"/>
                <a:gd name="connsiteY263" fmla="*/ 416280 h 1608169"/>
                <a:gd name="connsiteX264" fmla="*/ 252406 w 4042302"/>
                <a:gd name="connsiteY264" fmla="*/ 420339 h 1608169"/>
                <a:gd name="connsiteX265" fmla="*/ 251391 w 4042302"/>
                <a:gd name="connsiteY265" fmla="*/ 419451 h 1608169"/>
                <a:gd name="connsiteX266" fmla="*/ 253801 w 4042302"/>
                <a:gd name="connsiteY266" fmla="*/ 419451 h 1608169"/>
                <a:gd name="connsiteX267" fmla="*/ 253801 w 4042302"/>
                <a:gd name="connsiteY267" fmla="*/ 426807 h 1608169"/>
                <a:gd name="connsiteX268" fmla="*/ 252787 w 4042302"/>
                <a:gd name="connsiteY268" fmla="*/ 426046 h 1608169"/>
                <a:gd name="connsiteX269" fmla="*/ 255197 w 4042302"/>
                <a:gd name="connsiteY269" fmla="*/ 426046 h 1608169"/>
                <a:gd name="connsiteX270" fmla="*/ 255197 w 4042302"/>
                <a:gd name="connsiteY270" fmla="*/ 430105 h 1608169"/>
                <a:gd name="connsiteX271" fmla="*/ 254055 w 4042302"/>
                <a:gd name="connsiteY271" fmla="*/ 429344 h 1608169"/>
                <a:gd name="connsiteX272" fmla="*/ 256592 w 4042302"/>
                <a:gd name="connsiteY272" fmla="*/ 429344 h 1608169"/>
                <a:gd name="connsiteX273" fmla="*/ 256592 w 4042302"/>
                <a:gd name="connsiteY273" fmla="*/ 433403 h 1608169"/>
                <a:gd name="connsiteX274" fmla="*/ 255450 w 4042302"/>
                <a:gd name="connsiteY274" fmla="*/ 432515 h 1608169"/>
                <a:gd name="connsiteX275" fmla="*/ 257987 w 4042302"/>
                <a:gd name="connsiteY275" fmla="*/ 432515 h 1608169"/>
                <a:gd name="connsiteX276" fmla="*/ 257987 w 4042302"/>
                <a:gd name="connsiteY276" fmla="*/ 443042 h 1608169"/>
                <a:gd name="connsiteX277" fmla="*/ 256845 w 4042302"/>
                <a:gd name="connsiteY277" fmla="*/ 442281 h 1608169"/>
                <a:gd name="connsiteX278" fmla="*/ 260524 w 4042302"/>
                <a:gd name="connsiteY278" fmla="*/ 442281 h 1608169"/>
                <a:gd name="connsiteX279" fmla="*/ 260524 w 4042302"/>
                <a:gd name="connsiteY279" fmla="*/ 446340 h 1608169"/>
                <a:gd name="connsiteX280" fmla="*/ 259509 w 4042302"/>
                <a:gd name="connsiteY280" fmla="*/ 445579 h 1608169"/>
                <a:gd name="connsiteX281" fmla="*/ 263314 w 4042302"/>
                <a:gd name="connsiteY281" fmla="*/ 445579 h 1608169"/>
                <a:gd name="connsiteX282" fmla="*/ 263314 w 4042302"/>
                <a:gd name="connsiteY282" fmla="*/ 452809 h 1608169"/>
                <a:gd name="connsiteX283" fmla="*/ 262173 w 4042302"/>
                <a:gd name="connsiteY283" fmla="*/ 452048 h 1608169"/>
                <a:gd name="connsiteX284" fmla="*/ 264709 w 4042302"/>
                <a:gd name="connsiteY284" fmla="*/ 452048 h 1608169"/>
                <a:gd name="connsiteX285" fmla="*/ 264709 w 4042302"/>
                <a:gd name="connsiteY285" fmla="*/ 456107 h 1608169"/>
                <a:gd name="connsiteX286" fmla="*/ 263568 w 4042302"/>
                <a:gd name="connsiteY286" fmla="*/ 455346 h 1608169"/>
                <a:gd name="connsiteX287" fmla="*/ 268768 w 4042302"/>
                <a:gd name="connsiteY287" fmla="*/ 455346 h 1608169"/>
                <a:gd name="connsiteX288" fmla="*/ 268768 w 4042302"/>
                <a:gd name="connsiteY288" fmla="*/ 459278 h 1608169"/>
                <a:gd name="connsiteX289" fmla="*/ 267753 w 4042302"/>
                <a:gd name="connsiteY289" fmla="*/ 458517 h 1608169"/>
                <a:gd name="connsiteX290" fmla="*/ 272827 w 4042302"/>
                <a:gd name="connsiteY290" fmla="*/ 458517 h 1608169"/>
                <a:gd name="connsiteX291" fmla="*/ 272827 w 4042302"/>
                <a:gd name="connsiteY291" fmla="*/ 478937 h 1608169"/>
                <a:gd name="connsiteX292" fmla="*/ 271685 w 4042302"/>
                <a:gd name="connsiteY292" fmla="*/ 478049 h 1608169"/>
                <a:gd name="connsiteX293" fmla="*/ 276886 w 4042302"/>
                <a:gd name="connsiteY293" fmla="*/ 478049 h 1608169"/>
                <a:gd name="connsiteX294" fmla="*/ 276886 w 4042302"/>
                <a:gd name="connsiteY294" fmla="*/ 482235 h 1608169"/>
                <a:gd name="connsiteX295" fmla="*/ 275871 w 4042302"/>
                <a:gd name="connsiteY295" fmla="*/ 481347 h 1608169"/>
                <a:gd name="connsiteX296" fmla="*/ 278281 w 4042302"/>
                <a:gd name="connsiteY296" fmla="*/ 481347 h 1608169"/>
                <a:gd name="connsiteX297" fmla="*/ 278281 w 4042302"/>
                <a:gd name="connsiteY297" fmla="*/ 485406 h 1608169"/>
                <a:gd name="connsiteX298" fmla="*/ 277266 w 4042302"/>
                <a:gd name="connsiteY298" fmla="*/ 484645 h 1608169"/>
                <a:gd name="connsiteX299" fmla="*/ 278535 w 4042302"/>
                <a:gd name="connsiteY299" fmla="*/ 484645 h 1608169"/>
                <a:gd name="connsiteX300" fmla="*/ 279930 w 4042302"/>
                <a:gd name="connsiteY300" fmla="*/ 484645 h 1608169"/>
                <a:gd name="connsiteX301" fmla="*/ 285003 w 4042302"/>
                <a:gd name="connsiteY301" fmla="*/ 484645 h 1608169"/>
                <a:gd name="connsiteX302" fmla="*/ 285003 w 4042302"/>
                <a:gd name="connsiteY302" fmla="*/ 492002 h 1608169"/>
                <a:gd name="connsiteX303" fmla="*/ 283989 w 4042302"/>
                <a:gd name="connsiteY303" fmla="*/ 491114 h 1608169"/>
                <a:gd name="connsiteX304" fmla="*/ 286398 w 4042302"/>
                <a:gd name="connsiteY304" fmla="*/ 491114 h 1608169"/>
                <a:gd name="connsiteX305" fmla="*/ 286398 w 4042302"/>
                <a:gd name="connsiteY305" fmla="*/ 501768 h 1608169"/>
                <a:gd name="connsiteX306" fmla="*/ 285384 w 4042302"/>
                <a:gd name="connsiteY306" fmla="*/ 501007 h 1608169"/>
                <a:gd name="connsiteX307" fmla="*/ 293248 w 4042302"/>
                <a:gd name="connsiteY307" fmla="*/ 501007 h 1608169"/>
                <a:gd name="connsiteX308" fmla="*/ 293248 w 4042302"/>
                <a:gd name="connsiteY308" fmla="*/ 505066 h 1608169"/>
                <a:gd name="connsiteX309" fmla="*/ 292233 w 4042302"/>
                <a:gd name="connsiteY309" fmla="*/ 504305 h 1608169"/>
                <a:gd name="connsiteX310" fmla="*/ 294516 w 4042302"/>
                <a:gd name="connsiteY310" fmla="*/ 504305 h 1608169"/>
                <a:gd name="connsiteX311" fmla="*/ 294516 w 4042302"/>
                <a:gd name="connsiteY311" fmla="*/ 511534 h 1608169"/>
                <a:gd name="connsiteX312" fmla="*/ 293501 w 4042302"/>
                <a:gd name="connsiteY312" fmla="*/ 510773 h 1608169"/>
                <a:gd name="connsiteX313" fmla="*/ 298702 w 4042302"/>
                <a:gd name="connsiteY313" fmla="*/ 510773 h 1608169"/>
                <a:gd name="connsiteX314" fmla="*/ 298702 w 4042302"/>
                <a:gd name="connsiteY314" fmla="*/ 514832 h 1608169"/>
                <a:gd name="connsiteX315" fmla="*/ 297560 w 4042302"/>
                <a:gd name="connsiteY315" fmla="*/ 514071 h 1608169"/>
                <a:gd name="connsiteX316" fmla="*/ 300097 w 4042302"/>
                <a:gd name="connsiteY316" fmla="*/ 514071 h 1608169"/>
                <a:gd name="connsiteX317" fmla="*/ 300097 w 4042302"/>
                <a:gd name="connsiteY317" fmla="*/ 518130 h 1608169"/>
                <a:gd name="connsiteX318" fmla="*/ 298955 w 4042302"/>
                <a:gd name="connsiteY318" fmla="*/ 517369 h 1608169"/>
                <a:gd name="connsiteX319" fmla="*/ 301365 w 4042302"/>
                <a:gd name="connsiteY319" fmla="*/ 517369 h 1608169"/>
                <a:gd name="connsiteX320" fmla="*/ 301365 w 4042302"/>
                <a:gd name="connsiteY320" fmla="*/ 528023 h 1608169"/>
                <a:gd name="connsiteX321" fmla="*/ 300351 w 4042302"/>
                <a:gd name="connsiteY321" fmla="*/ 527135 h 1608169"/>
                <a:gd name="connsiteX322" fmla="*/ 302760 w 4042302"/>
                <a:gd name="connsiteY322" fmla="*/ 527135 h 1608169"/>
                <a:gd name="connsiteX323" fmla="*/ 302760 w 4042302"/>
                <a:gd name="connsiteY323" fmla="*/ 534492 h 1608169"/>
                <a:gd name="connsiteX324" fmla="*/ 301619 w 4042302"/>
                <a:gd name="connsiteY324" fmla="*/ 533731 h 1608169"/>
                <a:gd name="connsiteX325" fmla="*/ 304156 w 4042302"/>
                <a:gd name="connsiteY325" fmla="*/ 533731 h 1608169"/>
                <a:gd name="connsiteX326" fmla="*/ 304156 w 4042302"/>
                <a:gd name="connsiteY326" fmla="*/ 537790 h 1608169"/>
                <a:gd name="connsiteX327" fmla="*/ 303014 w 4042302"/>
                <a:gd name="connsiteY327" fmla="*/ 537029 h 1608169"/>
                <a:gd name="connsiteX328" fmla="*/ 305424 w 4042302"/>
                <a:gd name="connsiteY328" fmla="*/ 537029 h 1608169"/>
                <a:gd name="connsiteX329" fmla="*/ 305424 w 4042302"/>
                <a:gd name="connsiteY329" fmla="*/ 541088 h 1608169"/>
                <a:gd name="connsiteX330" fmla="*/ 304283 w 4042302"/>
                <a:gd name="connsiteY330" fmla="*/ 540327 h 1608169"/>
                <a:gd name="connsiteX331" fmla="*/ 306819 w 4042302"/>
                <a:gd name="connsiteY331" fmla="*/ 540327 h 1608169"/>
                <a:gd name="connsiteX332" fmla="*/ 306819 w 4042302"/>
                <a:gd name="connsiteY332" fmla="*/ 544385 h 1608169"/>
                <a:gd name="connsiteX333" fmla="*/ 305678 w 4042302"/>
                <a:gd name="connsiteY333" fmla="*/ 543497 h 1608169"/>
                <a:gd name="connsiteX334" fmla="*/ 308214 w 4042302"/>
                <a:gd name="connsiteY334" fmla="*/ 543497 h 1608169"/>
                <a:gd name="connsiteX335" fmla="*/ 308214 w 4042302"/>
                <a:gd name="connsiteY335" fmla="*/ 547556 h 1608169"/>
                <a:gd name="connsiteX336" fmla="*/ 307073 w 4042302"/>
                <a:gd name="connsiteY336" fmla="*/ 546795 h 1608169"/>
                <a:gd name="connsiteX337" fmla="*/ 310878 w 4042302"/>
                <a:gd name="connsiteY337" fmla="*/ 546795 h 1608169"/>
                <a:gd name="connsiteX338" fmla="*/ 310878 w 4042302"/>
                <a:gd name="connsiteY338" fmla="*/ 550854 h 1608169"/>
                <a:gd name="connsiteX339" fmla="*/ 309863 w 4042302"/>
                <a:gd name="connsiteY339" fmla="*/ 550093 h 1608169"/>
                <a:gd name="connsiteX340" fmla="*/ 312273 w 4042302"/>
                <a:gd name="connsiteY340" fmla="*/ 550093 h 1608169"/>
                <a:gd name="connsiteX341" fmla="*/ 312273 w 4042302"/>
                <a:gd name="connsiteY341" fmla="*/ 554152 h 1608169"/>
                <a:gd name="connsiteX342" fmla="*/ 311132 w 4042302"/>
                <a:gd name="connsiteY342" fmla="*/ 553391 h 1608169"/>
                <a:gd name="connsiteX343" fmla="*/ 315064 w 4042302"/>
                <a:gd name="connsiteY343" fmla="*/ 553391 h 1608169"/>
                <a:gd name="connsiteX344" fmla="*/ 315064 w 4042302"/>
                <a:gd name="connsiteY344" fmla="*/ 564045 h 1608169"/>
                <a:gd name="connsiteX345" fmla="*/ 313922 w 4042302"/>
                <a:gd name="connsiteY345" fmla="*/ 563284 h 1608169"/>
                <a:gd name="connsiteX346" fmla="*/ 317600 w 4042302"/>
                <a:gd name="connsiteY346" fmla="*/ 563284 h 1608169"/>
                <a:gd name="connsiteX347" fmla="*/ 317600 w 4042302"/>
                <a:gd name="connsiteY347" fmla="*/ 567343 h 1608169"/>
                <a:gd name="connsiteX348" fmla="*/ 316586 w 4042302"/>
                <a:gd name="connsiteY348" fmla="*/ 566455 h 1608169"/>
                <a:gd name="connsiteX349" fmla="*/ 318996 w 4042302"/>
                <a:gd name="connsiteY349" fmla="*/ 566455 h 1608169"/>
                <a:gd name="connsiteX350" fmla="*/ 318996 w 4042302"/>
                <a:gd name="connsiteY350" fmla="*/ 570514 h 1608169"/>
                <a:gd name="connsiteX351" fmla="*/ 317981 w 4042302"/>
                <a:gd name="connsiteY351" fmla="*/ 569753 h 1608169"/>
                <a:gd name="connsiteX352" fmla="*/ 325845 w 4042302"/>
                <a:gd name="connsiteY352" fmla="*/ 569753 h 1608169"/>
                <a:gd name="connsiteX353" fmla="*/ 325845 w 4042302"/>
                <a:gd name="connsiteY353" fmla="*/ 573812 h 1608169"/>
                <a:gd name="connsiteX354" fmla="*/ 324830 w 4042302"/>
                <a:gd name="connsiteY354" fmla="*/ 573051 h 1608169"/>
                <a:gd name="connsiteX355" fmla="*/ 328635 w 4042302"/>
                <a:gd name="connsiteY355" fmla="*/ 573051 h 1608169"/>
                <a:gd name="connsiteX356" fmla="*/ 328635 w 4042302"/>
                <a:gd name="connsiteY356" fmla="*/ 580407 h 1608169"/>
                <a:gd name="connsiteX357" fmla="*/ 327494 w 4042302"/>
                <a:gd name="connsiteY357" fmla="*/ 579646 h 1608169"/>
                <a:gd name="connsiteX358" fmla="*/ 331299 w 4042302"/>
                <a:gd name="connsiteY358" fmla="*/ 579646 h 1608169"/>
                <a:gd name="connsiteX359" fmla="*/ 331299 w 4042302"/>
                <a:gd name="connsiteY359" fmla="*/ 583705 h 1608169"/>
                <a:gd name="connsiteX360" fmla="*/ 330157 w 4042302"/>
                <a:gd name="connsiteY360" fmla="*/ 582944 h 1608169"/>
                <a:gd name="connsiteX361" fmla="*/ 332694 w 4042302"/>
                <a:gd name="connsiteY361" fmla="*/ 582944 h 1608169"/>
                <a:gd name="connsiteX362" fmla="*/ 332694 w 4042302"/>
                <a:gd name="connsiteY362" fmla="*/ 590300 h 1608169"/>
                <a:gd name="connsiteX363" fmla="*/ 331552 w 4042302"/>
                <a:gd name="connsiteY363" fmla="*/ 589413 h 1608169"/>
                <a:gd name="connsiteX364" fmla="*/ 333962 w 4042302"/>
                <a:gd name="connsiteY364" fmla="*/ 589413 h 1608169"/>
                <a:gd name="connsiteX365" fmla="*/ 333962 w 4042302"/>
                <a:gd name="connsiteY365" fmla="*/ 596769 h 1608169"/>
                <a:gd name="connsiteX366" fmla="*/ 332948 w 4042302"/>
                <a:gd name="connsiteY366" fmla="*/ 596008 h 1608169"/>
                <a:gd name="connsiteX367" fmla="*/ 336753 w 4042302"/>
                <a:gd name="connsiteY367" fmla="*/ 596008 h 1608169"/>
                <a:gd name="connsiteX368" fmla="*/ 336753 w 4042302"/>
                <a:gd name="connsiteY368" fmla="*/ 600067 h 1608169"/>
                <a:gd name="connsiteX369" fmla="*/ 335611 w 4042302"/>
                <a:gd name="connsiteY369" fmla="*/ 599306 h 1608169"/>
                <a:gd name="connsiteX370" fmla="*/ 339543 w 4042302"/>
                <a:gd name="connsiteY370" fmla="*/ 599306 h 1608169"/>
                <a:gd name="connsiteX371" fmla="*/ 339543 w 4042302"/>
                <a:gd name="connsiteY371" fmla="*/ 603365 h 1608169"/>
                <a:gd name="connsiteX372" fmla="*/ 338402 w 4042302"/>
                <a:gd name="connsiteY372" fmla="*/ 602604 h 1608169"/>
                <a:gd name="connsiteX373" fmla="*/ 342080 w 4042302"/>
                <a:gd name="connsiteY373" fmla="*/ 602604 h 1608169"/>
                <a:gd name="connsiteX374" fmla="*/ 342080 w 4042302"/>
                <a:gd name="connsiteY374" fmla="*/ 609960 h 1608169"/>
                <a:gd name="connsiteX375" fmla="*/ 341065 w 4042302"/>
                <a:gd name="connsiteY375" fmla="*/ 609199 h 1608169"/>
                <a:gd name="connsiteX376" fmla="*/ 343475 w 4042302"/>
                <a:gd name="connsiteY376" fmla="*/ 609199 h 1608169"/>
                <a:gd name="connsiteX377" fmla="*/ 343475 w 4042302"/>
                <a:gd name="connsiteY377" fmla="*/ 616556 h 1608169"/>
                <a:gd name="connsiteX378" fmla="*/ 342461 w 4042302"/>
                <a:gd name="connsiteY378" fmla="*/ 615795 h 1608169"/>
                <a:gd name="connsiteX379" fmla="*/ 344870 w 4042302"/>
                <a:gd name="connsiteY379" fmla="*/ 615795 h 1608169"/>
                <a:gd name="connsiteX380" fmla="*/ 344870 w 4042302"/>
                <a:gd name="connsiteY380" fmla="*/ 619853 h 1608169"/>
                <a:gd name="connsiteX381" fmla="*/ 343729 w 4042302"/>
                <a:gd name="connsiteY381" fmla="*/ 619092 h 1608169"/>
                <a:gd name="connsiteX382" fmla="*/ 347661 w 4042302"/>
                <a:gd name="connsiteY382" fmla="*/ 619092 h 1608169"/>
                <a:gd name="connsiteX383" fmla="*/ 347661 w 4042302"/>
                <a:gd name="connsiteY383" fmla="*/ 626449 h 1608169"/>
                <a:gd name="connsiteX384" fmla="*/ 346519 w 4042302"/>
                <a:gd name="connsiteY384" fmla="*/ 625688 h 1608169"/>
                <a:gd name="connsiteX385" fmla="*/ 350324 w 4042302"/>
                <a:gd name="connsiteY385" fmla="*/ 625688 h 1608169"/>
                <a:gd name="connsiteX386" fmla="*/ 350324 w 4042302"/>
                <a:gd name="connsiteY386" fmla="*/ 629747 h 1608169"/>
                <a:gd name="connsiteX387" fmla="*/ 349310 w 4042302"/>
                <a:gd name="connsiteY387" fmla="*/ 628859 h 1608169"/>
                <a:gd name="connsiteX388" fmla="*/ 352988 w 4042302"/>
                <a:gd name="connsiteY388" fmla="*/ 628859 h 1608169"/>
                <a:gd name="connsiteX389" fmla="*/ 352988 w 4042302"/>
                <a:gd name="connsiteY389" fmla="*/ 633045 h 1608169"/>
                <a:gd name="connsiteX390" fmla="*/ 351846 w 4042302"/>
                <a:gd name="connsiteY390" fmla="*/ 632157 h 1608169"/>
                <a:gd name="connsiteX391" fmla="*/ 354383 w 4042302"/>
                <a:gd name="connsiteY391" fmla="*/ 632157 h 1608169"/>
                <a:gd name="connsiteX392" fmla="*/ 354383 w 4042302"/>
                <a:gd name="connsiteY392" fmla="*/ 636342 h 1608169"/>
                <a:gd name="connsiteX393" fmla="*/ 353242 w 4042302"/>
                <a:gd name="connsiteY393" fmla="*/ 635581 h 1608169"/>
                <a:gd name="connsiteX394" fmla="*/ 355778 w 4042302"/>
                <a:gd name="connsiteY394" fmla="*/ 635581 h 1608169"/>
                <a:gd name="connsiteX395" fmla="*/ 355778 w 4042302"/>
                <a:gd name="connsiteY395" fmla="*/ 639640 h 1608169"/>
                <a:gd name="connsiteX396" fmla="*/ 354637 w 4042302"/>
                <a:gd name="connsiteY396" fmla="*/ 638879 h 1608169"/>
                <a:gd name="connsiteX397" fmla="*/ 358442 w 4042302"/>
                <a:gd name="connsiteY397" fmla="*/ 638879 h 1608169"/>
                <a:gd name="connsiteX398" fmla="*/ 358442 w 4042302"/>
                <a:gd name="connsiteY398" fmla="*/ 649407 h 1608169"/>
                <a:gd name="connsiteX399" fmla="*/ 357427 w 4042302"/>
                <a:gd name="connsiteY399" fmla="*/ 648646 h 1608169"/>
                <a:gd name="connsiteX400" fmla="*/ 359837 w 4042302"/>
                <a:gd name="connsiteY400" fmla="*/ 648646 h 1608169"/>
                <a:gd name="connsiteX401" fmla="*/ 359837 w 4042302"/>
                <a:gd name="connsiteY401" fmla="*/ 656002 h 1608169"/>
                <a:gd name="connsiteX402" fmla="*/ 358696 w 4042302"/>
                <a:gd name="connsiteY402" fmla="*/ 655241 h 1608169"/>
                <a:gd name="connsiteX403" fmla="*/ 361232 w 4042302"/>
                <a:gd name="connsiteY403" fmla="*/ 655241 h 1608169"/>
                <a:gd name="connsiteX404" fmla="*/ 361232 w 4042302"/>
                <a:gd name="connsiteY404" fmla="*/ 659300 h 1608169"/>
                <a:gd name="connsiteX405" fmla="*/ 360091 w 4042302"/>
                <a:gd name="connsiteY405" fmla="*/ 658539 h 1608169"/>
                <a:gd name="connsiteX406" fmla="*/ 363896 w 4042302"/>
                <a:gd name="connsiteY406" fmla="*/ 658539 h 1608169"/>
                <a:gd name="connsiteX407" fmla="*/ 363896 w 4042302"/>
                <a:gd name="connsiteY407" fmla="*/ 662598 h 1608169"/>
                <a:gd name="connsiteX408" fmla="*/ 362754 w 4042302"/>
                <a:gd name="connsiteY408" fmla="*/ 661837 h 1608169"/>
                <a:gd name="connsiteX409" fmla="*/ 365291 w 4042302"/>
                <a:gd name="connsiteY409" fmla="*/ 661837 h 1608169"/>
                <a:gd name="connsiteX410" fmla="*/ 365291 w 4042302"/>
                <a:gd name="connsiteY410" fmla="*/ 669193 h 1608169"/>
                <a:gd name="connsiteX411" fmla="*/ 364150 w 4042302"/>
                <a:gd name="connsiteY411" fmla="*/ 668432 h 1608169"/>
                <a:gd name="connsiteX412" fmla="*/ 366560 w 4042302"/>
                <a:gd name="connsiteY412" fmla="*/ 668432 h 1608169"/>
                <a:gd name="connsiteX413" fmla="*/ 366560 w 4042302"/>
                <a:gd name="connsiteY413" fmla="*/ 672491 h 1608169"/>
                <a:gd name="connsiteX414" fmla="*/ 365545 w 4042302"/>
                <a:gd name="connsiteY414" fmla="*/ 671730 h 1608169"/>
                <a:gd name="connsiteX415" fmla="*/ 367955 w 4042302"/>
                <a:gd name="connsiteY415" fmla="*/ 671730 h 1608169"/>
                <a:gd name="connsiteX416" fmla="*/ 367955 w 4042302"/>
                <a:gd name="connsiteY416" fmla="*/ 682384 h 1608169"/>
                <a:gd name="connsiteX417" fmla="*/ 366940 w 4042302"/>
                <a:gd name="connsiteY417" fmla="*/ 681496 h 1608169"/>
                <a:gd name="connsiteX418" fmla="*/ 370745 w 4042302"/>
                <a:gd name="connsiteY418" fmla="*/ 681496 h 1608169"/>
                <a:gd name="connsiteX419" fmla="*/ 370745 w 4042302"/>
                <a:gd name="connsiteY419" fmla="*/ 685555 h 1608169"/>
                <a:gd name="connsiteX420" fmla="*/ 369604 w 4042302"/>
                <a:gd name="connsiteY420" fmla="*/ 684794 h 1608169"/>
                <a:gd name="connsiteX421" fmla="*/ 376072 w 4042302"/>
                <a:gd name="connsiteY421" fmla="*/ 684794 h 1608169"/>
                <a:gd name="connsiteX422" fmla="*/ 376072 w 4042302"/>
                <a:gd name="connsiteY422" fmla="*/ 692278 h 1608169"/>
                <a:gd name="connsiteX423" fmla="*/ 375058 w 4042302"/>
                <a:gd name="connsiteY423" fmla="*/ 691517 h 1608169"/>
                <a:gd name="connsiteX424" fmla="*/ 377468 w 4042302"/>
                <a:gd name="connsiteY424" fmla="*/ 691517 h 1608169"/>
                <a:gd name="connsiteX425" fmla="*/ 377468 w 4042302"/>
                <a:gd name="connsiteY425" fmla="*/ 698746 h 1608169"/>
                <a:gd name="connsiteX426" fmla="*/ 376326 w 4042302"/>
                <a:gd name="connsiteY426" fmla="*/ 697985 h 1608169"/>
                <a:gd name="connsiteX427" fmla="*/ 378863 w 4042302"/>
                <a:gd name="connsiteY427" fmla="*/ 697985 h 1608169"/>
                <a:gd name="connsiteX428" fmla="*/ 378863 w 4042302"/>
                <a:gd name="connsiteY428" fmla="*/ 702044 h 1608169"/>
                <a:gd name="connsiteX429" fmla="*/ 377721 w 4042302"/>
                <a:gd name="connsiteY429" fmla="*/ 701283 h 1608169"/>
                <a:gd name="connsiteX430" fmla="*/ 382922 w 4042302"/>
                <a:gd name="connsiteY430" fmla="*/ 701283 h 1608169"/>
                <a:gd name="connsiteX431" fmla="*/ 382922 w 4042302"/>
                <a:gd name="connsiteY431" fmla="*/ 711937 h 1608169"/>
                <a:gd name="connsiteX432" fmla="*/ 381907 w 4042302"/>
                <a:gd name="connsiteY432" fmla="*/ 711176 h 1608169"/>
                <a:gd name="connsiteX433" fmla="*/ 384317 w 4042302"/>
                <a:gd name="connsiteY433" fmla="*/ 711176 h 1608169"/>
                <a:gd name="connsiteX434" fmla="*/ 384317 w 4042302"/>
                <a:gd name="connsiteY434" fmla="*/ 715235 h 1608169"/>
                <a:gd name="connsiteX435" fmla="*/ 383175 w 4042302"/>
                <a:gd name="connsiteY435" fmla="*/ 714474 h 1608169"/>
                <a:gd name="connsiteX436" fmla="*/ 388376 w 4042302"/>
                <a:gd name="connsiteY436" fmla="*/ 714474 h 1608169"/>
                <a:gd name="connsiteX437" fmla="*/ 388376 w 4042302"/>
                <a:gd name="connsiteY437" fmla="*/ 721831 h 1608169"/>
                <a:gd name="connsiteX438" fmla="*/ 387234 w 4042302"/>
                <a:gd name="connsiteY438" fmla="*/ 721070 h 1608169"/>
                <a:gd name="connsiteX439" fmla="*/ 393830 w 4042302"/>
                <a:gd name="connsiteY439" fmla="*/ 721070 h 1608169"/>
                <a:gd name="connsiteX440" fmla="*/ 393830 w 4042302"/>
                <a:gd name="connsiteY440" fmla="*/ 725128 h 1608169"/>
                <a:gd name="connsiteX441" fmla="*/ 392688 w 4042302"/>
                <a:gd name="connsiteY441" fmla="*/ 724367 h 1608169"/>
                <a:gd name="connsiteX442" fmla="*/ 395225 w 4042302"/>
                <a:gd name="connsiteY442" fmla="*/ 724367 h 1608169"/>
                <a:gd name="connsiteX443" fmla="*/ 395225 w 4042302"/>
                <a:gd name="connsiteY443" fmla="*/ 728426 h 1608169"/>
                <a:gd name="connsiteX444" fmla="*/ 394083 w 4042302"/>
                <a:gd name="connsiteY444" fmla="*/ 727665 h 1608169"/>
                <a:gd name="connsiteX445" fmla="*/ 396620 w 4042302"/>
                <a:gd name="connsiteY445" fmla="*/ 727665 h 1608169"/>
                <a:gd name="connsiteX446" fmla="*/ 396620 w 4042302"/>
                <a:gd name="connsiteY446" fmla="*/ 731724 h 1608169"/>
                <a:gd name="connsiteX447" fmla="*/ 395478 w 4042302"/>
                <a:gd name="connsiteY447" fmla="*/ 730836 h 1608169"/>
                <a:gd name="connsiteX448" fmla="*/ 399157 w 4042302"/>
                <a:gd name="connsiteY448" fmla="*/ 730836 h 1608169"/>
                <a:gd name="connsiteX449" fmla="*/ 399157 w 4042302"/>
                <a:gd name="connsiteY449" fmla="*/ 735022 h 1608169"/>
                <a:gd name="connsiteX450" fmla="*/ 398142 w 4042302"/>
                <a:gd name="connsiteY450" fmla="*/ 734134 h 1608169"/>
                <a:gd name="connsiteX451" fmla="*/ 401947 w 4042302"/>
                <a:gd name="connsiteY451" fmla="*/ 734134 h 1608169"/>
                <a:gd name="connsiteX452" fmla="*/ 401947 w 4042302"/>
                <a:gd name="connsiteY452" fmla="*/ 738193 h 1608169"/>
                <a:gd name="connsiteX453" fmla="*/ 400806 w 4042302"/>
                <a:gd name="connsiteY453" fmla="*/ 737432 h 1608169"/>
                <a:gd name="connsiteX454" fmla="*/ 402201 w 4042302"/>
                <a:gd name="connsiteY454" fmla="*/ 737432 h 1608169"/>
                <a:gd name="connsiteX455" fmla="*/ 406386 w 4042302"/>
                <a:gd name="connsiteY455" fmla="*/ 737432 h 1608169"/>
                <a:gd name="connsiteX456" fmla="*/ 411460 w 4042302"/>
                <a:gd name="connsiteY456" fmla="*/ 737432 h 1608169"/>
                <a:gd name="connsiteX457" fmla="*/ 411460 w 4042302"/>
                <a:gd name="connsiteY457" fmla="*/ 748213 h 1608169"/>
                <a:gd name="connsiteX458" fmla="*/ 410318 w 4042302"/>
                <a:gd name="connsiteY458" fmla="*/ 747325 h 1608169"/>
                <a:gd name="connsiteX459" fmla="*/ 412855 w 4042302"/>
                <a:gd name="connsiteY459" fmla="*/ 747325 h 1608169"/>
                <a:gd name="connsiteX460" fmla="*/ 412855 w 4042302"/>
                <a:gd name="connsiteY460" fmla="*/ 751511 h 1608169"/>
                <a:gd name="connsiteX461" fmla="*/ 411714 w 4042302"/>
                <a:gd name="connsiteY461" fmla="*/ 750749 h 1608169"/>
                <a:gd name="connsiteX462" fmla="*/ 414250 w 4042302"/>
                <a:gd name="connsiteY462" fmla="*/ 750749 h 1608169"/>
                <a:gd name="connsiteX463" fmla="*/ 414250 w 4042302"/>
                <a:gd name="connsiteY463" fmla="*/ 754808 h 1608169"/>
                <a:gd name="connsiteX464" fmla="*/ 413109 w 4042302"/>
                <a:gd name="connsiteY464" fmla="*/ 754047 h 1608169"/>
                <a:gd name="connsiteX465" fmla="*/ 415519 w 4042302"/>
                <a:gd name="connsiteY465" fmla="*/ 754047 h 1608169"/>
                <a:gd name="connsiteX466" fmla="*/ 415519 w 4042302"/>
                <a:gd name="connsiteY466" fmla="*/ 758106 h 1608169"/>
                <a:gd name="connsiteX467" fmla="*/ 414504 w 4042302"/>
                <a:gd name="connsiteY467" fmla="*/ 757345 h 1608169"/>
                <a:gd name="connsiteX468" fmla="*/ 416914 w 4042302"/>
                <a:gd name="connsiteY468" fmla="*/ 757345 h 1608169"/>
                <a:gd name="connsiteX469" fmla="*/ 416914 w 4042302"/>
                <a:gd name="connsiteY469" fmla="*/ 761404 h 1608169"/>
                <a:gd name="connsiteX470" fmla="*/ 415772 w 4042302"/>
                <a:gd name="connsiteY470" fmla="*/ 760643 h 1608169"/>
                <a:gd name="connsiteX471" fmla="*/ 418309 w 4042302"/>
                <a:gd name="connsiteY471" fmla="*/ 760643 h 1608169"/>
                <a:gd name="connsiteX472" fmla="*/ 418309 w 4042302"/>
                <a:gd name="connsiteY472" fmla="*/ 764702 h 1608169"/>
                <a:gd name="connsiteX473" fmla="*/ 417168 w 4042302"/>
                <a:gd name="connsiteY473" fmla="*/ 763941 h 1608169"/>
                <a:gd name="connsiteX474" fmla="*/ 419704 w 4042302"/>
                <a:gd name="connsiteY474" fmla="*/ 763941 h 1608169"/>
                <a:gd name="connsiteX475" fmla="*/ 419704 w 4042302"/>
                <a:gd name="connsiteY475" fmla="*/ 767999 h 1608169"/>
                <a:gd name="connsiteX476" fmla="*/ 418563 w 4042302"/>
                <a:gd name="connsiteY476" fmla="*/ 767238 h 1608169"/>
                <a:gd name="connsiteX477" fmla="*/ 422368 w 4042302"/>
                <a:gd name="connsiteY477" fmla="*/ 767238 h 1608169"/>
                <a:gd name="connsiteX478" fmla="*/ 422368 w 4042302"/>
                <a:gd name="connsiteY478" fmla="*/ 771424 h 1608169"/>
                <a:gd name="connsiteX479" fmla="*/ 421226 w 4042302"/>
                <a:gd name="connsiteY479" fmla="*/ 770663 h 1608169"/>
                <a:gd name="connsiteX480" fmla="*/ 426427 w 4042302"/>
                <a:gd name="connsiteY480" fmla="*/ 770663 h 1608169"/>
                <a:gd name="connsiteX481" fmla="*/ 426427 w 4042302"/>
                <a:gd name="connsiteY481" fmla="*/ 778019 h 1608169"/>
                <a:gd name="connsiteX482" fmla="*/ 425285 w 4042302"/>
                <a:gd name="connsiteY482" fmla="*/ 777258 h 1608169"/>
                <a:gd name="connsiteX483" fmla="*/ 427822 w 4042302"/>
                <a:gd name="connsiteY483" fmla="*/ 777258 h 1608169"/>
                <a:gd name="connsiteX484" fmla="*/ 427822 w 4042302"/>
                <a:gd name="connsiteY484" fmla="*/ 781317 h 1608169"/>
                <a:gd name="connsiteX485" fmla="*/ 426680 w 4042302"/>
                <a:gd name="connsiteY485" fmla="*/ 780556 h 1608169"/>
                <a:gd name="connsiteX486" fmla="*/ 430486 w 4042302"/>
                <a:gd name="connsiteY486" fmla="*/ 780556 h 1608169"/>
                <a:gd name="connsiteX487" fmla="*/ 430486 w 4042302"/>
                <a:gd name="connsiteY487" fmla="*/ 784615 h 1608169"/>
                <a:gd name="connsiteX488" fmla="*/ 429471 w 4042302"/>
                <a:gd name="connsiteY488" fmla="*/ 783854 h 1608169"/>
                <a:gd name="connsiteX489" fmla="*/ 431881 w 4042302"/>
                <a:gd name="connsiteY489" fmla="*/ 783854 h 1608169"/>
                <a:gd name="connsiteX490" fmla="*/ 431881 w 4042302"/>
                <a:gd name="connsiteY490" fmla="*/ 787913 h 1608169"/>
                <a:gd name="connsiteX491" fmla="*/ 430866 w 4042302"/>
                <a:gd name="connsiteY491" fmla="*/ 787152 h 1608169"/>
                <a:gd name="connsiteX492" fmla="*/ 435940 w 4042302"/>
                <a:gd name="connsiteY492" fmla="*/ 787152 h 1608169"/>
                <a:gd name="connsiteX493" fmla="*/ 435940 w 4042302"/>
                <a:gd name="connsiteY493" fmla="*/ 791211 h 1608169"/>
                <a:gd name="connsiteX494" fmla="*/ 434798 w 4042302"/>
                <a:gd name="connsiteY494" fmla="*/ 790450 h 1608169"/>
                <a:gd name="connsiteX495" fmla="*/ 439998 w 4042302"/>
                <a:gd name="connsiteY495" fmla="*/ 790450 h 1608169"/>
                <a:gd name="connsiteX496" fmla="*/ 439998 w 4042302"/>
                <a:gd name="connsiteY496" fmla="*/ 794508 h 1608169"/>
                <a:gd name="connsiteX497" fmla="*/ 438984 w 4042302"/>
                <a:gd name="connsiteY497" fmla="*/ 793747 h 1608169"/>
                <a:gd name="connsiteX498" fmla="*/ 441394 w 4042302"/>
                <a:gd name="connsiteY498" fmla="*/ 793747 h 1608169"/>
                <a:gd name="connsiteX499" fmla="*/ 441394 w 4042302"/>
                <a:gd name="connsiteY499" fmla="*/ 804528 h 1608169"/>
                <a:gd name="connsiteX500" fmla="*/ 440252 w 4042302"/>
                <a:gd name="connsiteY500" fmla="*/ 803767 h 1608169"/>
                <a:gd name="connsiteX501" fmla="*/ 442789 w 4042302"/>
                <a:gd name="connsiteY501" fmla="*/ 803767 h 1608169"/>
                <a:gd name="connsiteX502" fmla="*/ 442789 w 4042302"/>
                <a:gd name="connsiteY502" fmla="*/ 811124 h 1608169"/>
                <a:gd name="connsiteX503" fmla="*/ 441647 w 4042302"/>
                <a:gd name="connsiteY503" fmla="*/ 810363 h 1608169"/>
                <a:gd name="connsiteX504" fmla="*/ 448116 w 4042302"/>
                <a:gd name="connsiteY504" fmla="*/ 810363 h 1608169"/>
                <a:gd name="connsiteX505" fmla="*/ 448116 w 4042302"/>
                <a:gd name="connsiteY505" fmla="*/ 814422 h 1608169"/>
                <a:gd name="connsiteX506" fmla="*/ 447101 w 4042302"/>
                <a:gd name="connsiteY506" fmla="*/ 813661 h 1608169"/>
                <a:gd name="connsiteX507" fmla="*/ 452302 w 4042302"/>
                <a:gd name="connsiteY507" fmla="*/ 813661 h 1608169"/>
                <a:gd name="connsiteX508" fmla="*/ 452302 w 4042302"/>
                <a:gd name="connsiteY508" fmla="*/ 824442 h 1608169"/>
                <a:gd name="connsiteX509" fmla="*/ 451160 w 4042302"/>
                <a:gd name="connsiteY509" fmla="*/ 823681 h 1608169"/>
                <a:gd name="connsiteX510" fmla="*/ 456360 w 4042302"/>
                <a:gd name="connsiteY510" fmla="*/ 823681 h 1608169"/>
                <a:gd name="connsiteX511" fmla="*/ 456360 w 4042302"/>
                <a:gd name="connsiteY511" fmla="*/ 827740 h 1608169"/>
                <a:gd name="connsiteX512" fmla="*/ 455346 w 4042302"/>
                <a:gd name="connsiteY512" fmla="*/ 826852 h 1608169"/>
                <a:gd name="connsiteX513" fmla="*/ 461814 w 4042302"/>
                <a:gd name="connsiteY513" fmla="*/ 826852 h 1608169"/>
                <a:gd name="connsiteX514" fmla="*/ 461814 w 4042302"/>
                <a:gd name="connsiteY514" fmla="*/ 831037 h 1608169"/>
                <a:gd name="connsiteX515" fmla="*/ 460673 w 4042302"/>
                <a:gd name="connsiteY515" fmla="*/ 830276 h 1608169"/>
                <a:gd name="connsiteX516" fmla="*/ 465873 w 4042302"/>
                <a:gd name="connsiteY516" fmla="*/ 830276 h 1608169"/>
                <a:gd name="connsiteX517" fmla="*/ 465873 w 4042302"/>
                <a:gd name="connsiteY517" fmla="*/ 834335 h 1608169"/>
                <a:gd name="connsiteX518" fmla="*/ 464732 w 4042302"/>
                <a:gd name="connsiteY518" fmla="*/ 833574 h 1608169"/>
                <a:gd name="connsiteX519" fmla="*/ 471327 w 4042302"/>
                <a:gd name="connsiteY519" fmla="*/ 833574 h 1608169"/>
                <a:gd name="connsiteX520" fmla="*/ 471327 w 4042302"/>
                <a:gd name="connsiteY520" fmla="*/ 840931 h 1608169"/>
                <a:gd name="connsiteX521" fmla="*/ 470186 w 4042302"/>
                <a:gd name="connsiteY521" fmla="*/ 840170 h 1608169"/>
                <a:gd name="connsiteX522" fmla="*/ 472596 w 4042302"/>
                <a:gd name="connsiteY522" fmla="*/ 840170 h 1608169"/>
                <a:gd name="connsiteX523" fmla="*/ 472596 w 4042302"/>
                <a:gd name="connsiteY523" fmla="*/ 844355 h 1608169"/>
                <a:gd name="connsiteX524" fmla="*/ 471581 w 4042302"/>
                <a:gd name="connsiteY524" fmla="*/ 843467 h 1608169"/>
                <a:gd name="connsiteX525" fmla="*/ 473991 w 4042302"/>
                <a:gd name="connsiteY525" fmla="*/ 843467 h 1608169"/>
                <a:gd name="connsiteX526" fmla="*/ 473991 w 4042302"/>
                <a:gd name="connsiteY526" fmla="*/ 847653 h 1608169"/>
                <a:gd name="connsiteX527" fmla="*/ 472976 w 4042302"/>
                <a:gd name="connsiteY527" fmla="*/ 846892 h 1608169"/>
                <a:gd name="connsiteX528" fmla="*/ 475386 w 4042302"/>
                <a:gd name="connsiteY528" fmla="*/ 846892 h 1608169"/>
                <a:gd name="connsiteX529" fmla="*/ 475386 w 4042302"/>
                <a:gd name="connsiteY529" fmla="*/ 850951 h 1608169"/>
                <a:gd name="connsiteX530" fmla="*/ 474244 w 4042302"/>
                <a:gd name="connsiteY530" fmla="*/ 850190 h 1608169"/>
                <a:gd name="connsiteX531" fmla="*/ 479445 w 4042302"/>
                <a:gd name="connsiteY531" fmla="*/ 850190 h 1608169"/>
                <a:gd name="connsiteX532" fmla="*/ 479445 w 4042302"/>
                <a:gd name="connsiteY532" fmla="*/ 860844 h 1608169"/>
                <a:gd name="connsiteX533" fmla="*/ 478430 w 4042302"/>
                <a:gd name="connsiteY533" fmla="*/ 860083 h 1608169"/>
                <a:gd name="connsiteX534" fmla="*/ 480840 w 4042302"/>
                <a:gd name="connsiteY534" fmla="*/ 860083 h 1608169"/>
                <a:gd name="connsiteX535" fmla="*/ 480840 w 4042302"/>
                <a:gd name="connsiteY535" fmla="*/ 867567 h 1608169"/>
                <a:gd name="connsiteX536" fmla="*/ 479825 w 4042302"/>
                <a:gd name="connsiteY536" fmla="*/ 866805 h 1608169"/>
                <a:gd name="connsiteX537" fmla="*/ 484899 w 4042302"/>
                <a:gd name="connsiteY537" fmla="*/ 866805 h 1608169"/>
                <a:gd name="connsiteX538" fmla="*/ 484899 w 4042302"/>
                <a:gd name="connsiteY538" fmla="*/ 877460 h 1608169"/>
                <a:gd name="connsiteX539" fmla="*/ 483757 w 4042302"/>
                <a:gd name="connsiteY539" fmla="*/ 876699 h 1608169"/>
                <a:gd name="connsiteX540" fmla="*/ 487562 w 4042302"/>
                <a:gd name="connsiteY540" fmla="*/ 876699 h 1608169"/>
                <a:gd name="connsiteX541" fmla="*/ 487562 w 4042302"/>
                <a:gd name="connsiteY541" fmla="*/ 880884 h 1608169"/>
                <a:gd name="connsiteX542" fmla="*/ 486548 w 4042302"/>
                <a:gd name="connsiteY542" fmla="*/ 880123 h 1608169"/>
                <a:gd name="connsiteX543" fmla="*/ 488958 w 4042302"/>
                <a:gd name="connsiteY543" fmla="*/ 880123 h 1608169"/>
                <a:gd name="connsiteX544" fmla="*/ 488958 w 4042302"/>
                <a:gd name="connsiteY544" fmla="*/ 884182 h 1608169"/>
                <a:gd name="connsiteX545" fmla="*/ 487943 w 4042302"/>
                <a:gd name="connsiteY545" fmla="*/ 883421 h 1608169"/>
                <a:gd name="connsiteX546" fmla="*/ 491748 w 4042302"/>
                <a:gd name="connsiteY546" fmla="*/ 883421 h 1608169"/>
                <a:gd name="connsiteX547" fmla="*/ 491748 w 4042302"/>
                <a:gd name="connsiteY547" fmla="*/ 887480 h 1608169"/>
                <a:gd name="connsiteX548" fmla="*/ 490606 w 4042302"/>
                <a:gd name="connsiteY548" fmla="*/ 886719 h 1608169"/>
                <a:gd name="connsiteX549" fmla="*/ 496060 w 4042302"/>
                <a:gd name="connsiteY549" fmla="*/ 886719 h 1608169"/>
                <a:gd name="connsiteX550" fmla="*/ 501261 w 4042302"/>
                <a:gd name="connsiteY550" fmla="*/ 886719 h 1608169"/>
                <a:gd name="connsiteX551" fmla="*/ 501261 w 4042302"/>
                <a:gd name="connsiteY551" fmla="*/ 890778 h 1608169"/>
                <a:gd name="connsiteX552" fmla="*/ 500119 w 4042302"/>
                <a:gd name="connsiteY552" fmla="*/ 890017 h 1608169"/>
                <a:gd name="connsiteX553" fmla="*/ 505193 w 4042302"/>
                <a:gd name="connsiteY553" fmla="*/ 890017 h 1608169"/>
                <a:gd name="connsiteX554" fmla="*/ 505193 w 4042302"/>
                <a:gd name="connsiteY554" fmla="*/ 904096 h 1608169"/>
                <a:gd name="connsiteX555" fmla="*/ 504178 w 4042302"/>
                <a:gd name="connsiteY555" fmla="*/ 903335 h 1608169"/>
                <a:gd name="connsiteX556" fmla="*/ 506588 w 4042302"/>
                <a:gd name="connsiteY556" fmla="*/ 903335 h 1608169"/>
                <a:gd name="connsiteX557" fmla="*/ 506588 w 4042302"/>
                <a:gd name="connsiteY557" fmla="*/ 907520 h 1608169"/>
                <a:gd name="connsiteX558" fmla="*/ 505573 w 4042302"/>
                <a:gd name="connsiteY558" fmla="*/ 906759 h 1608169"/>
                <a:gd name="connsiteX559" fmla="*/ 507983 w 4042302"/>
                <a:gd name="connsiteY559" fmla="*/ 906759 h 1608169"/>
                <a:gd name="connsiteX560" fmla="*/ 507983 w 4042302"/>
                <a:gd name="connsiteY560" fmla="*/ 910818 h 1608169"/>
                <a:gd name="connsiteX561" fmla="*/ 506842 w 4042302"/>
                <a:gd name="connsiteY561" fmla="*/ 910057 h 1608169"/>
                <a:gd name="connsiteX562" fmla="*/ 509378 w 4042302"/>
                <a:gd name="connsiteY562" fmla="*/ 910057 h 1608169"/>
                <a:gd name="connsiteX563" fmla="*/ 509378 w 4042302"/>
                <a:gd name="connsiteY563" fmla="*/ 917414 h 1608169"/>
                <a:gd name="connsiteX564" fmla="*/ 508237 w 4042302"/>
                <a:gd name="connsiteY564" fmla="*/ 916653 h 1608169"/>
                <a:gd name="connsiteX565" fmla="*/ 510774 w 4042302"/>
                <a:gd name="connsiteY565" fmla="*/ 916653 h 1608169"/>
                <a:gd name="connsiteX566" fmla="*/ 510774 w 4042302"/>
                <a:gd name="connsiteY566" fmla="*/ 920838 h 1608169"/>
                <a:gd name="connsiteX567" fmla="*/ 509632 w 4042302"/>
                <a:gd name="connsiteY567" fmla="*/ 920077 h 1608169"/>
                <a:gd name="connsiteX568" fmla="*/ 512422 w 4042302"/>
                <a:gd name="connsiteY568" fmla="*/ 920077 h 1608169"/>
                <a:gd name="connsiteX569" fmla="*/ 514832 w 4042302"/>
                <a:gd name="connsiteY569" fmla="*/ 920077 h 1608169"/>
                <a:gd name="connsiteX570" fmla="*/ 514832 w 4042302"/>
                <a:gd name="connsiteY570" fmla="*/ 927561 h 1608169"/>
                <a:gd name="connsiteX571" fmla="*/ 513691 w 4042302"/>
                <a:gd name="connsiteY571" fmla="*/ 926673 h 1608169"/>
                <a:gd name="connsiteX572" fmla="*/ 517496 w 4042302"/>
                <a:gd name="connsiteY572" fmla="*/ 926673 h 1608169"/>
                <a:gd name="connsiteX573" fmla="*/ 517496 w 4042302"/>
                <a:gd name="connsiteY573" fmla="*/ 930858 h 1608169"/>
                <a:gd name="connsiteX574" fmla="*/ 516354 w 4042302"/>
                <a:gd name="connsiteY574" fmla="*/ 930097 h 1608169"/>
                <a:gd name="connsiteX575" fmla="*/ 520159 w 4042302"/>
                <a:gd name="connsiteY575" fmla="*/ 930097 h 1608169"/>
                <a:gd name="connsiteX576" fmla="*/ 520159 w 4042302"/>
                <a:gd name="connsiteY576" fmla="*/ 934156 h 1608169"/>
                <a:gd name="connsiteX577" fmla="*/ 519145 w 4042302"/>
                <a:gd name="connsiteY577" fmla="*/ 933395 h 1608169"/>
                <a:gd name="connsiteX578" fmla="*/ 524345 w 4042302"/>
                <a:gd name="connsiteY578" fmla="*/ 933395 h 1608169"/>
                <a:gd name="connsiteX579" fmla="*/ 524345 w 4042302"/>
                <a:gd name="connsiteY579" fmla="*/ 937454 h 1608169"/>
                <a:gd name="connsiteX580" fmla="*/ 523204 w 4042302"/>
                <a:gd name="connsiteY580" fmla="*/ 936693 h 1608169"/>
                <a:gd name="connsiteX581" fmla="*/ 525740 w 4042302"/>
                <a:gd name="connsiteY581" fmla="*/ 936693 h 1608169"/>
                <a:gd name="connsiteX582" fmla="*/ 525740 w 4042302"/>
                <a:gd name="connsiteY582" fmla="*/ 944176 h 1608169"/>
                <a:gd name="connsiteX583" fmla="*/ 524599 w 4042302"/>
                <a:gd name="connsiteY583" fmla="*/ 943415 h 1608169"/>
                <a:gd name="connsiteX584" fmla="*/ 529672 w 4042302"/>
                <a:gd name="connsiteY584" fmla="*/ 943415 h 1608169"/>
                <a:gd name="connsiteX585" fmla="*/ 529672 w 4042302"/>
                <a:gd name="connsiteY585" fmla="*/ 947474 h 1608169"/>
                <a:gd name="connsiteX586" fmla="*/ 528658 w 4042302"/>
                <a:gd name="connsiteY586" fmla="*/ 946713 h 1608169"/>
                <a:gd name="connsiteX587" fmla="*/ 531321 w 4042302"/>
                <a:gd name="connsiteY587" fmla="*/ 946713 h 1608169"/>
                <a:gd name="connsiteX588" fmla="*/ 533858 w 4042302"/>
                <a:gd name="connsiteY588" fmla="*/ 946713 h 1608169"/>
                <a:gd name="connsiteX589" fmla="*/ 533858 w 4042302"/>
                <a:gd name="connsiteY589" fmla="*/ 950899 h 1608169"/>
                <a:gd name="connsiteX590" fmla="*/ 532716 w 4042302"/>
                <a:gd name="connsiteY590" fmla="*/ 950138 h 1608169"/>
                <a:gd name="connsiteX591" fmla="*/ 544639 w 4042302"/>
                <a:gd name="connsiteY591" fmla="*/ 950138 h 1608169"/>
                <a:gd name="connsiteX592" fmla="*/ 544639 w 4042302"/>
                <a:gd name="connsiteY592" fmla="*/ 954196 h 1608169"/>
                <a:gd name="connsiteX593" fmla="*/ 543624 w 4042302"/>
                <a:gd name="connsiteY593" fmla="*/ 953435 h 1608169"/>
                <a:gd name="connsiteX594" fmla="*/ 546034 w 4042302"/>
                <a:gd name="connsiteY594" fmla="*/ 953435 h 1608169"/>
                <a:gd name="connsiteX595" fmla="*/ 546034 w 4042302"/>
                <a:gd name="connsiteY595" fmla="*/ 960919 h 1608169"/>
                <a:gd name="connsiteX596" fmla="*/ 545020 w 4042302"/>
                <a:gd name="connsiteY596" fmla="*/ 960158 h 1608169"/>
                <a:gd name="connsiteX597" fmla="*/ 550220 w 4042302"/>
                <a:gd name="connsiteY597" fmla="*/ 960158 h 1608169"/>
                <a:gd name="connsiteX598" fmla="*/ 550220 w 4042302"/>
                <a:gd name="connsiteY598" fmla="*/ 964343 h 1608169"/>
                <a:gd name="connsiteX599" fmla="*/ 549078 w 4042302"/>
                <a:gd name="connsiteY599" fmla="*/ 963582 h 1608169"/>
                <a:gd name="connsiteX600" fmla="*/ 552883 w 4042302"/>
                <a:gd name="connsiteY600" fmla="*/ 963582 h 1608169"/>
                <a:gd name="connsiteX601" fmla="*/ 552883 w 4042302"/>
                <a:gd name="connsiteY601" fmla="*/ 967641 h 1608169"/>
                <a:gd name="connsiteX602" fmla="*/ 551742 w 4042302"/>
                <a:gd name="connsiteY602" fmla="*/ 966880 h 1608169"/>
                <a:gd name="connsiteX603" fmla="*/ 554406 w 4042302"/>
                <a:gd name="connsiteY603" fmla="*/ 966880 h 1608169"/>
                <a:gd name="connsiteX604" fmla="*/ 559733 w 4042302"/>
                <a:gd name="connsiteY604" fmla="*/ 966880 h 1608169"/>
                <a:gd name="connsiteX605" fmla="*/ 559733 w 4042302"/>
                <a:gd name="connsiteY605" fmla="*/ 971066 h 1608169"/>
                <a:gd name="connsiteX606" fmla="*/ 558591 w 4042302"/>
                <a:gd name="connsiteY606" fmla="*/ 970178 h 1608169"/>
                <a:gd name="connsiteX607" fmla="*/ 562396 w 4042302"/>
                <a:gd name="connsiteY607" fmla="*/ 970178 h 1608169"/>
                <a:gd name="connsiteX608" fmla="*/ 562396 w 4042302"/>
                <a:gd name="connsiteY608" fmla="*/ 974363 h 1608169"/>
                <a:gd name="connsiteX609" fmla="*/ 561255 w 4042302"/>
                <a:gd name="connsiteY609" fmla="*/ 973602 h 1608169"/>
                <a:gd name="connsiteX610" fmla="*/ 562650 w 4042302"/>
                <a:gd name="connsiteY610" fmla="*/ 973602 h 1608169"/>
                <a:gd name="connsiteX611" fmla="*/ 565060 w 4042302"/>
                <a:gd name="connsiteY611" fmla="*/ 973602 h 1608169"/>
                <a:gd name="connsiteX612" fmla="*/ 565060 w 4042302"/>
                <a:gd name="connsiteY612" fmla="*/ 977788 h 1608169"/>
                <a:gd name="connsiteX613" fmla="*/ 563918 w 4042302"/>
                <a:gd name="connsiteY613" fmla="*/ 977027 h 1608169"/>
                <a:gd name="connsiteX614" fmla="*/ 565314 w 4042302"/>
                <a:gd name="connsiteY614" fmla="*/ 977027 h 1608169"/>
                <a:gd name="connsiteX615" fmla="*/ 568104 w 4042302"/>
                <a:gd name="connsiteY615" fmla="*/ 977027 h 1608169"/>
                <a:gd name="connsiteX616" fmla="*/ 570514 w 4042302"/>
                <a:gd name="connsiteY616" fmla="*/ 977027 h 1608169"/>
                <a:gd name="connsiteX617" fmla="*/ 570514 w 4042302"/>
                <a:gd name="connsiteY617" fmla="*/ 981086 h 1608169"/>
                <a:gd name="connsiteX618" fmla="*/ 569499 w 4042302"/>
                <a:gd name="connsiteY618" fmla="*/ 980325 h 1608169"/>
                <a:gd name="connsiteX619" fmla="*/ 571909 w 4042302"/>
                <a:gd name="connsiteY619" fmla="*/ 980325 h 1608169"/>
                <a:gd name="connsiteX620" fmla="*/ 571909 w 4042302"/>
                <a:gd name="connsiteY620" fmla="*/ 984510 h 1608169"/>
                <a:gd name="connsiteX621" fmla="*/ 570768 w 4042302"/>
                <a:gd name="connsiteY621" fmla="*/ 983749 h 1608169"/>
                <a:gd name="connsiteX622" fmla="*/ 573304 w 4042302"/>
                <a:gd name="connsiteY622" fmla="*/ 983749 h 1608169"/>
                <a:gd name="connsiteX623" fmla="*/ 573304 w 4042302"/>
                <a:gd name="connsiteY623" fmla="*/ 987935 h 1608169"/>
                <a:gd name="connsiteX624" fmla="*/ 572163 w 4042302"/>
                <a:gd name="connsiteY624" fmla="*/ 987174 h 1608169"/>
                <a:gd name="connsiteX625" fmla="*/ 578631 w 4042302"/>
                <a:gd name="connsiteY625" fmla="*/ 987174 h 1608169"/>
                <a:gd name="connsiteX626" fmla="*/ 578631 w 4042302"/>
                <a:gd name="connsiteY626" fmla="*/ 991360 h 1608169"/>
                <a:gd name="connsiteX627" fmla="*/ 577617 w 4042302"/>
                <a:gd name="connsiteY627" fmla="*/ 990472 h 1608169"/>
                <a:gd name="connsiteX628" fmla="*/ 580027 w 4042302"/>
                <a:gd name="connsiteY628" fmla="*/ 990472 h 1608169"/>
                <a:gd name="connsiteX629" fmla="*/ 580027 w 4042302"/>
                <a:gd name="connsiteY629" fmla="*/ 994657 h 1608169"/>
                <a:gd name="connsiteX630" fmla="*/ 578885 w 4042302"/>
                <a:gd name="connsiteY630" fmla="*/ 993896 h 1608169"/>
                <a:gd name="connsiteX631" fmla="*/ 581676 w 4042302"/>
                <a:gd name="connsiteY631" fmla="*/ 993896 h 1608169"/>
                <a:gd name="connsiteX632" fmla="*/ 584085 w 4042302"/>
                <a:gd name="connsiteY632" fmla="*/ 993896 h 1608169"/>
                <a:gd name="connsiteX633" fmla="*/ 584085 w 4042302"/>
                <a:gd name="connsiteY633" fmla="*/ 998082 h 1608169"/>
                <a:gd name="connsiteX634" fmla="*/ 583071 w 4042302"/>
                <a:gd name="connsiteY634" fmla="*/ 997321 h 1608169"/>
                <a:gd name="connsiteX635" fmla="*/ 593598 w 4042302"/>
                <a:gd name="connsiteY635" fmla="*/ 997321 h 1608169"/>
                <a:gd name="connsiteX636" fmla="*/ 593598 w 4042302"/>
                <a:gd name="connsiteY636" fmla="*/ 1001507 h 1608169"/>
                <a:gd name="connsiteX637" fmla="*/ 592584 w 4042302"/>
                <a:gd name="connsiteY637" fmla="*/ 1000746 h 1608169"/>
                <a:gd name="connsiteX638" fmla="*/ 594993 w 4042302"/>
                <a:gd name="connsiteY638" fmla="*/ 1000746 h 1608169"/>
                <a:gd name="connsiteX639" fmla="*/ 594993 w 4042302"/>
                <a:gd name="connsiteY639" fmla="*/ 1004931 h 1608169"/>
                <a:gd name="connsiteX640" fmla="*/ 593979 w 4042302"/>
                <a:gd name="connsiteY640" fmla="*/ 1004170 h 1608169"/>
                <a:gd name="connsiteX641" fmla="*/ 603111 w 4042302"/>
                <a:gd name="connsiteY641" fmla="*/ 1004170 h 1608169"/>
                <a:gd name="connsiteX642" fmla="*/ 603111 w 4042302"/>
                <a:gd name="connsiteY642" fmla="*/ 1008356 h 1608169"/>
                <a:gd name="connsiteX643" fmla="*/ 602096 w 4042302"/>
                <a:gd name="connsiteY643" fmla="*/ 1007595 h 1608169"/>
                <a:gd name="connsiteX644" fmla="*/ 604506 w 4042302"/>
                <a:gd name="connsiteY644" fmla="*/ 1007595 h 1608169"/>
                <a:gd name="connsiteX645" fmla="*/ 604506 w 4042302"/>
                <a:gd name="connsiteY645" fmla="*/ 1011654 h 1608169"/>
                <a:gd name="connsiteX646" fmla="*/ 603365 w 4042302"/>
                <a:gd name="connsiteY646" fmla="*/ 1010893 h 1608169"/>
                <a:gd name="connsiteX647" fmla="*/ 622137 w 4042302"/>
                <a:gd name="connsiteY647" fmla="*/ 1010893 h 1608169"/>
                <a:gd name="connsiteX648" fmla="*/ 622137 w 4042302"/>
                <a:gd name="connsiteY648" fmla="*/ 1015078 h 1608169"/>
                <a:gd name="connsiteX649" fmla="*/ 620995 w 4042302"/>
                <a:gd name="connsiteY649" fmla="*/ 1014317 h 1608169"/>
                <a:gd name="connsiteX650" fmla="*/ 626195 w 4042302"/>
                <a:gd name="connsiteY650" fmla="*/ 1014317 h 1608169"/>
                <a:gd name="connsiteX651" fmla="*/ 626195 w 4042302"/>
                <a:gd name="connsiteY651" fmla="*/ 1018503 h 1608169"/>
                <a:gd name="connsiteX652" fmla="*/ 625181 w 4042302"/>
                <a:gd name="connsiteY652" fmla="*/ 1017742 h 1608169"/>
                <a:gd name="connsiteX653" fmla="*/ 628986 w 4042302"/>
                <a:gd name="connsiteY653" fmla="*/ 1017742 h 1608169"/>
                <a:gd name="connsiteX654" fmla="*/ 628986 w 4042302"/>
                <a:gd name="connsiteY654" fmla="*/ 1021927 h 1608169"/>
                <a:gd name="connsiteX655" fmla="*/ 627844 w 4042302"/>
                <a:gd name="connsiteY655" fmla="*/ 1021166 h 1608169"/>
                <a:gd name="connsiteX656" fmla="*/ 630381 w 4042302"/>
                <a:gd name="connsiteY656" fmla="*/ 1021166 h 1608169"/>
                <a:gd name="connsiteX657" fmla="*/ 630381 w 4042302"/>
                <a:gd name="connsiteY657" fmla="*/ 1025352 h 1608169"/>
                <a:gd name="connsiteX658" fmla="*/ 629239 w 4042302"/>
                <a:gd name="connsiteY658" fmla="*/ 1024591 h 1608169"/>
                <a:gd name="connsiteX659" fmla="*/ 641162 w 4042302"/>
                <a:gd name="connsiteY659" fmla="*/ 1024591 h 1608169"/>
                <a:gd name="connsiteX660" fmla="*/ 641162 w 4042302"/>
                <a:gd name="connsiteY660" fmla="*/ 1028777 h 1608169"/>
                <a:gd name="connsiteX661" fmla="*/ 640147 w 4042302"/>
                <a:gd name="connsiteY661" fmla="*/ 1028016 h 1608169"/>
                <a:gd name="connsiteX662" fmla="*/ 646616 w 4042302"/>
                <a:gd name="connsiteY662" fmla="*/ 1028016 h 1608169"/>
                <a:gd name="connsiteX663" fmla="*/ 646616 w 4042302"/>
                <a:gd name="connsiteY663" fmla="*/ 1032201 h 1608169"/>
                <a:gd name="connsiteX664" fmla="*/ 645475 w 4042302"/>
                <a:gd name="connsiteY664" fmla="*/ 1031440 h 1608169"/>
                <a:gd name="connsiteX665" fmla="*/ 648011 w 4042302"/>
                <a:gd name="connsiteY665" fmla="*/ 1031440 h 1608169"/>
                <a:gd name="connsiteX666" fmla="*/ 648011 w 4042302"/>
                <a:gd name="connsiteY666" fmla="*/ 1035499 h 1608169"/>
                <a:gd name="connsiteX667" fmla="*/ 646870 w 4042302"/>
                <a:gd name="connsiteY667" fmla="*/ 1034738 h 1608169"/>
                <a:gd name="connsiteX668" fmla="*/ 651056 w 4042302"/>
                <a:gd name="connsiteY668" fmla="*/ 1034738 h 1608169"/>
                <a:gd name="connsiteX669" fmla="*/ 657778 w 4042302"/>
                <a:gd name="connsiteY669" fmla="*/ 1034738 h 1608169"/>
                <a:gd name="connsiteX670" fmla="*/ 662978 w 4042302"/>
                <a:gd name="connsiteY670" fmla="*/ 1034738 h 1608169"/>
                <a:gd name="connsiteX671" fmla="*/ 662978 w 4042302"/>
                <a:gd name="connsiteY671" fmla="*/ 1039050 h 1608169"/>
                <a:gd name="connsiteX672" fmla="*/ 661837 w 4042302"/>
                <a:gd name="connsiteY672" fmla="*/ 1038163 h 1608169"/>
                <a:gd name="connsiteX673" fmla="*/ 664373 w 4042302"/>
                <a:gd name="connsiteY673" fmla="*/ 1038163 h 1608169"/>
                <a:gd name="connsiteX674" fmla="*/ 664373 w 4042302"/>
                <a:gd name="connsiteY674" fmla="*/ 1042475 h 1608169"/>
                <a:gd name="connsiteX675" fmla="*/ 663232 w 4042302"/>
                <a:gd name="connsiteY675" fmla="*/ 1041587 h 1608169"/>
                <a:gd name="connsiteX676" fmla="*/ 665642 w 4042302"/>
                <a:gd name="connsiteY676" fmla="*/ 1041587 h 1608169"/>
                <a:gd name="connsiteX677" fmla="*/ 665642 w 4042302"/>
                <a:gd name="connsiteY677" fmla="*/ 1045773 h 1608169"/>
                <a:gd name="connsiteX678" fmla="*/ 664627 w 4042302"/>
                <a:gd name="connsiteY678" fmla="*/ 1045012 h 1608169"/>
                <a:gd name="connsiteX679" fmla="*/ 668559 w 4042302"/>
                <a:gd name="connsiteY679" fmla="*/ 1045012 h 1608169"/>
                <a:gd name="connsiteX680" fmla="*/ 672491 w 4042302"/>
                <a:gd name="connsiteY680" fmla="*/ 1045012 h 1608169"/>
                <a:gd name="connsiteX681" fmla="*/ 672491 w 4042302"/>
                <a:gd name="connsiteY681" fmla="*/ 1049197 h 1608169"/>
                <a:gd name="connsiteX682" fmla="*/ 671349 w 4042302"/>
                <a:gd name="connsiteY682" fmla="*/ 1048436 h 1608169"/>
                <a:gd name="connsiteX683" fmla="*/ 673886 w 4042302"/>
                <a:gd name="connsiteY683" fmla="*/ 1048436 h 1608169"/>
                <a:gd name="connsiteX684" fmla="*/ 673886 w 4042302"/>
                <a:gd name="connsiteY684" fmla="*/ 1052749 h 1608169"/>
                <a:gd name="connsiteX685" fmla="*/ 672745 w 4042302"/>
                <a:gd name="connsiteY685" fmla="*/ 1051988 h 1608169"/>
                <a:gd name="connsiteX686" fmla="*/ 675155 w 4042302"/>
                <a:gd name="connsiteY686" fmla="*/ 1051988 h 1608169"/>
                <a:gd name="connsiteX687" fmla="*/ 675155 w 4042302"/>
                <a:gd name="connsiteY687" fmla="*/ 1056173 h 1608169"/>
                <a:gd name="connsiteX688" fmla="*/ 674140 w 4042302"/>
                <a:gd name="connsiteY688" fmla="*/ 1055286 h 1608169"/>
                <a:gd name="connsiteX689" fmla="*/ 684667 w 4042302"/>
                <a:gd name="connsiteY689" fmla="*/ 1055286 h 1608169"/>
                <a:gd name="connsiteX690" fmla="*/ 684667 w 4042302"/>
                <a:gd name="connsiteY690" fmla="*/ 1059598 h 1608169"/>
                <a:gd name="connsiteX691" fmla="*/ 683653 w 4042302"/>
                <a:gd name="connsiteY691" fmla="*/ 1058837 h 1608169"/>
                <a:gd name="connsiteX692" fmla="*/ 688853 w 4042302"/>
                <a:gd name="connsiteY692" fmla="*/ 1058837 h 1608169"/>
                <a:gd name="connsiteX693" fmla="*/ 688853 w 4042302"/>
                <a:gd name="connsiteY693" fmla="*/ 1063023 h 1608169"/>
                <a:gd name="connsiteX694" fmla="*/ 687711 w 4042302"/>
                <a:gd name="connsiteY694" fmla="*/ 1062262 h 1608169"/>
                <a:gd name="connsiteX695" fmla="*/ 690121 w 4042302"/>
                <a:gd name="connsiteY695" fmla="*/ 1062262 h 1608169"/>
                <a:gd name="connsiteX696" fmla="*/ 690121 w 4042302"/>
                <a:gd name="connsiteY696" fmla="*/ 1066447 h 1608169"/>
                <a:gd name="connsiteX697" fmla="*/ 689107 w 4042302"/>
                <a:gd name="connsiteY697" fmla="*/ 1065686 h 1608169"/>
                <a:gd name="connsiteX698" fmla="*/ 691770 w 4042302"/>
                <a:gd name="connsiteY698" fmla="*/ 1065686 h 1608169"/>
                <a:gd name="connsiteX699" fmla="*/ 701029 w 4042302"/>
                <a:gd name="connsiteY699" fmla="*/ 1065686 h 1608169"/>
                <a:gd name="connsiteX700" fmla="*/ 701029 w 4042302"/>
                <a:gd name="connsiteY700" fmla="*/ 1069872 h 1608169"/>
                <a:gd name="connsiteX701" fmla="*/ 699888 w 4042302"/>
                <a:gd name="connsiteY701" fmla="*/ 1069111 h 1608169"/>
                <a:gd name="connsiteX702" fmla="*/ 703693 w 4042302"/>
                <a:gd name="connsiteY702" fmla="*/ 1069111 h 1608169"/>
                <a:gd name="connsiteX703" fmla="*/ 703693 w 4042302"/>
                <a:gd name="connsiteY703" fmla="*/ 1076848 h 1608169"/>
                <a:gd name="connsiteX704" fmla="*/ 702551 w 4042302"/>
                <a:gd name="connsiteY704" fmla="*/ 1075960 h 1608169"/>
                <a:gd name="connsiteX705" fmla="*/ 713333 w 4042302"/>
                <a:gd name="connsiteY705" fmla="*/ 1075960 h 1608169"/>
                <a:gd name="connsiteX706" fmla="*/ 713333 w 4042302"/>
                <a:gd name="connsiteY706" fmla="*/ 1080273 h 1608169"/>
                <a:gd name="connsiteX707" fmla="*/ 712191 w 4042302"/>
                <a:gd name="connsiteY707" fmla="*/ 1079512 h 1608169"/>
                <a:gd name="connsiteX708" fmla="*/ 720055 w 4042302"/>
                <a:gd name="connsiteY708" fmla="*/ 1079512 h 1608169"/>
                <a:gd name="connsiteX709" fmla="*/ 720055 w 4042302"/>
                <a:gd name="connsiteY709" fmla="*/ 1083697 h 1608169"/>
                <a:gd name="connsiteX710" fmla="*/ 718913 w 4042302"/>
                <a:gd name="connsiteY710" fmla="*/ 1082936 h 1608169"/>
                <a:gd name="connsiteX711" fmla="*/ 720309 w 4042302"/>
                <a:gd name="connsiteY711" fmla="*/ 1082936 h 1608169"/>
                <a:gd name="connsiteX712" fmla="*/ 722719 w 4042302"/>
                <a:gd name="connsiteY712" fmla="*/ 1082936 h 1608169"/>
                <a:gd name="connsiteX713" fmla="*/ 722719 w 4042302"/>
                <a:gd name="connsiteY713" fmla="*/ 1087122 h 1608169"/>
                <a:gd name="connsiteX714" fmla="*/ 721704 w 4042302"/>
                <a:gd name="connsiteY714" fmla="*/ 1086361 h 1608169"/>
                <a:gd name="connsiteX715" fmla="*/ 730963 w 4042302"/>
                <a:gd name="connsiteY715" fmla="*/ 1086361 h 1608169"/>
                <a:gd name="connsiteX716" fmla="*/ 730963 w 4042302"/>
                <a:gd name="connsiteY716" fmla="*/ 1090673 h 1608169"/>
                <a:gd name="connsiteX717" fmla="*/ 729821 w 4042302"/>
                <a:gd name="connsiteY717" fmla="*/ 1089912 h 1608169"/>
                <a:gd name="connsiteX718" fmla="*/ 733880 w 4042302"/>
                <a:gd name="connsiteY718" fmla="*/ 1089912 h 1608169"/>
                <a:gd name="connsiteX719" fmla="*/ 747579 w 4042302"/>
                <a:gd name="connsiteY719" fmla="*/ 1089912 h 1608169"/>
                <a:gd name="connsiteX720" fmla="*/ 748847 w 4042302"/>
                <a:gd name="connsiteY720" fmla="*/ 1089912 h 1608169"/>
                <a:gd name="connsiteX721" fmla="*/ 751257 w 4042302"/>
                <a:gd name="connsiteY721" fmla="*/ 1089912 h 1608169"/>
                <a:gd name="connsiteX722" fmla="*/ 751257 w 4042302"/>
                <a:gd name="connsiteY722" fmla="*/ 1094225 h 1608169"/>
                <a:gd name="connsiteX723" fmla="*/ 750115 w 4042302"/>
                <a:gd name="connsiteY723" fmla="*/ 1093464 h 1608169"/>
                <a:gd name="connsiteX724" fmla="*/ 766224 w 4042302"/>
                <a:gd name="connsiteY724" fmla="*/ 1093464 h 1608169"/>
                <a:gd name="connsiteX725" fmla="*/ 766224 w 4042302"/>
                <a:gd name="connsiteY725" fmla="*/ 1097649 h 1608169"/>
                <a:gd name="connsiteX726" fmla="*/ 765209 w 4042302"/>
                <a:gd name="connsiteY726" fmla="*/ 1096888 h 1608169"/>
                <a:gd name="connsiteX727" fmla="*/ 767619 w 4042302"/>
                <a:gd name="connsiteY727" fmla="*/ 1096888 h 1608169"/>
                <a:gd name="connsiteX728" fmla="*/ 767619 w 4042302"/>
                <a:gd name="connsiteY728" fmla="*/ 1101201 h 1608169"/>
                <a:gd name="connsiteX729" fmla="*/ 766477 w 4042302"/>
                <a:gd name="connsiteY729" fmla="*/ 1100440 h 1608169"/>
                <a:gd name="connsiteX730" fmla="*/ 769014 w 4042302"/>
                <a:gd name="connsiteY730" fmla="*/ 1100440 h 1608169"/>
                <a:gd name="connsiteX731" fmla="*/ 769014 w 4042302"/>
                <a:gd name="connsiteY731" fmla="*/ 1104752 h 1608169"/>
                <a:gd name="connsiteX732" fmla="*/ 767873 w 4042302"/>
                <a:gd name="connsiteY732" fmla="*/ 1103991 h 1608169"/>
                <a:gd name="connsiteX733" fmla="*/ 773327 w 4042302"/>
                <a:gd name="connsiteY733" fmla="*/ 1103991 h 1608169"/>
                <a:gd name="connsiteX734" fmla="*/ 779795 w 4042302"/>
                <a:gd name="connsiteY734" fmla="*/ 1103991 h 1608169"/>
                <a:gd name="connsiteX735" fmla="*/ 779795 w 4042302"/>
                <a:gd name="connsiteY735" fmla="*/ 1108304 h 1608169"/>
                <a:gd name="connsiteX736" fmla="*/ 778781 w 4042302"/>
                <a:gd name="connsiteY736" fmla="*/ 1107543 h 1608169"/>
                <a:gd name="connsiteX737" fmla="*/ 782586 w 4042302"/>
                <a:gd name="connsiteY737" fmla="*/ 1107543 h 1608169"/>
                <a:gd name="connsiteX738" fmla="*/ 782586 w 4042302"/>
                <a:gd name="connsiteY738" fmla="*/ 1115280 h 1608169"/>
                <a:gd name="connsiteX739" fmla="*/ 781444 w 4042302"/>
                <a:gd name="connsiteY739" fmla="*/ 1114519 h 1608169"/>
                <a:gd name="connsiteX740" fmla="*/ 788040 w 4042302"/>
                <a:gd name="connsiteY740" fmla="*/ 1114519 h 1608169"/>
                <a:gd name="connsiteX741" fmla="*/ 788040 w 4042302"/>
                <a:gd name="connsiteY741" fmla="*/ 1118831 h 1608169"/>
                <a:gd name="connsiteX742" fmla="*/ 786898 w 4042302"/>
                <a:gd name="connsiteY742" fmla="*/ 1118070 h 1608169"/>
                <a:gd name="connsiteX743" fmla="*/ 790703 w 4042302"/>
                <a:gd name="connsiteY743" fmla="*/ 1118070 h 1608169"/>
                <a:gd name="connsiteX744" fmla="*/ 790703 w 4042302"/>
                <a:gd name="connsiteY744" fmla="*/ 1122383 h 1608169"/>
                <a:gd name="connsiteX745" fmla="*/ 789689 w 4042302"/>
                <a:gd name="connsiteY745" fmla="*/ 1121622 h 1608169"/>
                <a:gd name="connsiteX746" fmla="*/ 790957 w 4042302"/>
                <a:gd name="connsiteY746" fmla="*/ 1121622 h 1608169"/>
                <a:gd name="connsiteX747" fmla="*/ 793494 w 4042302"/>
                <a:gd name="connsiteY747" fmla="*/ 1121622 h 1608169"/>
                <a:gd name="connsiteX748" fmla="*/ 793494 w 4042302"/>
                <a:gd name="connsiteY748" fmla="*/ 1126061 h 1608169"/>
                <a:gd name="connsiteX749" fmla="*/ 792352 w 4042302"/>
                <a:gd name="connsiteY749" fmla="*/ 1125300 h 1608169"/>
                <a:gd name="connsiteX750" fmla="*/ 797426 w 4042302"/>
                <a:gd name="connsiteY750" fmla="*/ 1125300 h 1608169"/>
                <a:gd name="connsiteX751" fmla="*/ 797426 w 4042302"/>
                <a:gd name="connsiteY751" fmla="*/ 1129612 h 1608169"/>
                <a:gd name="connsiteX752" fmla="*/ 796411 w 4042302"/>
                <a:gd name="connsiteY752" fmla="*/ 1128724 h 1608169"/>
                <a:gd name="connsiteX753" fmla="*/ 801611 w 4042302"/>
                <a:gd name="connsiteY753" fmla="*/ 1128724 h 1608169"/>
                <a:gd name="connsiteX754" fmla="*/ 801611 w 4042302"/>
                <a:gd name="connsiteY754" fmla="*/ 1133164 h 1608169"/>
                <a:gd name="connsiteX755" fmla="*/ 800470 w 4042302"/>
                <a:gd name="connsiteY755" fmla="*/ 1132276 h 1608169"/>
                <a:gd name="connsiteX756" fmla="*/ 808460 w 4042302"/>
                <a:gd name="connsiteY756" fmla="*/ 1132276 h 1608169"/>
                <a:gd name="connsiteX757" fmla="*/ 808460 w 4042302"/>
                <a:gd name="connsiteY757" fmla="*/ 1136715 h 1608169"/>
                <a:gd name="connsiteX758" fmla="*/ 807319 w 4042302"/>
                <a:gd name="connsiteY758" fmla="*/ 1135954 h 1608169"/>
                <a:gd name="connsiteX759" fmla="*/ 809729 w 4042302"/>
                <a:gd name="connsiteY759" fmla="*/ 1135954 h 1608169"/>
                <a:gd name="connsiteX760" fmla="*/ 809729 w 4042302"/>
                <a:gd name="connsiteY760" fmla="*/ 1140267 h 1608169"/>
                <a:gd name="connsiteX761" fmla="*/ 808587 w 4042302"/>
                <a:gd name="connsiteY761" fmla="*/ 1139506 h 1608169"/>
                <a:gd name="connsiteX762" fmla="*/ 812392 w 4042302"/>
                <a:gd name="connsiteY762" fmla="*/ 1139506 h 1608169"/>
                <a:gd name="connsiteX763" fmla="*/ 812392 w 4042302"/>
                <a:gd name="connsiteY763" fmla="*/ 1147369 h 1608169"/>
                <a:gd name="connsiteX764" fmla="*/ 811378 w 4042302"/>
                <a:gd name="connsiteY764" fmla="*/ 1146608 h 1608169"/>
                <a:gd name="connsiteX765" fmla="*/ 817973 w 4042302"/>
                <a:gd name="connsiteY765" fmla="*/ 1146608 h 1608169"/>
                <a:gd name="connsiteX766" fmla="*/ 817973 w 4042302"/>
                <a:gd name="connsiteY766" fmla="*/ 1151048 h 1608169"/>
                <a:gd name="connsiteX767" fmla="*/ 816832 w 4042302"/>
                <a:gd name="connsiteY767" fmla="*/ 1150287 h 1608169"/>
                <a:gd name="connsiteX768" fmla="*/ 818227 w 4042302"/>
                <a:gd name="connsiteY768" fmla="*/ 1150287 h 1608169"/>
                <a:gd name="connsiteX769" fmla="*/ 820637 w 4042302"/>
                <a:gd name="connsiteY769" fmla="*/ 1150287 h 1608169"/>
                <a:gd name="connsiteX770" fmla="*/ 820637 w 4042302"/>
                <a:gd name="connsiteY770" fmla="*/ 1154599 h 1608169"/>
                <a:gd name="connsiteX771" fmla="*/ 819495 w 4042302"/>
                <a:gd name="connsiteY771" fmla="*/ 1153838 h 1608169"/>
                <a:gd name="connsiteX772" fmla="*/ 821905 w 4042302"/>
                <a:gd name="connsiteY772" fmla="*/ 1153838 h 1608169"/>
                <a:gd name="connsiteX773" fmla="*/ 821905 w 4042302"/>
                <a:gd name="connsiteY773" fmla="*/ 1158151 h 1608169"/>
                <a:gd name="connsiteX774" fmla="*/ 820891 w 4042302"/>
                <a:gd name="connsiteY774" fmla="*/ 1157390 h 1608169"/>
                <a:gd name="connsiteX775" fmla="*/ 827486 w 4042302"/>
                <a:gd name="connsiteY775" fmla="*/ 1157390 h 1608169"/>
                <a:gd name="connsiteX776" fmla="*/ 827486 w 4042302"/>
                <a:gd name="connsiteY776" fmla="*/ 1161829 h 1608169"/>
                <a:gd name="connsiteX777" fmla="*/ 826345 w 4042302"/>
                <a:gd name="connsiteY777" fmla="*/ 1161068 h 1608169"/>
                <a:gd name="connsiteX778" fmla="*/ 829135 w 4042302"/>
                <a:gd name="connsiteY778" fmla="*/ 1161068 h 1608169"/>
                <a:gd name="connsiteX779" fmla="*/ 834208 w 4042302"/>
                <a:gd name="connsiteY779" fmla="*/ 1161068 h 1608169"/>
                <a:gd name="connsiteX780" fmla="*/ 834208 w 4042302"/>
                <a:gd name="connsiteY780" fmla="*/ 1165380 h 1608169"/>
                <a:gd name="connsiteX781" fmla="*/ 833067 w 4042302"/>
                <a:gd name="connsiteY781" fmla="*/ 1164619 h 1608169"/>
                <a:gd name="connsiteX782" fmla="*/ 838267 w 4042302"/>
                <a:gd name="connsiteY782" fmla="*/ 1164619 h 1608169"/>
                <a:gd name="connsiteX783" fmla="*/ 838267 w 4042302"/>
                <a:gd name="connsiteY783" fmla="*/ 1169059 h 1608169"/>
                <a:gd name="connsiteX784" fmla="*/ 837253 w 4042302"/>
                <a:gd name="connsiteY784" fmla="*/ 1168171 h 1608169"/>
                <a:gd name="connsiteX785" fmla="*/ 839916 w 4042302"/>
                <a:gd name="connsiteY785" fmla="*/ 1168171 h 1608169"/>
                <a:gd name="connsiteX786" fmla="*/ 853615 w 4042302"/>
                <a:gd name="connsiteY786" fmla="*/ 1168171 h 1608169"/>
                <a:gd name="connsiteX787" fmla="*/ 864396 w 4042302"/>
                <a:gd name="connsiteY787" fmla="*/ 1168171 h 1608169"/>
                <a:gd name="connsiteX788" fmla="*/ 866932 w 4042302"/>
                <a:gd name="connsiteY788" fmla="*/ 1168171 h 1608169"/>
                <a:gd name="connsiteX789" fmla="*/ 866932 w 4042302"/>
                <a:gd name="connsiteY789" fmla="*/ 1172610 h 1608169"/>
                <a:gd name="connsiteX790" fmla="*/ 865791 w 4042302"/>
                <a:gd name="connsiteY790" fmla="*/ 1171849 h 1608169"/>
                <a:gd name="connsiteX791" fmla="*/ 868201 w 4042302"/>
                <a:gd name="connsiteY791" fmla="*/ 1171849 h 1608169"/>
                <a:gd name="connsiteX792" fmla="*/ 868201 w 4042302"/>
                <a:gd name="connsiteY792" fmla="*/ 1176288 h 1608169"/>
                <a:gd name="connsiteX793" fmla="*/ 867059 w 4042302"/>
                <a:gd name="connsiteY793" fmla="*/ 1175527 h 1608169"/>
                <a:gd name="connsiteX794" fmla="*/ 869596 w 4042302"/>
                <a:gd name="connsiteY794" fmla="*/ 1175527 h 1608169"/>
                <a:gd name="connsiteX795" fmla="*/ 869596 w 4042302"/>
                <a:gd name="connsiteY795" fmla="*/ 1179967 h 1608169"/>
                <a:gd name="connsiteX796" fmla="*/ 868454 w 4042302"/>
                <a:gd name="connsiteY796" fmla="*/ 1179206 h 1608169"/>
                <a:gd name="connsiteX797" fmla="*/ 873655 w 4042302"/>
                <a:gd name="connsiteY797" fmla="*/ 1179206 h 1608169"/>
                <a:gd name="connsiteX798" fmla="*/ 873655 w 4042302"/>
                <a:gd name="connsiteY798" fmla="*/ 1183645 h 1608169"/>
                <a:gd name="connsiteX799" fmla="*/ 872513 w 4042302"/>
                <a:gd name="connsiteY799" fmla="*/ 1182884 h 1608169"/>
                <a:gd name="connsiteX800" fmla="*/ 902193 w 4042302"/>
                <a:gd name="connsiteY800" fmla="*/ 1182884 h 1608169"/>
                <a:gd name="connsiteX801" fmla="*/ 902193 w 4042302"/>
                <a:gd name="connsiteY801" fmla="*/ 1187323 h 1608169"/>
                <a:gd name="connsiteX802" fmla="*/ 901052 w 4042302"/>
                <a:gd name="connsiteY802" fmla="*/ 1186562 h 1608169"/>
                <a:gd name="connsiteX803" fmla="*/ 904857 w 4042302"/>
                <a:gd name="connsiteY803" fmla="*/ 1186562 h 1608169"/>
                <a:gd name="connsiteX804" fmla="*/ 904857 w 4042302"/>
                <a:gd name="connsiteY804" fmla="*/ 1191001 h 1608169"/>
                <a:gd name="connsiteX805" fmla="*/ 903842 w 4042302"/>
                <a:gd name="connsiteY805" fmla="*/ 1190240 h 1608169"/>
                <a:gd name="connsiteX806" fmla="*/ 910311 w 4042302"/>
                <a:gd name="connsiteY806" fmla="*/ 1190240 h 1608169"/>
                <a:gd name="connsiteX807" fmla="*/ 910311 w 4042302"/>
                <a:gd name="connsiteY807" fmla="*/ 1198358 h 1608169"/>
                <a:gd name="connsiteX808" fmla="*/ 909296 w 4042302"/>
                <a:gd name="connsiteY808" fmla="*/ 1197597 h 1608169"/>
                <a:gd name="connsiteX809" fmla="*/ 911706 w 4042302"/>
                <a:gd name="connsiteY809" fmla="*/ 1197597 h 1608169"/>
                <a:gd name="connsiteX810" fmla="*/ 911706 w 4042302"/>
                <a:gd name="connsiteY810" fmla="*/ 1202036 h 1608169"/>
                <a:gd name="connsiteX811" fmla="*/ 910691 w 4042302"/>
                <a:gd name="connsiteY811" fmla="*/ 1201275 h 1608169"/>
                <a:gd name="connsiteX812" fmla="*/ 913101 w 4042302"/>
                <a:gd name="connsiteY812" fmla="*/ 1201275 h 1608169"/>
                <a:gd name="connsiteX813" fmla="*/ 913101 w 4042302"/>
                <a:gd name="connsiteY813" fmla="*/ 1205715 h 1608169"/>
                <a:gd name="connsiteX814" fmla="*/ 911960 w 4042302"/>
                <a:gd name="connsiteY814" fmla="*/ 1204954 h 1608169"/>
                <a:gd name="connsiteX815" fmla="*/ 914623 w 4042302"/>
                <a:gd name="connsiteY815" fmla="*/ 1204954 h 1608169"/>
                <a:gd name="connsiteX816" fmla="*/ 921219 w 4042302"/>
                <a:gd name="connsiteY816" fmla="*/ 1204954 h 1608169"/>
                <a:gd name="connsiteX817" fmla="*/ 921219 w 4042302"/>
                <a:gd name="connsiteY817" fmla="*/ 1209520 h 1608169"/>
                <a:gd name="connsiteX818" fmla="*/ 920077 w 4042302"/>
                <a:gd name="connsiteY818" fmla="*/ 1208759 h 1608169"/>
                <a:gd name="connsiteX819" fmla="*/ 922614 w 4042302"/>
                <a:gd name="connsiteY819" fmla="*/ 1208759 h 1608169"/>
                <a:gd name="connsiteX820" fmla="*/ 922614 w 4042302"/>
                <a:gd name="connsiteY820" fmla="*/ 1213198 h 1608169"/>
                <a:gd name="connsiteX821" fmla="*/ 921472 w 4042302"/>
                <a:gd name="connsiteY821" fmla="*/ 1212437 h 1608169"/>
                <a:gd name="connsiteX822" fmla="*/ 924009 w 4042302"/>
                <a:gd name="connsiteY822" fmla="*/ 1212437 h 1608169"/>
                <a:gd name="connsiteX823" fmla="*/ 924009 w 4042302"/>
                <a:gd name="connsiteY823" fmla="*/ 1216876 h 1608169"/>
                <a:gd name="connsiteX824" fmla="*/ 922868 w 4042302"/>
                <a:gd name="connsiteY824" fmla="*/ 1216115 h 1608169"/>
                <a:gd name="connsiteX825" fmla="*/ 924263 w 4042302"/>
                <a:gd name="connsiteY825" fmla="*/ 1216115 h 1608169"/>
                <a:gd name="connsiteX826" fmla="*/ 926673 w 4042302"/>
                <a:gd name="connsiteY826" fmla="*/ 1216115 h 1608169"/>
                <a:gd name="connsiteX827" fmla="*/ 926673 w 4042302"/>
                <a:gd name="connsiteY827" fmla="*/ 1220554 h 1608169"/>
                <a:gd name="connsiteX828" fmla="*/ 925531 w 4042302"/>
                <a:gd name="connsiteY828" fmla="*/ 1219793 h 1608169"/>
                <a:gd name="connsiteX829" fmla="*/ 943288 w 4042302"/>
                <a:gd name="connsiteY829" fmla="*/ 1219793 h 1608169"/>
                <a:gd name="connsiteX830" fmla="*/ 955211 w 4042302"/>
                <a:gd name="connsiteY830" fmla="*/ 1219793 h 1608169"/>
                <a:gd name="connsiteX831" fmla="*/ 955211 w 4042302"/>
                <a:gd name="connsiteY831" fmla="*/ 1224360 h 1608169"/>
                <a:gd name="connsiteX832" fmla="*/ 954070 w 4042302"/>
                <a:gd name="connsiteY832" fmla="*/ 1223599 h 1608169"/>
                <a:gd name="connsiteX833" fmla="*/ 959524 w 4042302"/>
                <a:gd name="connsiteY833" fmla="*/ 1223599 h 1608169"/>
                <a:gd name="connsiteX834" fmla="*/ 966119 w 4042302"/>
                <a:gd name="connsiteY834" fmla="*/ 1223599 h 1608169"/>
                <a:gd name="connsiteX835" fmla="*/ 966119 w 4042302"/>
                <a:gd name="connsiteY835" fmla="*/ 1228165 h 1608169"/>
                <a:gd name="connsiteX836" fmla="*/ 964978 w 4042302"/>
                <a:gd name="connsiteY836" fmla="*/ 1227404 h 1608169"/>
                <a:gd name="connsiteX837" fmla="*/ 967388 w 4042302"/>
                <a:gd name="connsiteY837" fmla="*/ 1227404 h 1608169"/>
                <a:gd name="connsiteX838" fmla="*/ 967388 w 4042302"/>
                <a:gd name="connsiteY838" fmla="*/ 1231843 h 1608169"/>
                <a:gd name="connsiteX839" fmla="*/ 966373 w 4042302"/>
                <a:gd name="connsiteY839" fmla="*/ 1231082 h 1608169"/>
                <a:gd name="connsiteX840" fmla="*/ 968783 w 4042302"/>
                <a:gd name="connsiteY840" fmla="*/ 1231082 h 1608169"/>
                <a:gd name="connsiteX841" fmla="*/ 968783 w 4042302"/>
                <a:gd name="connsiteY841" fmla="*/ 1239453 h 1608169"/>
                <a:gd name="connsiteX842" fmla="*/ 967768 w 4042302"/>
                <a:gd name="connsiteY842" fmla="*/ 1238692 h 1608169"/>
                <a:gd name="connsiteX843" fmla="*/ 975505 w 4042302"/>
                <a:gd name="connsiteY843" fmla="*/ 1238692 h 1608169"/>
                <a:gd name="connsiteX844" fmla="*/ 975505 w 4042302"/>
                <a:gd name="connsiteY844" fmla="*/ 1243258 h 1608169"/>
                <a:gd name="connsiteX845" fmla="*/ 974490 w 4042302"/>
                <a:gd name="connsiteY845" fmla="*/ 1242497 h 1608169"/>
                <a:gd name="connsiteX846" fmla="*/ 978296 w 4042302"/>
                <a:gd name="connsiteY846" fmla="*/ 1242497 h 1608169"/>
                <a:gd name="connsiteX847" fmla="*/ 978296 w 4042302"/>
                <a:gd name="connsiteY847" fmla="*/ 1246937 h 1608169"/>
                <a:gd name="connsiteX848" fmla="*/ 977154 w 4042302"/>
                <a:gd name="connsiteY848" fmla="*/ 1246176 h 1608169"/>
                <a:gd name="connsiteX849" fmla="*/ 978549 w 4042302"/>
                <a:gd name="connsiteY849" fmla="*/ 1246176 h 1608169"/>
                <a:gd name="connsiteX850" fmla="*/ 981086 w 4042302"/>
                <a:gd name="connsiteY850" fmla="*/ 1246176 h 1608169"/>
                <a:gd name="connsiteX851" fmla="*/ 981086 w 4042302"/>
                <a:gd name="connsiteY851" fmla="*/ 1250742 h 1608169"/>
                <a:gd name="connsiteX852" fmla="*/ 979944 w 4042302"/>
                <a:gd name="connsiteY852" fmla="*/ 1249981 h 1608169"/>
                <a:gd name="connsiteX853" fmla="*/ 981340 w 4042302"/>
                <a:gd name="connsiteY853" fmla="*/ 1249981 h 1608169"/>
                <a:gd name="connsiteX854" fmla="*/ 982735 w 4042302"/>
                <a:gd name="connsiteY854" fmla="*/ 1249981 h 1608169"/>
                <a:gd name="connsiteX855" fmla="*/ 985272 w 4042302"/>
                <a:gd name="connsiteY855" fmla="*/ 1249981 h 1608169"/>
                <a:gd name="connsiteX856" fmla="*/ 986667 w 4042302"/>
                <a:gd name="connsiteY856" fmla="*/ 1249981 h 1608169"/>
                <a:gd name="connsiteX857" fmla="*/ 990599 w 4042302"/>
                <a:gd name="connsiteY857" fmla="*/ 1249981 h 1608169"/>
                <a:gd name="connsiteX858" fmla="*/ 990599 w 4042302"/>
                <a:gd name="connsiteY858" fmla="*/ 1254674 h 1608169"/>
                <a:gd name="connsiteX859" fmla="*/ 989457 w 4042302"/>
                <a:gd name="connsiteY859" fmla="*/ 1253913 h 1608169"/>
                <a:gd name="connsiteX860" fmla="*/ 990852 w 4042302"/>
                <a:gd name="connsiteY860" fmla="*/ 1253913 h 1608169"/>
                <a:gd name="connsiteX861" fmla="*/ 994657 w 4042302"/>
                <a:gd name="connsiteY861" fmla="*/ 1253913 h 1608169"/>
                <a:gd name="connsiteX862" fmla="*/ 994657 w 4042302"/>
                <a:gd name="connsiteY862" fmla="*/ 1258479 h 1608169"/>
                <a:gd name="connsiteX863" fmla="*/ 993516 w 4042302"/>
                <a:gd name="connsiteY863" fmla="*/ 1257718 h 1608169"/>
                <a:gd name="connsiteX864" fmla="*/ 1004170 w 4042302"/>
                <a:gd name="connsiteY864" fmla="*/ 1257718 h 1608169"/>
                <a:gd name="connsiteX865" fmla="*/ 1004170 w 4042302"/>
                <a:gd name="connsiteY865" fmla="*/ 1262411 h 1608169"/>
                <a:gd name="connsiteX866" fmla="*/ 1003029 w 4042302"/>
                <a:gd name="connsiteY866" fmla="*/ 1261650 h 1608169"/>
                <a:gd name="connsiteX867" fmla="*/ 1013683 w 4042302"/>
                <a:gd name="connsiteY867" fmla="*/ 1261650 h 1608169"/>
                <a:gd name="connsiteX868" fmla="*/ 1013683 w 4042302"/>
                <a:gd name="connsiteY868" fmla="*/ 1270275 h 1608169"/>
                <a:gd name="connsiteX869" fmla="*/ 1012542 w 4042302"/>
                <a:gd name="connsiteY869" fmla="*/ 1269514 h 1608169"/>
                <a:gd name="connsiteX870" fmla="*/ 1044885 w 4042302"/>
                <a:gd name="connsiteY870" fmla="*/ 1269514 h 1608169"/>
                <a:gd name="connsiteX871" fmla="*/ 1044885 w 4042302"/>
                <a:gd name="connsiteY871" fmla="*/ 1274207 h 1608169"/>
                <a:gd name="connsiteX872" fmla="*/ 1043744 w 4042302"/>
                <a:gd name="connsiteY872" fmla="*/ 1273319 h 1608169"/>
                <a:gd name="connsiteX873" fmla="*/ 1050339 w 4042302"/>
                <a:gd name="connsiteY873" fmla="*/ 1273319 h 1608169"/>
                <a:gd name="connsiteX874" fmla="*/ 1050339 w 4042302"/>
                <a:gd name="connsiteY874" fmla="*/ 1278012 h 1608169"/>
                <a:gd name="connsiteX875" fmla="*/ 1049198 w 4042302"/>
                <a:gd name="connsiteY875" fmla="*/ 1277251 h 1608169"/>
                <a:gd name="connsiteX876" fmla="*/ 1057442 w 4042302"/>
                <a:gd name="connsiteY876" fmla="*/ 1277251 h 1608169"/>
                <a:gd name="connsiteX877" fmla="*/ 1059852 w 4042302"/>
                <a:gd name="connsiteY877" fmla="*/ 1277251 h 1608169"/>
                <a:gd name="connsiteX878" fmla="*/ 1059852 w 4042302"/>
                <a:gd name="connsiteY878" fmla="*/ 1281944 h 1608169"/>
                <a:gd name="connsiteX879" fmla="*/ 1058710 w 4042302"/>
                <a:gd name="connsiteY879" fmla="*/ 1281183 h 1608169"/>
                <a:gd name="connsiteX880" fmla="*/ 1069365 w 4042302"/>
                <a:gd name="connsiteY880" fmla="*/ 1281183 h 1608169"/>
                <a:gd name="connsiteX881" fmla="*/ 1069365 w 4042302"/>
                <a:gd name="connsiteY881" fmla="*/ 1285876 h 1608169"/>
                <a:gd name="connsiteX882" fmla="*/ 1068223 w 4042302"/>
                <a:gd name="connsiteY882" fmla="*/ 1285115 h 1608169"/>
                <a:gd name="connsiteX883" fmla="*/ 1076214 w 4042302"/>
                <a:gd name="connsiteY883" fmla="*/ 1285115 h 1608169"/>
                <a:gd name="connsiteX884" fmla="*/ 1076214 w 4042302"/>
                <a:gd name="connsiteY884" fmla="*/ 1289808 h 1608169"/>
                <a:gd name="connsiteX885" fmla="*/ 1075072 w 4042302"/>
                <a:gd name="connsiteY885" fmla="*/ 1289047 h 1608169"/>
                <a:gd name="connsiteX886" fmla="*/ 1077609 w 4042302"/>
                <a:gd name="connsiteY886" fmla="*/ 1289047 h 1608169"/>
                <a:gd name="connsiteX887" fmla="*/ 1077609 w 4042302"/>
                <a:gd name="connsiteY887" fmla="*/ 1293740 h 1608169"/>
                <a:gd name="connsiteX888" fmla="*/ 1076468 w 4042302"/>
                <a:gd name="connsiteY888" fmla="*/ 1292852 h 1608169"/>
                <a:gd name="connsiteX889" fmla="*/ 1085727 w 4042302"/>
                <a:gd name="connsiteY889" fmla="*/ 1292852 h 1608169"/>
                <a:gd name="connsiteX890" fmla="*/ 1085727 w 4042302"/>
                <a:gd name="connsiteY890" fmla="*/ 1297672 h 1608169"/>
                <a:gd name="connsiteX891" fmla="*/ 1084585 w 4042302"/>
                <a:gd name="connsiteY891" fmla="*/ 1296911 h 1608169"/>
                <a:gd name="connsiteX892" fmla="*/ 1088644 w 4042302"/>
                <a:gd name="connsiteY892" fmla="*/ 1296911 h 1608169"/>
                <a:gd name="connsiteX893" fmla="*/ 1094098 w 4042302"/>
                <a:gd name="connsiteY893" fmla="*/ 1296911 h 1608169"/>
                <a:gd name="connsiteX894" fmla="*/ 1099298 w 4042302"/>
                <a:gd name="connsiteY894" fmla="*/ 1296911 h 1608169"/>
                <a:gd name="connsiteX895" fmla="*/ 1099298 w 4042302"/>
                <a:gd name="connsiteY895" fmla="*/ 1301604 h 1608169"/>
                <a:gd name="connsiteX896" fmla="*/ 1098157 w 4042302"/>
                <a:gd name="connsiteY896" fmla="*/ 1300842 h 1608169"/>
                <a:gd name="connsiteX897" fmla="*/ 1100820 w 4042302"/>
                <a:gd name="connsiteY897" fmla="*/ 1300842 h 1608169"/>
                <a:gd name="connsiteX898" fmla="*/ 1115533 w 4042302"/>
                <a:gd name="connsiteY898" fmla="*/ 1300842 h 1608169"/>
                <a:gd name="connsiteX899" fmla="*/ 1115533 w 4042302"/>
                <a:gd name="connsiteY899" fmla="*/ 1305535 h 1608169"/>
                <a:gd name="connsiteX900" fmla="*/ 1114519 w 4042302"/>
                <a:gd name="connsiteY900" fmla="*/ 1304774 h 1608169"/>
                <a:gd name="connsiteX901" fmla="*/ 1115787 w 4042302"/>
                <a:gd name="connsiteY901" fmla="*/ 1304774 h 1608169"/>
                <a:gd name="connsiteX902" fmla="*/ 1117182 w 4042302"/>
                <a:gd name="connsiteY902" fmla="*/ 1304774 h 1608169"/>
                <a:gd name="connsiteX903" fmla="*/ 1123778 w 4042302"/>
                <a:gd name="connsiteY903" fmla="*/ 1304774 h 1608169"/>
                <a:gd name="connsiteX904" fmla="*/ 1123778 w 4042302"/>
                <a:gd name="connsiteY904" fmla="*/ 1313653 h 1608169"/>
                <a:gd name="connsiteX905" fmla="*/ 1122636 w 4042302"/>
                <a:gd name="connsiteY905" fmla="*/ 1312892 h 1608169"/>
                <a:gd name="connsiteX906" fmla="*/ 1125046 w 4042302"/>
                <a:gd name="connsiteY906" fmla="*/ 1312892 h 1608169"/>
                <a:gd name="connsiteX907" fmla="*/ 1125046 w 4042302"/>
                <a:gd name="connsiteY907" fmla="*/ 1317712 h 1608169"/>
                <a:gd name="connsiteX908" fmla="*/ 1123905 w 4042302"/>
                <a:gd name="connsiteY908" fmla="*/ 1316824 h 1608169"/>
                <a:gd name="connsiteX909" fmla="*/ 1126441 w 4042302"/>
                <a:gd name="connsiteY909" fmla="*/ 1316824 h 1608169"/>
                <a:gd name="connsiteX910" fmla="*/ 1126441 w 4042302"/>
                <a:gd name="connsiteY910" fmla="*/ 1321644 h 1608169"/>
                <a:gd name="connsiteX911" fmla="*/ 1125300 w 4042302"/>
                <a:gd name="connsiteY911" fmla="*/ 1320883 h 1608169"/>
                <a:gd name="connsiteX912" fmla="*/ 1130754 w 4042302"/>
                <a:gd name="connsiteY912" fmla="*/ 1320883 h 1608169"/>
                <a:gd name="connsiteX913" fmla="*/ 1134686 w 4042302"/>
                <a:gd name="connsiteY913" fmla="*/ 1320883 h 1608169"/>
                <a:gd name="connsiteX914" fmla="*/ 1134686 w 4042302"/>
                <a:gd name="connsiteY914" fmla="*/ 1325703 h 1608169"/>
                <a:gd name="connsiteX915" fmla="*/ 1133544 w 4042302"/>
                <a:gd name="connsiteY915" fmla="*/ 1324942 h 1608169"/>
                <a:gd name="connsiteX916" fmla="*/ 1134940 w 4042302"/>
                <a:gd name="connsiteY916" fmla="*/ 1324942 h 1608169"/>
                <a:gd name="connsiteX917" fmla="*/ 1143057 w 4042302"/>
                <a:gd name="connsiteY917" fmla="*/ 1324942 h 1608169"/>
                <a:gd name="connsiteX918" fmla="*/ 1145467 w 4042302"/>
                <a:gd name="connsiteY918" fmla="*/ 1324942 h 1608169"/>
                <a:gd name="connsiteX919" fmla="*/ 1145467 w 4042302"/>
                <a:gd name="connsiteY919" fmla="*/ 1333820 h 1608169"/>
                <a:gd name="connsiteX920" fmla="*/ 1144452 w 4042302"/>
                <a:gd name="connsiteY920" fmla="*/ 1333059 h 1608169"/>
                <a:gd name="connsiteX921" fmla="*/ 1150921 w 4042302"/>
                <a:gd name="connsiteY921" fmla="*/ 1333059 h 1608169"/>
                <a:gd name="connsiteX922" fmla="*/ 1150921 w 4042302"/>
                <a:gd name="connsiteY922" fmla="*/ 1338006 h 1608169"/>
                <a:gd name="connsiteX923" fmla="*/ 1149779 w 4042302"/>
                <a:gd name="connsiteY923" fmla="*/ 1337245 h 1608169"/>
                <a:gd name="connsiteX924" fmla="*/ 1163478 w 4042302"/>
                <a:gd name="connsiteY924" fmla="*/ 1337245 h 1608169"/>
                <a:gd name="connsiteX925" fmla="*/ 1179459 w 4042302"/>
                <a:gd name="connsiteY925" fmla="*/ 1337245 h 1608169"/>
                <a:gd name="connsiteX926" fmla="*/ 1179459 w 4042302"/>
                <a:gd name="connsiteY926" fmla="*/ 1342191 h 1608169"/>
                <a:gd name="connsiteX927" fmla="*/ 1178445 w 4042302"/>
                <a:gd name="connsiteY927" fmla="*/ 1341304 h 1608169"/>
                <a:gd name="connsiteX928" fmla="*/ 1182250 w 4042302"/>
                <a:gd name="connsiteY928" fmla="*/ 1341304 h 1608169"/>
                <a:gd name="connsiteX929" fmla="*/ 1182250 w 4042302"/>
                <a:gd name="connsiteY929" fmla="*/ 1346250 h 1608169"/>
                <a:gd name="connsiteX930" fmla="*/ 1181108 w 4042302"/>
                <a:gd name="connsiteY930" fmla="*/ 1345489 h 1608169"/>
                <a:gd name="connsiteX931" fmla="*/ 1184913 w 4042302"/>
                <a:gd name="connsiteY931" fmla="*/ 1345489 h 1608169"/>
                <a:gd name="connsiteX932" fmla="*/ 1184913 w 4042302"/>
                <a:gd name="connsiteY932" fmla="*/ 1350436 h 1608169"/>
                <a:gd name="connsiteX933" fmla="*/ 1183772 w 4042302"/>
                <a:gd name="connsiteY933" fmla="*/ 1349675 h 1608169"/>
                <a:gd name="connsiteX934" fmla="*/ 1185167 w 4042302"/>
                <a:gd name="connsiteY934" fmla="*/ 1349675 h 1608169"/>
                <a:gd name="connsiteX935" fmla="*/ 1187577 w 4042302"/>
                <a:gd name="connsiteY935" fmla="*/ 1349675 h 1608169"/>
                <a:gd name="connsiteX936" fmla="*/ 1187577 w 4042302"/>
                <a:gd name="connsiteY936" fmla="*/ 1354495 h 1608169"/>
                <a:gd name="connsiteX937" fmla="*/ 1186562 w 4042302"/>
                <a:gd name="connsiteY937" fmla="*/ 1353734 h 1608169"/>
                <a:gd name="connsiteX938" fmla="*/ 1217764 w 4042302"/>
                <a:gd name="connsiteY938" fmla="*/ 1353734 h 1608169"/>
                <a:gd name="connsiteX939" fmla="*/ 1229941 w 4042302"/>
                <a:gd name="connsiteY939" fmla="*/ 1353734 h 1608169"/>
                <a:gd name="connsiteX940" fmla="*/ 1233873 w 4042302"/>
                <a:gd name="connsiteY940" fmla="*/ 1353734 h 1608169"/>
                <a:gd name="connsiteX941" fmla="*/ 1233873 w 4042302"/>
                <a:gd name="connsiteY941" fmla="*/ 1358680 h 1608169"/>
                <a:gd name="connsiteX942" fmla="*/ 1232731 w 4042302"/>
                <a:gd name="connsiteY942" fmla="*/ 1357919 h 1608169"/>
                <a:gd name="connsiteX943" fmla="*/ 1251757 w 4042302"/>
                <a:gd name="connsiteY943" fmla="*/ 1357919 h 1608169"/>
                <a:gd name="connsiteX944" fmla="*/ 1268119 w 4042302"/>
                <a:gd name="connsiteY944" fmla="*/ 1357919 h 1608169"/>
                <a:gd name="connsiteX945" fmla="*/ 1271924 w 4042302"/>
                <a:gd name="connsiteY945" fmla="*/ 1357919 h 1608169"/>
                <a:gd name="connsiteX946" fmla="*/ 1271924 w 4042302"/>
                <a:gd name="connsiteY946" fmla="*/ 1362993 h 1608169"/>
                <a:gd name="connsiteX947" fmla="*/ 1270782 w 4042302"/>
                <a:gd name="connsiteY947" fmla="*/ 1362232 h 1608169"/>
                <a:gd name="connsiteX948" fmla="*/ 1286890 w 4042302"/>
                <a:gd name="connsiteY948" fmla="*/ 1362232 h 1608169"/>
                <a:gd name="connsiteX949" fmla="*/ 1286890 w 4042302"/>
                <a:gd name="connsiteY949" fmla="*/ 1367305 h 1608169"/>
                <a:gd name="connsiteX950" fmla="*/ 1285749 w 4042302"/>
                <a:gd name="connsiteY950" fmla="*/ 1366417 h 1608169"/>
                <a:gd name="connsiteX951" fmla="*/ 1293613 w 4042302"/>
                <a:gd name="connsiteY951" fmla="*/ 1366417 h 1608169"/>
                <a:gd name="connsiteX952" fmla="*/ 1293613 w 4042302"/>
                <a:gd name="connsiteY952" fmla="*/ 1371491 h 1608169"/>
                <a:gd name="connsiteX953" fmla="*/ 1292598 w 4042302"/>
                <a:gd name="connsiteY953" fmla="*/ 1370730 h 1608169"/>
                <a:gd name="connsiteX954" fmla="*/ 1301731 w 4042302"/>
                <a:gd name="connsiteY954" fmla="*/ 1370730 h 1608169"/>
                <a:gd name="connsiteX955" fmla="*/ 1301731 w 4042302"/>
                <a:gd name="connsiteY955" fmla="*/ 1375803 h 1608169"/>
                <a:gd name="connsiteX956" fmla="*/ 1300716 w 4042302"/>
                <a:gd name="connsiteY956" fmla="*/ 1375042 h 1608169"/>
                <a:gd name="connsiteX957" fmla="*/ 1311370 w 4042302"/>
                <a:gd name="connsiteY957" fmla="*/ 1375042 h 1608169"/>
                <a:gd name="connsiteX958" fmla="*/ 1311370 w 4042302"/>
                <a:gd name="connsiteY958" fmla="*/ 1380116 h 1608169"/>
                <a:gd name="connsiteX959" fmla="*/ 1310229 w 4042302"/>
                <a:gd name="connsiteY959" fmla="*/ 1379228 h 1608169"/>
                <a:gd name="connsiteX960" fmla="*/ 1318346 w 4042302"/>
                <a:gd name="connsiteY960" fmla="*/ 1379228 h 1608169"/>
                <a:gd name="connsiteX961" fmla="*/ 1332045 w 4042302"/>
                <a:gd name="connsiteY961" fmla="*/ 1379228 h 1608169"/>
                <a:gd name="connsiteX962" fmla="*/ 1333313 w 4042302"/>
                <a:gd name="connsiteY962" fmla="*/ 1379228 h 1608169"/>
                <a:gd name="connsiteX963" fmla="*/ 1334708 w 4042302"/>
                <a:gd name="connsiteY963" fmla="*/ 1379228 h 1608169"/>
                <a:gd name="connsiteX964" fmla="*/ 1343967 w 4042302"/>
                <a:gd name="connsiteY964" fmla="*/ 1379228 h 1608169"/>
                <a:gd name="connsiteX965" fmla="*/ 1343967 w 4042302"/>
                <a:gd name="connsiteY965" fmla="*/ 1384428 h 1608169"/>
                <a:gd name="connsiteX966" fmla="*/ 1342826 w 4042302"/>
                <a:gd name="connsiteY966" fmla="*/ 1383667 h 1608169"/>
                <a:gd name="connsiteX967" fmla="*/ 1344221 w 4042302"/>
                <a:gd name="connsiteY967" fmla="*/ 1383667 h 1608169"/>
                <a:gd name="connsiteX968" fmla="*/ 1379609 w 4042302"/>
                <a:gd name="connsiteY968" fmla="*/ 1383667 h 1608169"/>
                <a:gd name="connsiteX969" fmla="*/ 1384936 w 4042302"/>
                <a:gd name="connsiteY969" fmla="*/ 1383667 h 1608169"/>
                <a:gd name="connsiteX970" fmla="*/ 1387726 w 4042302"/>
                <a:gd name="connsiteY970" fmla="*/ 1383667 h 1608169"/>
                <a:gd name="connsiteX971" fmla="*/ 1395590 w 4042302"/>
                <a:gd name="connsiteY971" fmla="*/ 1383667 h 1608169"/>
                <a:gd name="connsiteX972" fmla="*/ 1395590 w 4042302"/>
                <a:gd name="connsiteY972" fmla="*/ 1388868 h 1608169"/>
                <a:gd name="connsiteX973" fmla="*/ 1394449 w 4042302"/>
                <a:gd name="connsiteY973" fmla="*/ 1388107 h 1608169"/>
                <a:gd name="connsiteX974" fmla="*/ 1399649 w 4042302"/>
                <a:gd name="connsiteY974" fmla="*/ 1388107 h 1608169"/>
                <a:gd name="connsiteX975" fmla="*/ 1399649 w 4042302"/>
                <a:gd name="connsiteY975" fmla="*/ 1397873 h 1608169"/>
                <a:gd name="connsiteX976" fmla="*/ 1398634 w 4042302"/>
                <a:gd name="connsiteY976" fmla="*/ 1397112 h 1608169"/>
                <a:gd name="connsiteX977" fmla="*/ 1402693 w 4042302"/>
                <a:gd name="connsiteY977" fmla="*/ 1397112 h 1608169"/>
                <a:gd name="connsiteX978" fmla="*/ 1409162 w 4042302"/>
                <a:gd name="connsiteY978" fmla="*/ 1397112 h 1608169"/>
                <a:gd name="connsiteX979" fmla="*/ 1409162 w 4042302"/>
                <a:gd name="connsiteY979" fmla="*/ 1402566 h 1608169"/>
                <a:gd name="connsiteX980" fmla="*/ 1408020 w 4042302"/>
                <a:gd name="connsiteY980" fmla="*/ 1401678 h 1608169"/>
                <a:gd name="connsiteX981" fmla="*/ 1416138 w 4042302"/>
                <a:gd name="connsiteY981" fmla="*/ 1401678 h 1608169"/>
                <a:gd name="connsiteX982" fmla="*/ 1418928 w 4042302"/>
                <a:gd name="connsiteY982" fmla="*/ 1401678 h 1608169"/>
                <a:gd name="connsiteX983" fmla="*/ 1421465 w 4042302"/>
                <a:gd name="connsiteY983" fmla="*/ 1401678 h 1608169"/>
                <a:gd name="connsiteX984" fmla="*/ 1421465 w 4042302"/>
                <a:gd name="connsiteY984" fmla="*/ 1407132 h 1608169"/>
                <a:gd name="connsiteX985" fmla="*/ 1420323 w 4042302"/>
                <a:gd name="connsiteY985" fmla="*/ 1406371 h 1608169"/>
                <a:gd name="connsiteX986" fmla="*/ 1425524 w 4042302"/>
                <a:gd name="connsiteY986" fmla="*/ 1406371 h 1608169"/>
                <a:gd name="connsiteX987" fmla="*/ 1425524 w 4042302"/>
                <a:gd name="connsiteY987" fmla="*/ 1411698 h 1608169"/>
                <a:gd name="connsiteX988" fmla="*/ 1424382 w 4042302"/>
                <a:gd name="connsiteY988" fmla="*/ 1410937 h 1608169"/>
                <a:gd name="connsiteX989" fmla="*/ 1426919 w 4042302"/>
                <a:gd name="connsiteY989" fmla="*/ 1410937 h 1608169"/>
                <a:gd name="connsiteX990" fmla="*/ 1426919 w 4042302"/>
                <a:gd name="connsiteY990" fmla="*/ 1416391 h 1608169"/>
                <a:gd name="connsiteX991" fmla="*/ 1425777 w 4042302"/>
                <a:gd name="connsiteY991" fmla="*/ 1415503 h 1608169"/>
                <a:gd name="connsiteX992" fmla="*/ 1442012 w 4042302"/>
                <a:gd name="connsiteY992" fmla="*/ 1415503 h 1608169"/>
                <a:gd name="connsiteX993" fmla="*/ 1446198 w 4042302"/>
                <a:gd name="connsiteY993" fmla="*/ 1415503 h 1608169"/>
                <a:gd name="connsiteX994" fmla="*/ 1452667 w 4042302"/>
                <a:gd name="connsiteY994" fmla="*/ 1415503 h 1608169"/>
                <a:gd name="connsiteX995" fmla="*/ 1452667 w 4042302"/>
                <a:gd name="connsiteY995" fmla="*/ 1421084 h 1608169"/>
                <a:gd name="connsiteX996" fmla="*/ 1451525 w 4042302"/>
                <a:gd name="connsiteY996" fmla="*/ 1420323 h 1608169"/>
                <a:gd name="connsiteX997" fmla="*/ 1459770 w 4042302"/>
                <a:gd name="connsiteY997" fmla="*/ 1420323 h 1608169"/>
                <a:gd name="connsiteX998" fmla="*/ 1475751 w 4042302"/>
                <a:gd name="connsiteY998" fmla="*/ 1420323 h 1608169"/>
                <a:gd name="connsiteX999" fmla="*/ 1475751 w 4042302"/>
                <a:gd name="connsiteY999" fmla="*/ 1425777 h 1608169"/>
                <a:gd name="connsiteX1000" fmla="*/ 1474610 w 4042302"/>
                <a:gd name="connsiteY1000" fmla="*/ 1425016 h 1608169"/>
                <a:gd name="connsiteX1001" fmla="*/ 1476005 w 4042302"/>
                <a:gd name="connsiteY1001" fmla="*/ 1425016 h 1608169"/>
                <a:gd name="connsiteX1002" fmla="*/ 1486659 w 4042302"/>
                <a:gd name="connsiteY1002" fmla="*/ 1425016 h 1608169"/>
                <a:gd name="connsiteX1003" fmla="*/ 1486659 w 4042302"/>
                <a:gd name="connsiteY1003" fmla="*/ 1430470 h 1608169"/>
                <a:gd name="connsiteX1004" fmla="*/ 1485644 w 4042302"/>
                <a:gd name="connsiteY1004" fmla="*/ 1429709 h 1608169"/>
                <a:gd name="connsiteX1005" fmla="*/ 1488308 w 4042302"/>
                <a:gd name="connsiteY1005" fmla="*/ 1429709 h 1608169"/>
                <a:gd name="connsiteX1006" fmla="*/ 1494777 w 4042302"/>
                <a:gd name="connsiteY1006" fmla="*/ 1429709 h 1608169"/>
                <a:gd name="connsiteX1007" fmla="*/ 1494777 w 4042302"/>
                <a:gd name="connsiteY1007" fmla="*/ 1435417 h 1608169"/>
                <a:gd name="connsiteX1008" fmla="*/ 1493762 w 4042302"/>
                <a:gd name="connsiteY1008" fmla="*/ 1434656 h 1608169"/>
                <a:gd name="connsiteX1009" fmla="*/ 1509870 w 4042302"/>
                <a:gd name="connsiteY1009" fmla="*/ 1434656 h 1608169"/>
                <a:gd name="connsiteX1010" fmla="*/ 1509870 w 4042302"/>
                <a:gd name="connsiteY1010" fmla="*/ 1440237 h 1608169"/>
                <a:gd name="connsiteX1011" fmla="*/ 1508729 w 4042302"/>
                <a:gd name="connsiteY1011" fmla="*/ 1439349 h 1608169"/>
                <a:gd name="connsiteX1012" fmla="*/ 1512407 w 4042302"/>
                <a:gd name="connsiteY1012" fmla="*/ 1439349 h 1608169"/>
                <a:gd name="connsiteX1013" fmla="*/ 1512407 w 4042302"/>
                <a:gd name="connsiteY1013" fmla="*/ 1444930 h 1608169"/>
                <a:gd name="connsiteX1014" fmla="*/ 1511392 w 4042302"/>
                <a:gd name="connsiteY1014" fmla="*/ 1444169 h 1608169"/>
                <a:gd name="connsiteX1015" fmla="*/ 1515451 w 4042302"/>
                <a:gd name="connsiteY1015" fmla="*/ 1444169 h 1608169"/>
                <a:gd name="connsiteX1016" fmla="*/ 1531813 w 4042302"/>
                <a:gd name="connsiteY1016" fmla="*/ 1444169 h 1608169"/>
                <a:gd name="connsiteX1017" fmla="*/ 1549190 w 4042302"/>
                <a:gd name="connsiteY1017" fmla="*/ 1444169 h 1608169"/>
                <a:gd name="connsiteX1018" fmla="*/ 1549190 w 4042302"/>
                <a:gd name="connsiteY1018" fmla="*/ 1449876 h 1608169"/>
                <a:gd name="connsiteX1019" fmla="*/ 1548048 w 4042302"/>
                <a:gd name="connsiteY1019" fmla="*/ 1448988 h 1608169"/>
                <a:gd name="connsiteX1020" fmla="*/ 1563015 w 4042302"/>
                <a:gd name="connsiteY1020" fmla="*/ 1448988 h 1608169"/>
                <a:gd name="connsiteX1021" fmla="*/ 1565806 w 4042302"/>
                <a:gd name="connsiteY1021" fmla="*/ 1448988 h 1608169"/>
                <a:gd name="connsiteX1022" fmla="*/ 1579123 w 4042302"/>
                <a:gd name="connsiteY1022" fmla="*/ 1448988 h 1608169"/>
                <a:gd name="connsiteX1023" fmla="*/ 1579123 w 4042302"/>
                <a:gd name="connsiteY1023" fmla="*/ 1454823 h 1608169"/>
                <a:gd name="connsiteX1024" fmla="*/ 1577982 w 4042302"/>
                <a:gd name="connsiteY1024" fmla="*/ 1454062 h 1608169"/>
                <a:gd name="connsiteX1025" fmla="*/ 1594344 w 4042302"/>
                <a:gd name="connsiteY1025" fmla="*/ 1454062 h 1608169"/>
                <a:gd name="connsiteX1026" fmla="*/ 1616033 w 4042302"/>
                <a:gd name="connsiteY1026" fmla="*/ 1454062 h 1608169"/>
                <a:gd name="connsiteX1027" fmla="*/ 1625292 w 4042302"/>
                <a:gd name="connsiteY1027" fmla="*/ 1454062 h 1608169"/>
                <a:gd name="connsiteX1028" fmla="*/ 1625292 w 4042302"/>
                <a:gd name="connsiteY1028" fmla="*/ 1459769 h 1608169"/>
                <a:gd name="connsiteX1029" fmla="*/ 1624277 w 4042302"/>
                <a:gd name="connsiteY1029" fmla="*/ 1459008 h 1608169"/>
                <a:gd name="connsiteX1030" fmla="*/ 1628209 w 4042302"/>
                <a:gd name="connsiteY1030" fmla="*/ 1459008 h 1608169"/>
                <a:gd name="connsiteX1031" fmla="*/ 1664739 w 4042302"/>
                <a:gd name="connsiteY1031" fmla="*/ 1459008 h 1608169"/>
                <a:gd name="connsiteX1032" fmla="*/ 1664739 w 4042302"/>
                <a:gd name="connsiteY1032" fmla="*/ 1464970 h 1608169"/>
                <a:gd name="connsiteX1033" fmla="*/ 1663597 w 4042302"/>
                <a:gd name="connsiteY1033" fmla="*/ 1464082 h 1608169"/>
                <a:gd name="connsiteX1034" fmla="*/ 1666388 w 4042302"/>
                <a:gd name="connsiteY1034" fmla="*/ 1464082 h 1608169"/>
                <a:gd name="connsiteX1035" fmla="*/ 1679705 w 4042302"/>
                <a:gd name="connsiteY1035" fmla="*/ 1464082 h 1608169"/>
                <a:gd name="connsiteX1036" fmla="*/ 1679705 w 4042302"/>
                <a:gd name="connsiteY1036" fmla="*/ 1470043 h 1608169"/>
                <a:gd name="connsiteX1037" fmla="*/ 1678564 w 4042302"/>
                <a:gd name="connsiteY1037" fmla="*/ 1469282 h 1608169"/>
                <a:gd name="connsiteX1038" fmla="*/ 1681101 w 4042302"/>
                <a:gd name="connsiteY1038" fmla="*/ 1469282 h 1608169"/>
                <a:gd name="connsiteX1039" fmla="*/ 1681101 w 4042302"/>
                <a:gd name="connsiteY1039" fmla="*/ 1475244 h 1608169"/>
                <a:gd name="connsiteX1040" fmla="*/ 1679959 w 4042302"/>
                <a:gd name="connsiteY1040" fmla="*/ 1474483 h 1608169"/>
                <a:gd name="connsiteX1041" fmla="*/ 1689218 w 4042302"/>
                <a:gd name="connsiteY1041" fmla="*/ 1474483 h 1608169"/>
                <a:gd name="connsiteX1042" fmla="*/ 1689218 w 4042302"/>
                <a:gd name="connsiteY1042" fmla="*/ 1480444 h 1608169"/>
                <a:gd name="connsiteX1043" fmla="*/ 1688077 w 4042302"/>
                <a:gd name="connsiteY1043" fmla="*/ 1479556 h 1608169"/>
                <a:gd name="connsiteX1044" fmla="*/ 1696067 w 4042302"/>
                <a:gd name="connsiteY1044" fmla="*/ 1479556 h 1608169"/>
                <a:gd name="connsiteX1045" fmla="*/ 1696067 w 4042302"/>
                <a:gd name="connsiteY1045" fmla="*/ 1485644 h 1608169"/>
                <a:gd name="connsiteX1046" fmla="*/ 1694926 w 4042302"/>
                <a:gd name="connsiteY1046" fmla="*/ 1484756 h 1608169"/>
                <a:gd name="connsiteX1047" fmla="*/ 1697336 w 4042302"/>
                <a:gd name="connsiteY1047" fmla="*/ 1484756 h 1608169"/>
                <a:gd name="connsiteX1048" fmla="*/ 1697336 w 4042302"/>
                <a:gd name="connsiteY1048" fmla="*/ 1490718 h 1608169"/>
                <a:gd name="connsiteX1049" fmla="*/ 1696321 w 4042302"/>
                <a:gd name="connsiteY1049" fmla="*/ 1489957 h 1608169"/>
                <a:gd name="connsiteX1050" fmla="*/ 1704439 w 4042302"/>
                <a:gd name="connsiteY1050" fmla="*/ 1489957 h 1608169"/>
                <a:gd name="connsiteX1051" fmla="*/ 1705834 w 4042302"/>
                <a:gd name="connsiteY1051" fmla="*/ 1489957 h 1608169"/>
                <a:gd name="connsiteX1052" fmla="*/ 1707102 w 4042302"/>
                <a:gd name="connsiteY1052" fmla="*/ 1489957 h 1608169"/>
                <a:gd name="connsiteX1053" fmla="*/ 1716361 w 4042302"/>
                <a:gd name="connsiteY1053" fmla="*/ 1489957 h 1608169"/>
                <a:gd name="connsiteX1054" fmla="*/ 1716361 w 4042302"/>
                <a:gd name="connsiteY1054" fmla="*/ 1496045 h 1608169"/>
                <a:gd name="connsiteX1055" fmla="*/ 1715347 w 4042302"/>
                <a:gd name="connsiteY1055" fmla="*/ 1495284 h 1608169"/>
                <a:gd name="connsiteX1056" fmla="*/ 1727523 w 4042302"/>
                <a:gd name="connsiteY1056" fmla="*/ 1495284 h 1608169"/>
                <a:gd name="connsiteX1057" fmla="*/ 1737036 w 4042302"/>
                <a:gd name="connsiteY1057" fmla="*/ 1495284 h 1608169"/>
                <a:gd name="connsiteX1058" fmla="*/ 1739826 w 4042302"/>
                <a:gd name="connsiteY1058" fmla="*/ 1495284 h 1608169"/>
                <a:gd name="connsiteX1059" fmla="*/ 1742236 w 4042302"/>
                <a:gd name="connsiteY1059" fmla="*/ 1495284 h 1608169"/>
                <a:gd name="connsiteX1060" fmla="*/ 1742236 w 4042302"/>
                <a:gd name="connsiteY1060" fmla="*/ 1501499 h 1608169"/>
                <a:gd name="connsiteX1061" fmla="*/ 1741095 w 4042302"/>
                <a:gd name="connsiteY1061" fmla="*/ 1500738 h 1608169"/>
                <a:gd name="connsiteX1062" fmla="*/ 1754413 w 4042302"/>
                <a:gd name="connsiteY1062" fmla="*/ 1500738 h 1608169"/>
                <a:gd name="connsiteX1063" fmla="*/ 1754413 w 4042302"/>
                <a:gd name="connsiteY1063" fmla="*/ 1506953 h 1608169"/>
                <a:gd name="connsiteX1064" fmla="*/ 1753398 w 4042302"/>
                <a:gd name="connsiteY1064" fmla="*/ 1506192 h 1608169"/>
                <a:gd name="connsiteX1065" fmla="*/ 1762657 w 4042302"/>
                <a:gd name="connsiteY1065" fmla="*/ 1506192 h 1608169"/>
                <a:gd name="connsiteX1066" fmla="*/ 1762657 w 4042302"/>
                <a:gd name="connsiteY1066" fmla="*/ 1512534 h 1608169"/>
                <a:gd name="connsiteX1067" fmla="*/ 1761515 w 4042302"/>
                <a:gd name="connsiteY1067" fmla="*/ 1511646 h 1608169"/>
                <a:gd name="connsiteX1068" fmla="*/ 1769379 w 4042302"/>
                <a:gd name="connsiteY1068" fmla="*/ 1511646 h 1608169"/>
                <a:gd name="connsiteX1069" fmla="*/ 1769379 w 4042302"/>
                <a:gd name="connsiteY1069" fmla="*/ 1523442 h 1608169"/>
                <a:gd name="connsiteX1070" fmla="*/ 1768238 w 4042302"/>
                <a:gd name="connsiteY1070" fmla="*/ 1522681 h 1608169"/>
                <a:gd name="connsiteX1071" fmla="*/ 1769633 w 4042302"/>
                <a:gd name="connsiteY1071" fmla="*/ 1522681 h 1608169"/>
                <a:gd name="connsiteX1072" fmla="*/ 1783205 w 4042302"/>
                <a:gd name="connsiteY1072" fmla="*/ 1522681 h 1608169"/>
                <a:gd name="connsiteX1073" fmla="*/ 1817197 w 4042302"/>
                <a:gd name="connsiteY1073" fmla="*/ 1522681 h 1608169"/>
                <a:gd name="connsiteX1074" fmla="*/ 1837618 w 4042302"/>
                <a:gd name="connsiteY1074" fmla="*/ 1522681 h 1608169"/>
                <a:gd name="connsiteX1075" fmla="*/ 1853599 w 4042302"/>
                <a:gd name="connsiteY1075" fmla="*/ 1522681 h 1608169"/>
                <a:gd name="connsiteX1076" fmla="*/ 1853599 w 4042302"/>
                <a:gd name="connsiteY1076" fmla="*/ 1529276 h 1608169"/>
                <a:gd name="connsiteX1077" fmla="*/ 1852584 w 4042302"/>
                <a:gd name="connsiteY1077" fmla="*/ 1528388 h 1608169"/>
                <a:gd name="connsiteX1078" fmla="*/ 1877064 w 4042302"/>
                <a:gd name="connsiteY1078" fmla="*/ 1528388 h 1608169"/>
                <a:gd name="connsiteX1079" fmla="*/ 1881123 w 4042302"/>
                <a:gd name="connsiteY1079" fmla="*/ 1528388 h 1608169"/>
                <a:gd name="connsiteX1080" fmla="*/ 1905603 w 4042302"/>
                <a:gd name="connsiteY1080" fmla="*/ 1528388 h 1608169"/>
                <a:gd name="connsiteX1081" fmla="*/ 1912071 w 4042302"/>
                <a:gd name="connsiteY1081" fmla="*/ 1528388 h 1608169"/>
                <a:gd name="connsiteX1082" fmla="*/ 1912071 w 4042302"/>
                <a:gd name="connsiteY1082" fmla="*/ 1535111 h 1608169"/>
                <a:gd name="connsiteX1083" fmla="*/ 1911056 w 4042302"/>
                <a:gd name="connsiteY1083" fmla="*/ 1534350 h 1608169"/>
                <a:gd name="connsiteX1084" fmla="*/ 1915115 w 4042302"/>
                <a:gd name="connsiteY1084" fmla="*/ 1534350 h 1608169"/>
                <a:gd name="connsiteX1085" fmla="*/ 1933887 w 4042302"/>
                <a:gd name="connsiteY1085" fmla="*/ 1534350 h 1608169"/>
                <a:gd name="connsiteX1086" fmla="*/ 1933887 w 4042302"/>
                <a:gd name="connsiteY1086" fmla="*/ 1541072 h 1608169"/>
                <a:gd name="connsiteX1087" fmla="*/ 1932746 w 4042302"/>
                <a:gd name="connsiteY1087" fmla="*/ 1540311 h 1608169"/>
                <a:gd name="connsiteX1088" fmla="*/ 1942385 w 4042302"/>
                <a:gd name="connsiteY1088" fmla="*/ 1540311 h 1608169"/>
                <a:gd name="connsiteX1089" fmla="*/ 1998067 w 4042302"/>
                <a:gd name="connsiteY1089" fmla="*/ 1540311 h 1608169"/>
                <a:gd name="connsiteX1090" fmla="*/ 2010243 w 4042302"/>
                <a:gd name="connsiteY1090" fmla="*/ 1540311 h 1608169"/>
                <a:gd name="connsiteX1091" fmla="*/ 2023815 w 4042302"/>
                <a:gd name="connsiteY1091" fmla="*/ 1540311 h 1608169"/>
                <a:gd name="connsiteX1092" fmla="*/ 2035991 w 4042302"/>
                <a:gd name="connsiteY1092" fmla="*/ 1540311 h 1608169"/>
                <a:gd name="connsiteX1093" fmla="*/ 2045631 w 4042302"/>
                <a:gd name="connsiteY1093" fmla="*/ 1540311 h 1608169"/>
                <a:gd name="connsiteX1094" fmla="*/ 2048294 w 4042302"/>
                <a:gd name="connsiteY1094" fmla="*/ 1540311 h 1608169"/>
                <a:gd name="connsiteX1095" fmla="*/ 2054890 w 4042302"/>
                <a:gd name="connsiteY1095" fmla="*/ 1540311 h 1608169"/>
                <a:gd name="connsiteX1096" fmla="*/ 2054890 w 4042302"/>
                <a:gd name="connsiteY1096" fmla="*/ 1547668 h 1608169"/>
                <a:gd name="connsiteX1097" fmla="*/ 2053748 w 4042302"/>
                <a:gd name="connsiteY1097" fmla="*/ 1546907 h 1608169"/>
                <a:gd name="connsiteX1098" fmla="*/ 2055144 w 4042302"/>
                <a:gd name="connsiteY1098" fmla="*/ 1546907 h 1608169"/>
                <a:gd name="connsiteX1099" fmla="*/ 2083555 w 4042302"/>
                <a:gd name="connsiteY1099" fmla="*/ 1546907 h 1608169"/>
                <a:gd name="connsiteX1100" fmla="*/ 2098522 w 4042302"/>
                <a:gd name="connsiteY1100" fmla="*/ 1546907 h 1608169"/>
                <a:gd name="connsiteX1101" fmla="*/ 2105371 w 4042302"/>
                <a:gd name="connsiteY1101" fmla="*/ 1546907 h 1608169"/>
                <a:gd name="connsiteX1102" fmla="*/ 2133910 w 4042302"/>
                <a:gd name="connsiteY1102" fmla="*/ 1546907 h 1608169"/>
                <a:gd name="connsiteX1103" fmla="*/ 2171961 w 4042302"/>
                <a:gd name="connsiteY1103" fmla="*/ 1546907 h 1608169"/>
                <a:gd name="connsiteX1104" fmla="*/ 2184264 w 4042302"/>
                <a:gd name="connsiteY1104" fmla="*/ 1546907 h 1608169"/>
                <a:gd name="connsiteX1105" fmla="*/ 2196440 w 4042302"/>
                <a:gd name="connsiteY1105" fmla="*/ 1546907 h 1608169"/>
                <a:gd name="connsiteX1106" fmla="*/ 2200499 w 4042302"/>
                <a:gd name="connsiteY1106" fmla="*/ 1546907 h 1608169"/>
                <a:gd name="connsiteX1107" fmla="*/ 2229038 w 4042302"/>
                <a:gd name="connsiteY1107" fmla="*/ 1546907 h 1608169"/>
                <a:gd name="connsiteX1108" fmla="*/ 2244004 w 4042302"/>
                <a:gd name="connsiteY1108" fmla="*/ 1546907 h 1608169"/>
                <a:gd name="connsiteX1109" fmla="*/ 2253517 w 4042302"/>
                <a:gd name="connsiteY1109" fmla="*/ 1546907 h 1608169"/>
                <a:gd name="connsiteX1110" fmla="*/ 2261381 w 4042302"/>
                <a:gd name="connsiteY1110" fmla="*/ 1546907 h 1608169"/>
                <a:gd name="connsiteX1111" fmla="*/ 2261381 w 4042302"/>
                <a:gd name="connsiteY1111" fmla="*/ 1555532 h 1608169"/>
                <a:gd name="connsiteX1112" fmla="*/ 2260366 w 4042302"/>
                <a:gd name="connsiteY1112" fmla="*/ 1554771 h 1608169"/>
                <a:gd name="connsiteX1113" fmla="*/ 2263030 w 4042302"/>
                <a:gd name="connsiteY1113" fmla="*/ 1554771 h 1608169"/>
                <a:gd name="connsiteX1114" fmla="*/ 2271021 w 4042302"/>
                <a:gd name="connsiteY1114" fmla="*/ 1554771 h 1608169"/>
                <a:gd name="connsiteX1115" fmla="*/ 2271021 w 4042302"/>
                <a:gd name="connsiteY1115" fmla="*/ 1563522 h 1608169"/>
                <a:gd name="connsiteX1116" fmla="*/ 2269879 w 4042302"/>
                <a:gd name="connsiteY1116" fmla="*/ 1562634 h 1608169"/>
                <a:gd name="connsiteX1117" fmla="*/ 2291695 w 4042302"/>
                <a:gd name="connsiteY1117" fmla="*/ 1562634 h 1608169"/>
                <a:gd name="connsiteX1118" fmla="*/ 2292963 w 4042302"/>
                <a:gd name="connsiteY1118" fmla="*/ 1562634 h 1608169"/>
                <a:gd name="connsiteX1119" fmla="*/ 2299432 w 4042302"/>
                <a:gd name="connsiteY1119" fmla="*/ 1562634 h 1608169"/>
                <a:gd name="connsiteX1120" fmla="*/ 2299432 w 4042302"/>
                <a:gd name="connsiteY1120" fmla="*/ 1571767 h 1608169"/>
                <a:gd name="connsiteX1121" fmla="*/ 2298418 w 4042302"/>
                <a:gd name="connsiteY1121" fmla="*/ 1571006 h 1608169"/>
                <a:gd name="connsiteX1122" fmla="*/ 2310594 w 4042302"/>
                <a:gd name="connsiteY1122" fmla="*/ 1571006 h 1608169"/>
                <a:gd name="connsiteX1123" fmla="*/ 2342937 w 4042302"/>
                <a:gd name="connsiteY1123" fmla="*/ 1571006 h 1608169"/>
                <a:gd name="connsiteX1124" fmla="*/ 2342937 w 4042302"/>
                <a:gd name="connsiteY1124" fmla="*/ 1580265 h 1608169"/>
                <a:gd name="connsiteX1125" fmla="*/ 2341923 w 4042302"/>
                <a:gd name="connsiteY1125" fmla="*/ 1579504 h 1608169"/>
                <a:gd name="connsiteX1126" fmla="*/ 2350040 w 4042302"/>
                <a:gd name="connsiteY1126" fmla="*/ 1579504 h 1608169"/>
                <a:gd name="connsiteX1127" fmla="*/ 2365007 w 4042302"/>
                <a:gd name="connsiteY1127" fmla="*/ 1579504 h 1608169"/>
                <a:gd name="connsiteX1128" fmla="*/ 2420435 w 4042302"/>
                <a:gd name="connsiteY1128" fmla="*/ 1579504 h 1608169"/>
                <a:gd name="connsiteX1129" fmla="*/ 2420435 w 4042302"/>
                <a:gd name="connsiteY1129" fmla="*/ 1589017 h 1608169"/>
                <a:gd name="connsiteX1130" fmla="*/ 2419420 w 4042302"/>
                <a:gd name="connsiteY1130" fmla="*/ 1588256 h 1608169"/>
                <a:gd name="connsiteX1131" fmla="*/ 2441109 w 4042302"/>
                <a:gd name="connsiteY1131" fmla="*/ 1588256 h 1608169"/>
                <a:gd name="connsiteX1132" fmla="*/ 2464194 w 4042302"/>
                <a:gd name="connsiteY1132" fmla="*/ 1588256 h 1608169"/>
                <a:gd name="connsiteX1133" fmla="*/ 2482966 w 4042302"/>
                <a:gd name="connsiteY1133" fmla="*/ 1588256 h 1608169"/>
                <a:gd name="connsiteX1134" fmla="*/ 2482966 w 4042302"/>
                <a:gd name="connsiteY1134" fmla="*/ 1598149 h 1608169"/>
                <a:gd name="connsiteX1135" fmla="*/ 2481824 w 4042302"/>
                <a:gd name="connsiteY1135" fmla="*/ 1597388 h 1608169"/>
                <a:gd name="connsiteX1136" fmla="*/ 2518353 w 4042302"/>
                <a:gd name="connsiteY1136" fmla="*/ 1597388 h 1608169"/>
                <a:gd name="connsiteX1137" fmla="*/ 2518353 w 4042302"/>
                <a:gd name="connsiteY1137" fmla="*/ 1607281 h 1608169"/>
                <a:gd name="connsiteX1138" fmla="*/ 2517212 w 4042302"/>
                <a:gd name="connsiteY1138" fmla="*/ 1606520 h 1608169"/>
                <a:gd name="connsiteX1139" fmla="*/ 2605617 w 4042302"/>
                <a:gd name="connsiteY1139" fmla="*/ 1606520 h 1608169"/>
                <a:gd name="connsiteX1140" fmla="*/ 2607012 w 4042302"/>
                <a:gd name="connsiteY1140" fmla="*/ 1606520 h 1608169"/>
                <a:gd name="connsiteX1141" fmla="*/ 2627306 w 4042302"/>
                <a:gd name="connsiteY1141" fmla="*/ 1606520 h 1608169"/>
                <a:gd name="connsiteX1142" fmla="*/ 2659904 w 4042302"/>
                <a:gd name="connsiteY1142" fmla="*/ 1606520 h 1608169"/>
                <a:gd name="connsiteX1143" fmla="*/ 2713048 w 4042302"/>
                <a:gd name="connsiteY1143" fmla="*/ 1606520 h 1608169"/>
                <a:gd name="connsiteX1144" fmla="*/ 2716980 w 4042302"/>
                <a:gd name="connsiteY1144" fmla="*/ 1606520 h 1608169"/>
                <a:gd name="connsiteX1145" fmla="*/ 2718376 w 4042302"/>
                <a:gd name="connsiteY1145" fmla="*/ 1606520 h 1608169"/>
                <a:gd name="connsiteX1146" fmla="*/ 2722561 w 4042302"/>
                <a:gd name="connsiteY1146" fmla="*/ 1606520 h 1608169"/>
                <a:gd name="connsiteX1147" fmla="*/ 2823016 w 4042302"/>
                <a:gd name="connsiteY1147" fmla="*/ 1606520 h 1608169"/>
                <a:gd name="connsiteX1148" fmla="*/ 2829865 w 4042302"/>
                <a:gd name="connsiteY1148" fmla="*/ 1606520 h 1608169"/>
                <a:gd name="connsiteX1149" fmla="*/ 2831261 w 4042302"/>
                <a:gd name="connsiteY1149" fmla="*/ 1606520 h 1608169"/>
                <a:gd name="connsiteX1150" fmla="*/ 2867917 w 4042302"/>
                <a:gd name="connsiteY1150" fmla="*/ 1606520 h 1608169"/>
                <a:gd name="connsiteX1151" fmla="*/ 2897850 w 4042302"/>
                <a:gd name="connsiteY1151" fmla="*/ 1606520 h 1608169"/>
                <a:gd name="connsiteX1152" fmla="*/ 2931842 w 4042302"/>
                <a:gd name="connsiteY1152" fmla="*/ 1606520 h 1608169"/>
                <a:gd name="connsiteX1153" fmla="*/ 2941355 w 4042302"/>
                <a:gd name="connsiteY1153" fmla="*/ 1606520 h 1608169"/>
                <a:gd name="connsiteX1154" fmla="*/ 2961649 w 4042302"/>
                <a:gd name="connsiteY1154" fmla="*/ 1606520 h 1608169"/>
                <a:gd name="connsiteX1155" fmla="*/ 3009213 w 4042302"/>
                <a:gd name="connsiteY1155" fmla="*/ 1606520 h 1608169"/>
                <a:gd name="connsiteX1156" fmla="*/ 3051450 w 4042302"/>
                <a:gd name="connsiteY1156" fmla="*/ 1606520 h 1608169"/>
                <a:gd name="connsiteX1157" fmla="*/ 3059568 w 4042302"/>
                <a:gd name="connsiteY1157" fmla="*/ 1606520 h 1608169"/>
                <a:gd name="connsiteX1158" fmla="*/ 3118039 w 4042302"/>
                <a:gd name="connsiteY1158" fmla="*/ 1606520 h 1608169"/>
                <a:gd name="connsiteX1159" fmla="*/ 3141124 w 4042302"/>
                <a:gd name="connsiteY1159" fmla="*/ 1606520 h 1608169"/>
                <a:gd name="connsiteX1160" fmla="*/ 3146578 w 4042302"/>
                <a:gd name="connsiteY1160" fmla="*/ 1606520 h 1608169"/>
                <a:gd name="connsiteX1161" fmla="*/ 3158881 w 4042302"/>
                <a:gd name="connsiteY1161" fmla="*/ 1606520 h 1608169"/>
                <a:gd name="connsiteX1162" fmla="*/ 3173721 w 4042302"/>
                <a:gd name="connsiteY1162" fmla="*/ 1606520 h 1608169"/>
                <a:gd name="connsiteX1163" fmla="*/ 3186024 w 4042302"/>
                <a:gd name="connsiteY1163" fmla="*/ 1606520 h 1608169"/>
                <a:gd name="connsiteX1164" fmla="*/ 3194142 w 4042302"/>
                <a:gd name="connsiteY1164" fmla="*/ 1606520 h 1608169"/>
                <a:gd name="connsiteX1165" fmla="*/ 3196806 w 4042302"/>
                <a:gd name="connsiteY1165" fmla="*/ 1606520 h 1608169"/>
                <a:gd name="connsiteX1166" fmla="*/ 3214563 w 4042302"/>
                <a:gd name="connsiteY1166" fmla="*/ 1606520 h 1608169"/>
                <a:gd name="connsiteX1167" fmla="*/ 3222680 w 4042302"/>
                <a:gd name="connsiteY1167" fmla="*/ 1606520 h 1608169"/>
                <a:gd name="connsiteX1168" fmla="*/ 3264790 w 4042302"/>
                <a:gd name="connsiteY1168" fmla="*/ 1606520 h 1608169"/>
                <a:gd name="connsiteX1169" fmla="*/ 3304237 w 4042302"/>
                <a:gd name="connsiteY1169" fmla="*/ 1606520 h 1608169"/>
                <a:gd name="connsiteX1170" fmla="*/ 3307027 w 4042302"/>
                <a:gd name="connsiteY1170" fmla="*/ 1606520 h 1608169"/>
                <a:gd name="connsiteX1171" fmla="*/ 3312354 w 4042302"/>
                <a:gd name="connsiteY1171" fmla="*/ 1606520 h 1608169"/>
                <a:gd name="connsiteX1172" fmla="*/ 3313750 w 4042302"/>
                <a:gd name="connsiteY1172" fmla="*/ 1606520 h 1608169"/>
                <a:gd name="connsiteX1173" fmla="*/ 3323262 w 4042302"/>
                <a:gd name="connsiteY1173" fmla="*/ 1606520 h 1608169"/>
                <a:gd name="connsiteX1174" fmla="*/ 3334170 w 4042302"/>
                <a:gd name="connsiteY1174" fmla="*/ 1606520 h 1608169"/>
                <a:gd name="connsiteX1175" fmla="*/ 3426635 w 4042302"/>
                <a:gd name="connsiteY1175" fmla="*/ 1606520 h 1608169"/>
                <a:gd name="connsiteX1176" fmla="*/ 3475467 w 4042302"/>
                <a:gd name="connsiteY1176" fmla="*/ 1606520 h 1608169"/>
                <a:gd name="connsiteX1177" fmla="*/ 3516309 w 4042302"/>
                <a:gd name="connsiteY1177" fmla="*/ 1606520 h 1608169"/>
                <a:gd name="connsiteX1178" fmla="*/ 3552964 w 4042302"/>
                <a:gd name="connsiteY1178" fmla="*/ 1606520 h 1608169"/>
                <a:gd name="connsiteX1179" fmla="*/ 3599260 w 4042302"/>
                <a:gd name="connsiteY1179" fmla="*/ 1606520 h 1608169"/>
                <a:gd name="connsiteX1180" fmla="*/ 3635916 w 4042302"/>
                <a:gd name="connsiteY1180" fmla="*/ 1606520 h 1608169"/>
                <a:gd name="connsiteX1181" fmla="*/ 3699715 w 4042302"/>
                <a:gd name="connsiteY1181" fmla="*/ 1606520 h 1608169"/>
                <a:gd name="connsiteX1182" fmla="*/ 3750069 w 4042302"/>
                <a:gd name="connsiteY1182" fmla="*/ 1606520 h 1608169"/>
                <a:gd name="connsiteX1183" fmla="*/ 3786852 w 4042302"/>
                <a:gd name="connsiteY1183" fmla="*/ 1606520 h 1608169"/>
                <a:gd name="connsiteX1184" fmla="*/ 3800424 w 4042302"/>
                <a:gd name="connsiteY1184" fmla="*/ 1606520 h 1608169"/>
                <a:gd name="connsiteX1185" fmla="*/ 3838348 w 4042302"/>
                <a:gd name="connsiteY1185" fmla="*/ 1606520 h 1608169"/>
                <a:gd name="connsiteX1186" fmla="*/ 3849383 w 4042302"/>
                <a:gd name="connsiteY1186" fmla="*/ 1606520 h 1608169"/>
                <a:gd name="connsiteX1187" fmla="*/ 3901006 w 4042302"/>
                <a:gd name="connsiteY1187" fmla="*/ 1606520 h 1608169"/>
                <a:gd name="connsiteX1188" fmla="*/ 3956687 w 4042302"/>
                <a:gd name="connsiteY1188" fmla="*/ 1606520 h 1608169"/>
                <a:gd name="connsiteX1189" fmla="*/ 4042303 w 4042302"/>
                <a:gd name="connsiteY1189" fmla="*/ 1606520 h 1608169"/>
                <a:gd name="connsiteX1190" fmla="*/ 4042303 w 4042302"/>
                <a:gd name="connsiteY1190" fmla="*/ 1608169 h 1608169"/>
                <a:gd name="connsiteX1191" fmla="*/ 3956687 w 4042302"/>
                <a:gd name="connsiteY1191" fmla="*/ 1608169 h 1608169"/>
                <a:gd name="connsiteX1192" fmla="*/ 3901006 w 4042302"/>
                <a:gd name="connsiteY1192" fmla="*/ 1608169 h 1608169"/>
                <a:gd name="connsiteX1193" fmla="*/ 3849383 w 4042302"/>
                <a:gd name="connsiteY1193" fmla="*/ 1608169 h 1608169"/>
                <a:gd name="connsiteX1194" fmla="*/ 3838348 w 4042302"/>
                <a:gd name="connsiteY1194" fmla="*/ 1608169 h 1608169"/>
                <a:gd name="connsiteX1195" fmla="*/ 3800424 w 4042302"/>
                <a:gd name="connsiteY1195" fmla="*/ 1608169 h 1608169"/>
                <a:gd name="connsiteX1196" fmla="*/ 3786852 w 4042302"/>
                <a:gd name="connsiteY1196" fmla="*/ 1608169 h 1608169"/>
                <a:gd name="connsiteX1197" fmla="*/ 3750069 w 4042302"/>
                <a:gd name="connsiteY1197" fmla="*/ 1608169 h 1608169"/>
                <a:gd name="connsiteX1198" fmla="*/ 3699715 w 4042302"/>
                <a:gd name="connsiteY1198" fmla="*/ 1608169 h 1608169"/>
                <a:gd name="connsiteX1199" fmla="*/ 3635916 w 4042302"/>
                <a:gd name="connsiteY1199" fmla="*/ 1608169 h 1608169"/>
                <a:gd name="connsiteX1200" fmla="*/ 3599260 w 4042302"/>
                <a:gd name="connsiteY1200" fmla="*/ 1608169 h 1608169"/>
                <a:gd name="connsiteX1201" fmla="*/ 3552964 w 4042302"/>
                <a:gd name="connsiteY1201" fmla="*/ 1608169 h 1608169"/>
                <a:gd name="connsiteX1202" fmla="*/ 3516309 w 4042302"/>
                <a:gd name="connsiteY1202" fmla="*/ 1608169 h 1608169"/>
                <a:gd name="connsiteX1203" fmla="*/ 3475467 w 4042302"/>
                <a:gd name="connsiteY1203" fmla="*/ 1608169 h 1608169"/>
                <a:gd name="connsiteX1204" fmla="*/ 3426635 w 4042302"/>
                <a:gd name="connsiteY1204" fmla="*/ 1608169 h 1608169"/>
                <a:gd name="connsiteX1205" fmla="*/ 3334170 w 4042302"/>
                <a:gd name="connsiteY1205" fmla="*/ 1608169 h 1608169"/>
                <a:gd name="connsiteX1206" fmla="*/ 3323262 w 4042302"/>
                <a:gd name="connsiteY1206" fmla="*/ 1608169 h 1608169"/>
                <a:gd name="connsiteX1207" fmla="*/ 3313750 w 4042302"/>
                <a:gd name="connsiteY1207" fmla="*/ 1608169 h 1608169"/>
                <a:gd name="connsiteX1208" fmla="*/ 3312354 w 4042302"/>
                <a:gd name="connsiteY1208" fmla="*/ 1608169 h 1608169"/>
                <a:gd name="connsiteX1209" fmla="*/ 3307027 w 4042302"/>
                <a:gd name="connsiteY1209" fmla="*/ 1608169 h 1608169"/>
                <a:gd name="connsiteX1210" fmla="*/ 3304237 w 4042302"/>
                <a:gd name="connsiteY1210" fmla="*/ 1608169 h 1608169"/>
                <a:gd name="connsiteX1211" fmla="*/ 3264790 w 4042302"/>
                <a:gd name="connsiteY1211" fmla="*/ 1608169 h 1608169"/>
                <a:gd name="connsiteX1212" fmla="*/ 3222680 w 4042302"/>
                <a:gd name="connsiteY1212" fmla="*/ 1608169 h 1608169"/>
                <a:gd name="connsiteX1213" fmla="*/ 3214563 w 4042302"/>
                <a:gd name="connsiteY1213" fmla="*/ 1608169 h 1608169"/>
                <a:gd name="connsiteX1214" fmla="*/ 3196806 w 4042302"/>
                <a:gd name="connsiteY1214" fmla="*/ 1608169 h 1608169"/>
                <a:gd name="connsiteX1215" fmla="*/ 3194142 w 4042302"/>
                <a:gd name="connsiteY1215" fmla="*/ 1608169 h 1608169"/>
                <a:gd name="connsiteX1216" fmla="*/ 3186024 w 4042302"/>
                <a:gd name="connsiteY1216" fmla="*/ 1608169 h 1608169"/>
                <a:gd name="connsiteX1217" fmla="*/ 3173721 w 4042302"/>
                <a:gd name="connsiteY1217" fmla="*/ 1608169 h 1608169"/>
                <a:gd name="connsiteX1218" fmla="*/ 3158881 w 4042302"/>
                <a:gd name="connsiteY1218" fmla="*/ 1608169 h 1608169"/>
                <a:gd name="connsiteX1219" fmla="*/ 3146578 w 4042302"/>
                <a:gd name="connsiteY1219" fmla="*/ 1608169 h 1608169"/>
                <a:gd name="connsiteX1220" fmla="*/ 3141124 w 4042302"/>
                <a:gd name="connsiteY1220" fmla="*/ 1608169 h 1608169"/>
                <a:gd name="connsiteX1221" fmla="*/ 3118039 w 4042302"/>
                <a:gd name="connsiteY1221" fmla="*/ 1608169 h 1608169"/>
                <a:gd name="connsiteX1222" fmla="*/ 3059568 w 4042302"/>
                <a:gd name="connsiteY1222" fmla="*/ 1608169 h 1608169"/>
                <a:gd name="connsiteX1223" fmla="*/ 3051450 w 4042302"/>
                <a:gd name="connsiteY1223" fmla="*/ 1608169 h 1608169"/>
                <a:gd name="connsiteX1224" fmla="*/ 3009213 w 4042302"/>
                <a:gd name="connsiteY1224" fmla="*/ 1608169 h 1608169"/>
                <a:gd name="connsiteX1225" fmla="*/ 2961649 w 4042302"/>
                <a:gd name="connsiteY1225" fmla="*/ 1608169 h 1608169"/>
                <a:gd name="connsiteX1226" fmla="*/ 2941355 w 4042302"/>
                <a:gd name="connsiteY1226" fmla="*/ 1608169 h 1608169"/>
                <a:gd name="connsiteX1227" fmla="*/ 2931842 w 4042302"/>
                <a:gd name="connsiteY1227" fmla="*/ 1608169 h 1608169"/>
                <a:gd name="connsiteX1228" fmla="*/ 2897850 w 4042302"/>
                <a:gd name="connsiteY1228" fmla="*/ 1608169 h 1608169"/>
                <a:gd name="connsiteX1229" fmla="*/ 2867917 w 4042302"/>
                <a:gd name="connsiteY1229" fmla="*/ 1608169 h 1608169"/>
                <a:gd name="connsiteX1230" fmla="*/ 2831261 w 4042302"/>
                <a:gd name="connsiteY1230" fmla="*/ 1608169 h 1608169"/>
                <a:gd name="connsiteX1231" fmla="*/ 2829865 w 4042302"/>
                <a:gd name="connsiteY1231" fmla="*/ 1608169 h 1608169"/>
                <a:gd name="connsiteX1232" fmla="*/ 2823016 w 4042302"/>
                <a:gd name="connsiteY1232" fmla="*/ 1608169 h 1608169"/>
                <a:gd name="connsiteX1233" fmla="*/ 2722561 w 4042302"/>
                <a:gd name="connsiteY1233" fmla="*/ 1608169 h 1608169"/>
                <a:gd name="connsiteX1234" fmla="*/ 2718376 w 4042302"/>
                <a:gd name="connsiteY1234" fmla="*/ 1608169 h 1608169"/>
                <a:gd name="connsiteX1235" fmla="*/ 2716980 w 4042302"/>
                <a:gd name="connsiteY1235" fmla="*/ 1608169 h 1608169"/>
                <a:gd name="connsiteX1236" fmla="*/ 2713048 w 4042302"/>
                <a:gd name="connsiteY1236" fmla="*/ 1608169 h 1608169"/>
                <a:gd name="connsiteX1237" fmla="*/ 2659904 w 4042302"/>
                <a:gd name="connsiteY1237" fmla="*/ 1608169 h 1608169"/>
                <a:gd name="connsiteX1238" fmla="*/ 2627306 w 4042302"/>
                <a:gd name="connsiteY1238" fmla="*/ 1608169 h 1608169"/>
                <a:gd name="connsiteX1239" fmla="*/ 2607012 w 4042302"/>
                <a:gd name="connsiteY1239" fmla="*/ 1608169 h 1608169"/>
                <a:gd name="connsiteX1240" fmla="*/ 2605617 w 4042302"/>
                <a:gd name="connsiteY1240" fmla="*/ 1608169 h 1608169"/>
                <a:gd name="connsiteX1241" fmla="*/ 2516070 w 4042302"/>
                <a:gd name="connsiteY1241" fmla="*/ 1608169 h 1608169"/>
                <a:gd name="connsiteX1242" fmla="*/ 2516070 w 4042302"/>
                <a:gd name="connsiteY1242" fmla="*/ 1598149 h 1608169"/>
                <a:gd name="connsiteX1243" fmla="*/ 2517212 w 4042302"/>
                <a:gd name="connsiteY1243" fmla="*/ 1599037 h 1608169"/>
                <a:gd name="connsiteX1244" fmla="*/ 2480809 w 4042302"/>
                <a:gd name="connsiteY1244" fmla="*/ 1599037 h 1608169"/>
                <a:gd name="connsiteX1245" fmla="*/ 2480809 w 4042302"/>
                <a:gd name="connsiteY1245" fmla="*/ 1589017 h 1608169"/>
                <a:gd name="connsiteX1246" fmla="*/ 2481824 w 4042302"/>
                <a:gd name="connsiteY1246" fmla="*/ 1589904 h 1608169"/>
                <a:gd name="connsiteX1247" fmla="*/ 2464194 w 4042302"/>
                <a:gd name="connsiteY1247" fmla="*/ 1589904 h 1608169"/>
                <a:gd name="connsiteX1248" fmla="*/ 2441109 w 4042302"/>
                <a:gd name="connsiteY1248" fmla="*/ 1589904 h 1608169"/>
                <a:gd name="connsiteX1249" fmla="*/ 2418279 w 4042302"/>
                <a:gd name="connsiteY1249" fmla="*/ 1589904 h 1608169"/>
                <a:gd name="connsiteX1250" fmla="*/ 2418279 w 4042302"/>
                <a:gd name="connsiteY1250" fmla="*/ 1580265 h 1608169"/>
                <a:gd name="connsiteX1251" fmla="*/ 2419420 w 4042302"/>
                <a:gd name="connsiteY1251" fmla="*/ 1581026 h 1608169"/>
                <a:gd name="connsiteX1252" fmla="*/ 2365007 w 4042302"/>
                <a:gd name="connsiteY1252" fmla="*/ 1581026 h 1608169"/>
                <a:gd name="connsiteX1253" fmla="*/ 2350040 w 4042302"/>
                <a:gd name="connsiteY1253" fmla="*/ 1581026 h 1608169"/>
                <a:gd name="connsiteX1254" fmla="*/ 2340781 w 4042302"/>
                <a:gd name="connsiteY1254" fmla="*/ 1581026 h 1608169"/>
                <a:gd name="connsiteX1255" fmla="*/ 2340781 w 4042302"/>
                <a:gd name="connsiteY1255" fmla="*/ 1571767 h 1608169"/>
                <a:gd name="connsiteX1256" fmla="*/ 2341923 w 4042302"/>
                <a:gd name="connsiteY1256" fmla="*/ 1572528 h 1608169"/>
                <a:gd name="connsiteX1257" fmla="*/ 2310594 w 4042302"/>
                <a:gd name="connsiteY1257" fmla="*/ 1572528 h 1608169"/>
                <a:gd name="connsiteX1258" fmla="*/ 2297276 w 4042302"/>
                <a:gd name="connsiteY1258" fmla="*/ 1572528 h 1608169"/>
                <a:gd name="connsiteX1259" fmla="*/ 2297276 w 4042302"/>
                <a:gd name="connsiteY1259" fmla="*/ 1563522 h 1608169"/>
                <a:gd name="connsiteX1260" fmla="*/ 2298418 w 4042302"/>
                <a:gd name="connsiteY1260" fmla="*/ 1564283 h 1608169"/>
                <a:gd name="connsiteX1261" fmla="*/ 2292963 w 4042302"/>
                <a:gd name="connsiteY1261" fmla="*/ 1564283 h 1608169"/>
                <a:gd name="connsiteX1262" fmla="*/ 2291695 w 4042302"/>
                <a:gd name="connsiteY1262" fmla="*/ 1564283 h 1608169"/>
                <a:gd name="connsiteX1263" fmla="*/ 2268864 w 4042302"/>
                <a:gd name="connsiteY1263" fmla="*/ 1564283 h 1608169"/>
                <a:gd name="connsiteX1264" fmla="*/ 2268864 w 4042302"/>
                <a:gd name="connsiteY1264" fmla="*/ 1555532 h 1608169"/>
                <a:gd name="connsiteX1265" fmla="*/ 2269879 w 4042302"/>
                <a:gd name="connsiteY1265" fmla="*/ 1556293 h 1608169"/>
                <a:gd name="connsiteX1266" fmla="*/ 2263030 w 4042302"/>
                <a:gd name="connsiteY1266" fmla="*/ 1556293 h 1608169"/>
                <a:gd name="connsiteX1267" fmla="*/ 2259225 w 4042302"/>
                <a:gd name="connsiteY1267" fmla="*/ 1556293 h 1608169"/>
                <a:gd name="connsiteX1268" fmla="*/ 2259225 w 4042302"/>
                <a:gd name="connsiteY1268" fmla="*/ 1547668 h 1608169"/>
                <a:gd name="connsiteX1269" fmla="*/ 2260366 w 4042302"/>
                <a:gd name="connsiteY1269" fmla="*/ 1548429 h 1608169"/>
                <a:gd name="connsiteX1270" fmla="*/ 2253517 w 4042302"/>
                <a:gd name="connsiteY1270" fmla="*/ 1548429 h 1608169"/>
                <a:gd name="connsiteX1271" fmla="*/ 2244004 w 4042302"/>
                <a:gd name="connsiteY1271" fmla="*/ 1548429 h 1608169"/>
                <a:gd name="connsiteX1272" fmla="*/ 2229038 w 4042302"/>
                <a:gd name="connsiteY1272" fmla="*/ 1548429 h 1608169"/>
                <a:gd name="connsiteX1273" fmla="*/ 2200499 w 4042302"/>
                <a:gd name="connsiteY1273" fmla="*/ 1548429 h 1608169"/>
                <a:gd name="connsiteX1274" fmla="*/ 2196440 w 4042302"/>
                <a:gd name="connsiteY1274" fmla="*/ 1548429 h 1608169"/>
                <a:gd name="connsiteX1275" fmla="*/ 2184264 w 4042302"/>
                <a:gd name="connsiteY1275" fmla="*/ 1548429 h 1608169"/>
                <a:gd name="connsiteX1276" fmla="*/ 2171961 w 4042302"/>
                <a:gd name="connsiteY1276" fmla="*/ 1548429 h 1608169"/>
                <a:gd name="connsiteX1277" fmla="*/ 2133910 w 4042302"/>
                <a:gd name="connsiteY1277" fmla="*/ 1548429 h 1608169"/>
                <a:gd name="connsiteX1278" fmla="*/ 2105371 w 4042302"/>
                <a:gd name="connsiteY1278" fmla="*/ 1548429 h 1608169"/>
                <a:gd name="connsiteX1279" fmla="*/ 2098522 w 4042302"/>
                <a:gd name="connsiteY1279" fmla="*/ 1548429 h 1608169"/>
                <a:gd name="connsiteX1280" fmla="*/ 2083555 w 4042302"/>
                <a:gd name="connsiteY1280" fmla="*/ 1548429 h 1608169"/>
                <a:gd name="connsiteX1281" fmla="*/ 2055144 w 4042302"/>
                <a:gd name="connsiteY1281" fmla="*/ 1548429 h 1608169"/>
                <a:gd name="connsiteX1282" fmla="*/ 2052607 w 4042302"/>
                <a:gd name="connsiteY1282" fmla="*/ 1548429 h 1608169"/>
                <a:gd name="connsiteX1283" fmla="*/ 2052607 w 4042302"/>
                <a:gd name="connsiteY1283" fmla="*/ 1541072 h 1608169"/>
                <a:gd name="connsiteX1284" fmla="*/ 2053748 w 4042302"/>
                <a:gd name="connsiteY1284" fmla="*/ 1541833 h 1608169"/>
                <a:gd name="connsiteX1285" fmla="*/ 2048294 w 4042302"/>
                <a:gd name="connsiteY1285" fmla="*/ 1541833 h 1608169"/>
                <a:gd name="connsiteX1286" fmla="*/ 2045631 w 4042302"/>
                <a:gd name="connsiteY1286" fmla="*/ 1541833 h 1608169"/>
                <a:gd name="connsiteX1287" fmla="*/ 2035991 w 4042302"/>
                <a:gd name="connsiteY1287" fmla="*/ 1541833 h 1608169"/>
                <a:gd name="connsiteX1288" fmla="*/ 2023815 w 4042302"/>
                <a:gd name="connsiteY1288" fmla="*/ 1541833 h 1608169"/>
                <a:gd name="connsiteX1289" fmla="*/ 2010243 w 4042302"/>
                <a:gd name="connsiteY1289" fmla="*/ 1541833 h 1608169"/>
                <a:gd name="connsiteX1290" fmla="*/ 1998067 w 4042302"/>
                <a:gd name="connsiteY1290" fmla="*/ 1541833 h 1608169"/>
                <a:gd name="connsiteX1291" fmla="*/ 1942385 w 4042302"/>
                <a:gd name="connsiteY1291" fmla="*/ 1541833 h 1608169"/>
                <a:gd name="connsiteX1292" fmla="*/ 1931604 w 4042302"/>
                <a:gd name="connsiteY1292" fmla="*/ 1541833 h 1608169"/>
                <a:gd name="connsiteX1293" fmla="*/ 1931604 w 4042302"/>
                <a:gd name="connsiteY1293" fmla="*/ 1535111 h 1608169"/>
                <a:gd name="connsiteX1294" fmla="*/ 1932746 w 4042302"/>
                <a:gd name="connsiteY1294" fmla="*/ 1535872 h 1608169"/>
                <a:gd name="connsiteX1295" fmla="*/ 1915115 w 4042302"/>
                <a:gd name="connsiteY1295" fmla="*/ 1535872 h 1608169"/>
                <a:gd name="connsiteX1296" fmla="*/ 1909915 w 4042302"/>
                <a:gd name="connsiteY1296" fmla="*/ 1535872 h 1608169"/>
                <a:gd name="connsiteX1297" fmla="*/ 1909915 w 4042302"/>
                <a:gd name="connsiteY1297" fmla="*/ 1529276 h 1608169"/>
                <a:gd name="connsiteX1298" fmla="*/ 1911056 w 4042302"/>
                <a:gd name="connsiteY1298" fmla="*/ 1530037 h 1608169"/>
                <a:gd name="connsiteX1299" fmla="*/ 1905603 w 4042302"/>
                <a:gd name="connsiteY1299" fmla="*/ 1530037 h 1608169"/>
                <a:gd name="connsiteX1300" fmla="*/ 1881123 w 4042302"/>
                <a:gd name="connsiteY1300" fmla="*/ 1530037 h 1608169"/>
                <a:gd name="connsiteX1301" fmla="*/ 1877064 w 4042302"/>
                <a:gd name="connsiteY1301" fmla="*/ 1530037 h 1608169"/>
                <a:gd name="connsiteX1302" fmla="*/ 1851443 w 4042302"/>
                <a:gd name="connsiteY1302" fmla="*/ 1530037 h 1608169"/>
                <a:gd name="connsiteX1303" fmla="*/ 1851443 w 4042302"/>
                <a:gd name="connsiteY1303" fmla="*/ 1523442 h 1608169"/>
                <a:gd name="connsiteX1304" fmla="*/ 1852584 w 4042302"/>
                <a:gd name="connsiteY1304" fmla="*/ 1524203 h 1608169"/>
                <a:gd name="connsiteX1305" fmla="*/ 1837618 w 4042302"/>
                <a:gd name="connsiteY1305" fmla="*/ 1524203 h 1608169"/>
                <a:gd name="connsiteX1306" fmla="*/ 1817197 w 4042302"/>
                <a:gd name="connsiteY1306" fmla="*/ 1524203 h 1608169"/>
                <a:gd name="connsiteX1307" fmla="*/ 1783205 w 4042302"/>
                <a:gd name="connsiteY1307" fmla="*/ 1524203 h 1608169"/>
                <a:gd name="connsiteX1308" fmla="*/ 1769633 w 4042302"/>
                <a:gd name="connsiteY1308" fmla="*/ 1524203 h 1608169"/>
                <a:gd name="connsiteX1309" fmla="*/ 1767223 w 4042302"/>
                <a:gd name="connsiteY1309" fmla="*/ 1524203 h 1608169"/>
                <a:gd name="connsiteX1310" fmla="*/ 1767223 w 4042302"/>
                <a:gd name="connsiteY1310" fmla="*/ 1512534 h 1608169"/>
                <a:gd name="connsiteX1311" fmla="*/ 1768238 w 4042302"/>
                <a:gd name="connsiteY1311" fmla="*/ 1513295 h 1608169"/>
                <a:gd name="connsiteX1312" fmla="*/ 1760374 w 4042302"/>
                <a:gd name="connsiteY1312" fmla="*/ 1513295 h 1608169"/>
                <a:gd name="connsiteX1313" fmla="*/ 1760374 w 4042302"/>
                <a:gd name="connsiteY1313" fmla="*/ 1506953 h 1608169"/>
                <a:gd name="connsiteX1314" fmla="*/ 1761515 w 4042302"/>
                <a:gd name="connsiteY1314" fmla="*/ 1507714 h 1608169"/>
                <a:gd name="connsiteX1315" fmla="*/ 1752256 w 4042302"/>
                <a:gd name="connsiteY1315" fmla="*/ 1507714 h 1608169"/>
                <a:gd name="connsiteX1316" fmla="*/ 1752256 w 4042302"/>
                <a:gd name="connsiteY1316" fmla="*/ 1501499 h 1608169"/>
                <a:gd name="connsiteX1317" fmla="*/ 1753398 w 4042302"/>
                <a:gd name="connsiteY1317" fmla="*/ 1502260 h 1608169"/>
                <a:gd name="connsiteX1318" fmla="*/ 1740080 w 4042302"/>
                <a:gd name="connsiteY1318" fmla="*/ 1502260 h 1608169"/>
                <a:gd name="connsiteX1319" fmla="*/ 1740080 w 4042302"/>
                <a:gd name="connsiteY1319" fmla="*/ 1496045 h 1608169"/>
                <a:gd name="connsiteX1320" fmla="*/ 1741095 w 4042302"/>
                <a:gd name="connsiteY1320" fmla="*/ 1496806 h 1608169"/>
                <a:gd name="connsiteX1321" fmla="*/ 1739826 w 4042302"/>
                <a:gd name="connsiteY1321" fmla="*/ 1496806 h 1608169"/>
                <a:gd name="connsiteX1322" fmla="*/ 1737036 w 4042302"/>
                <a:gd name="connsiteY1322" fmla="*/ 1496806 h 1608169"/>
                <a:gd name="connsiteX1323" fmla="*/ 1727523 w 4042302"/>
                <a:gd name="connsiteY1323" fmla="*/ 1496806 h 1608169"/>
                <a:gd name="connsiteX1324" fmla="*/ 1714205 w 4042302"/>
                <a:gd name="connsiteY1324" fmla="*/ 1496806 h 1608169"/>
                <a:gd name="connsiteX1325" fmla="*/ 1714205 w 4042302"/>
                <a:gd name="connsiteY1325" fmla="*/ 1490718 h 1608169"/>
                <a:gd name="connsiteX1326" fmla="*/ 1715347 w 4042302"/>
                <a:gd name="connsiteY1326" fmla="*/ 1491479 h 1608169"/>
                <a:gd name="connsiteX1327" fmla="*/ 1707102 w 4042302"/>
                <a:gd name="connsiteY1327" fmla="*/ 1491479 h 1608169"/>
                <a:gd name="connsiteX1328" fmla="*/ 1705834 w 4042302"/>
                <a:gd name="connsiteY1328" fmla="*/ 1491479 h 1608169"/>
                <a:gd name="connsiteX1329" fmla="*/ 1704439 w 4042302"/>
                <a:gd name="connsiteY1329" fmla="*/ 1491479 h 1608169"/>
                <a:gd name="connsiteX1330" fmla="*/ 1695179 w 4042302"/>
                <a:gd name="connsiteY1330" fmla="*/ 1491479 h 1608169"/>
                <a:gd name="connsiteX1331" fmla="*/ 1695179 w 4042302"/>
                <a:gd name="connsiteY1331" fmla="*/ 1485644 h 1608169"/>
                <a:gd name="connsiteX1332" fmla="*/ 1696321 w 4042302"/>
                <a:gd name="connsiteY1332" fmla="*/ 1486405 h 1608169"/>
                <a:gd name="connsiteX1333" fmla="*/ 1693784 w 4042302"/>
                <a:gd name="connsiteY1333" fmla="*/ 1486405 h 1608169"/>
                <a:gd name="connsiteX1334" fmla="*/ 1693784 w 4042302"/>
                <a:gd name="connsiteY1334" fmla="*/ 1480444 h 1608169"/>
                <a:gd name="connsiteX1335" fmla="*/ 1694926 w 4042302"/>
                <a:gd name="connsiteY1335" fmla="*/ 1481205 h 1608169"/>
                <a:gd name="connsiteX1336" fmla="*/ 1686935 w 4042302"/>
                <a:gd name="connsiteY1336" fmla="*/ 1481205 h 1608169"/>
                <a:gd name="connsiteX1337" fmla="*/ 1686935 w 4042302"/>
                <a:gd name="connsiteY1337" fmla="*/ 1475244 h 1608169"/>
                <a:gd name="connsiteX1338" fmla="*/ 1688077 w 4042302"/>
                <a:gd name="connsiteY1338" fmla="*/ 1476005 h 1608169"/>
                <a:gd name="connsiteX1339" fmla="*/ 1678818 w 4042302"/>
                <a:gd name="connsiteY1339" fmla="*/ 1476005 h 1608169"/>
                <a:gd name="connsiteX1340" fmla="*/ 1678818 w 4042302"/>
                <a:gd name="connsiteY1340" fmla="*/ 1470043 h 1608169"/>
                <a:gd name="connsiteX1341" fmla="*/ 1679959 w 4042302"/>
                <a:gd name="connsiteY1341" fmla="*/ 1470931 h 1608169"/>
                <a:gd name="connsiteX1342" fmla="*/ 1677422 w 4042302"/>
                <a:gd name="connsiteY1342" fmla="*/ 1470931 h 1608169"/>
                <a:gd name="connsiteX1343" fmla="*/ 1677422 w 4042302"/>
                <a:gd name="connsiteY1343" fmla="*/ 1464970 h 1608169"/>
                <a:gd name="connsiteX1344" fmla="*/ 1678564 w 4042302"/>
                <a:gd name="connsiteY1344" fmla="*/ 1465731 h 1608169"/>
                <a:gd name="connsiteX1345" fmla="*/ 1666388 w 4042302"/>
                <a:gd name="connsiteY1345" fmla="*/ 1465731 h 1608169"/>
                <a:gd name="connsiteX1346" fmla="*/ 1662456 w 4042302"/>
                <a:gd name="connsiteY1346" fmla="*/ 1465731 h 1608169"/>
                <a:gd name="connsiteX1347" fmla="*/ 1662456 w 4042302"/>
                <a:gd name="connsiteY1347" fmla="*/ 1459769 h 1608169"/>
                <a:gd name="connsiteX1348" fmla="*/ 1663597 w 4042302"/>
                <a:gd name="connsiteY1348" fmla="*/ 1460531 h 1608169"/>
                <a:gd name="connsiteX1349" fmla="*/ 1628209 w 4042302"/>
                <a:gd name="connsiteY1349" fmla="*/ 1460531 h 1608169"/>
                <a:gd name="connsiteX1350" fmla="*/ 1623136 w 4042302"/>
                <a:gd name="connsiteY1350" fmla="*/ 1460531 h 1608169"/>
                <a:gd name="connsiteX1351" fmla="*/ 1623136 w 4042302"/>
                <a:gd name="connsiteY1351" fmla="*/ 1454823 h 1608169"/>
                <a:gd name="connsiteX1352" fmla="*/ 1624277 w 4042302"/>
                <a:gd name="connsiteY1352" fmla="*/ 1455584 h 1608169"/>
                <a:gd name="connsiteX1353" fmla="*/ 1616033 w 4042302"/>
                <a:gd name="connsiteY1353" fmla="*/ 1455584 h 1608169"/>
                <a:gd name="connsiteX1354" fmla="*/ 1594344 w 4042302"/>
                <a:gd name="connsiteY1354" fmla="*/ 1455584 h 1608169"/>
                <a:gd name="connsiteX1355" fmla="*/ 1576967 w 4042302"/>
                <a:gd name="connsiteY1355" fmla="*/ 1455584 h 1608169"/>
                <a:gd name="connsiteX1356" fmla="*/ 1576967 w 4042302"/>
                <a:gd name="connsiteY1356" fmla="*/ 1449876 h 1608169"/>
                <a:gd name="connsiteX1357" fmla="*/ 1577982 w 4042302"/>
                <a:gd name="connsiteY1357" fmla="*/ 1450637 h 1608169"/>
                <a:gd name="connsiteX1358" fmla="*/ 1565806 w 4042302"/>
                <a:gd name="connsiteY1358" fmla="*/ 1450637 h 1608169"/>
                <a:gd name="connsiteX1359" fmla="*/ 1563015 w 4042302"/>
                <a:gd name="connsiteY1359" fmla="*/ 1450637 h 1608169"/>
                <a:gd name="connsiteX1360" fmla="*/ 1547034 w 4042302"/>
                <a:gd name="connsiteY1360" fmla="*/ 1450637 h 1608169"/>
                <a:gd name="connsiteX1361" fmla="*/ 1547034 w 4042302"/>
                <a:gd name="connsiteY1361" fmla="*/ 1444930 h 1608169"/>
                <a:gd name="connsiteX1362" fmla="*/ 1548048 w 4042302"/>
                <a:gd name="connsiteY1362" fmla="*/ 1445691 h 1608169"/>
                <a:gd name="connsiteX1363" fmla="*/ 1531813 w 4042302"/>
                <a:gd name="connsiteY1363" fmla="*/ 1445691 h 1608169"/>
                <a:gd name="connsiteX1364" fmla="*/ 1515451 w 4042302"/>
                <a:gd name="connsiteY1364" fmla="*/ 1445691 h 1608169"/>
                <a:gd name="connsiteX1365" fmla="*/ 1510251 w 4042302"/>
                <a:gd name="connsiteY1365" fmla="*/ 1445691 h 1608169"/>
                <a:gd name="connsiteX1366" fmla="*/ 1510251 w 4042302"/>
                <a:gd name="connsiteY1366" fmla="*/ 1440237 h 1608169"/>
                <a:gd name="connsiteX1367" fmla="*/ 1511392 w 4042302"/>
                <a:gd name="connsiteY1367" fmla="*/ 1440998 h 1608169"/>
                <a:gd name="connsiteX1368" fmla="*/ 1507587 w 4042302"/>
                <a:gd name="connsiteY1368" fmla="*/ 1440998 h 1608169"/>
                <a:gd name="connsiteX1369" fmla="*/ 1507587 w 4042302"/>
                <a:gd name="connsiteY1369" fmla="*/ 1435417 h 1608169"/>
                <a:gd name="connsiteX1370" fmla="*/ 1508729 w 4042302"/>
                <a:gd name="connsiteY1370" fmla="*/ 1436178 h 1608169"/>
                <a:gd name="connsiteX1371" fmla="*/ 1492621 w 4042302"/>
                <a:gd name="connsiteY1371" fmla="*/ 1436178 h 1608169"/>
                <a:gd name="connsiteX1372" fmla="*/ 1492621 w 4042302"/>
                <a:gd name="connsiteY1372" fmla="*/ 1430470 h 1608169"/>
                <a:gd name="connsiteX1373" fmla="*/ 1493762 w 4042302"/>
                <a:gd name="connsiteY1373" fmla="*/ 1431358 h 1608169"/>
                <a:gd name="connsiteX1374" fmla="*/ 1488308 w 4042302"/>
                <a:gd name="connsiteY1374" fmla="*/ 1431358 h 1608169"/>
                <a:gd name="connsiteX1375" fmla="*/ 1484503 w 4042302"/>
                <a:gd name="connsiteY1375" fmla="*/ 1431358 h 1608169"/>
                <a:gd name="connsiteX1376" fmla="*/ 1484503 w 4042302"/>
                <a:gd name="connsiteY1376" fmla="*/ 1425777 h 1608169"/>
                <a:gd name="connsiteX1377" fmla="*/ 1485644 w 4042302"/>
                <a:gd name="connsiteY1377" fmla="*/ 1426538 h 1608169"/>
                <a:gd name="connsiteX1378" fmla="*/ 1476005 w 4042302"/>
                <a:gd name="connsiteY1378" fmla="*/ 1426538 h 1608169"/>
                <a:gd name="connsiteX1379" fmla="*/ 1473595 w 4042302"/>
                <a:gd name="connsiteY1379" fmla="*/ 1426538 h 1608169"/>
                <a:gd name="connsiteX1380" fmla="*/ 1473595 w 4042302"/>
                <a:gd name="connsiteY1380" fmla="*/ 1421084 h 1608169"/>
                <a:gd name="connsiteX1381" fmla="*/ 1474610 w 4042302"/>
                <a:gd name="connsiteY1381" fmla="*/ 1421845 h 1608169"/>
                <a:gd name="connsiteX1382" fmla="*/ 1459770 w 4042302"/>
                <a:gd name="connsiteY1382" fmla="*/ 1421845 h 1608169"/>
                <a:gd name="connsiteX1383" fmla="*/ 1450511 w 4042302"/>
                <a:gd name="connsiteY1383" fmla="*/ 1421845 h 1608169"/>
                <a:gd name="connsiteX1384" fmla="*/ 1450511 w 4042302"/>
                <a:gd name="connsiteY1384" fmla="*/ 1416391 h 1608169"/>
                <a:gd name="connsiteX1385" fmla="*/ 1451525 w 4042302"/>
                <a:gd name="connsiteY1385" fmla="*/ 1417152 h 1608169"/>
                <a:gd name="connsiteX1386" fmla="*/ 1446198 w 4042302"/>
                <a:gd name="connsiteY1386" fmla="*/ 1417152 h 1608169"/>
                <a:gd name="connsiteX1387" fmla="*/ 1442012 w 4042302"/>
                <a:gd name="connsiteY1387" fmla="*/ 1417152 h 1608169"/>
                <a:gd name="connsiteX1388" fmla="*/ 1424636 w 4042302"/>
                <a:gd name="connsiteY1388" fmla="*/ 1417152 h 1608169"/>
                <a:gd name="connsiteX1389" fmla="*/ 1424636 w 4042302"/>
                <a:gd name="connsiteY1389" fmla="*/ 1411698 h 1608169"/>
                <a:gd name="connsiteX1390" fmla="*/ 1425777 w 4042302"/>
                <a:gd name="connsiteY1390" fmla="*/ 1412586 h 1608169"/>
                <a:gd name="connsiteX1391" fmla="*/ 1423367 w 4042302"/>
                <a:gd name="connsiteY1391" fmla="*/ 1412586 h 1608169"/>
                <a:gd name="connsiteX1392" fmla="*/ 1423367 w 4042302"/>
                <a:gd name="connsiteY1392" fmla="*/ 1407132 h 1608169"/>
                <a:gd name="connsiteX1393" fmla="*/ 1424382 w 4042302"/>
                <a:gd name="connsiteY1393" fmla="*/ 1407893 h 1608169"/>
                <a:gd name="connsiteX1394" fmla="*/ 1419182 w 4042302"/>
                <a:gd name="connsiteY1394" fmla="*/ 1407893 h 1608169"/>
                <a:gd name="connsiteX1395" fmla="*/ 1419182 w 4042302"/>
                <a:gd name="connsiteY1395" fmla="*/ 1402566 h 1608169"/>
                <a:gd name="connsiteX1396" fmla="*/ 1420323 w 4042302"/>
                <a:gd name="connsiteY1396" fmla="*/ 1403327 h 1608169"/>
                <a:gd name="connsiteX1397" fmla="*/ 1418928 w 4042302"/>
                <a:gd name="connsiteY1397" fmla="*/ 1403327 h 1608169"/>
                <a:gd name="connsiteX1398" fmla="*/ 1416138 w 4042302"/>
                <a:gd name="connsiteY1398" fmla="*/ 1403327 h 1608169"/>
                <a:gd name="connsiteX1399" fmla="*/ 1407005 w 4042302"/>
                <a:gd name="connsiteY1399" fmla="*/ 1403327 h 1608169"/>
                <a:gd name="connsiteX1400" fmla="*/ 1407005 w 4042302"/>
                <a:gd name="connsiteY1400" fmla="*/ 1397873 h 1608169"/>
                <a:gd name="connsiteX1401" fmla="*/ 1408020 w 4042302"/>
                <a:gd name="connsiteY1401" fmla="*/ 1398761 h 1608169"/>
                <a:gd name="connsiteX1402" fmla="*/ 1402693 w 4042302"/>
                <a:gd name="connsiteY1402" fmla="*/ 1398761 h 1608169"/>
                <a:gd name="connsiteX1403" fmla="*/ 1397493 w 4042302"/>
                <a:gd name="connsiteY1403" fmla="*/ 1398761 h 1608169"/>
                <a:gd name="connsiteX1404" fmla="*/ 1397493 w 4042302"/>
                <a:gd name="connsiteY1404" fmla="*/ 1388868 h 1608169"/>
                <a:gd name="connsiteX1405" fmla="*/ 1398634 w 4042302"/>
                <a:gd name="connsiteY1405" fmla="*/ 1389755 h 1608169"/>
                <a:gd name="connsiteX1406" fmla="*/ 1393434 w 4042302"/>
                <a:gd name="connsiteY1406" fmla="*/ 1389755 h 1608169"/>
                <a:gd name="connsiteX1407" fmla="*/ 1393434 w 4042302"/>
                <a:gd name="connsiteY1407" fmla="*/ 1384428 h 1608169"/>
                <a:gd name="connsiteX1408" fmla="*/ 1394449 w 4042302"/>
                <a:gd name="connsiteY1408" fmla="*/ 1385189 h 1608169"/>
                <a:gd name="connsiteX1409" fmla="*/ 1387726 w 4042302"/>
                <a:gd name="connsiteY1409" fmla="*/ 1385189 h 1608169"/>
                <a:gd name="connsiteX1410" fmla="*/ 1384936 w 4042302"/>
                <a:gd name="connsiteY1410" fmla="*/ 1385189 h 1608169"/>
                <a:gd name="connsiteX1411" fmla="*/ 1379609 w 4042302"/>
                <a:gd name="connsiteY1411" fmla="*/ 1385189 h 1608169"/>
                <a:gd name="connsiteX1412" fmla="*/ 1344221 w 4042302"/>
                <a:gd name="connsiteY1412" fmla="*/ 1385189 h 1608169"/>
                <a:gd name="connsiteX1413" fmla="*/ 1341811 w 4042302"/>
                <a:gd name="connsiteY1413" fmla="*/ 1385189 h 1608169"/>
                <a:gd name="connsiteX1414" fmla="*/ 1341811 w 4042302"/>
                <a:gd name="connsiteY1414" fmla="*/ 1380116 h 1608169"/>
                <a:gd name="connsiteX1415" fmla="*/ 1342826 w 4042302"/>
                <a:gd name="connsiteY1415" fmla="*/ 1380877 h 1608169"/>
                <a:gd name="connsiteX1416" fmla="*/ 1334708 w 4042302"/>
                <a:gd name="connsiteY1416" fmla="*/ 1380877 h 1608169"/>
                <a:gd name="connsiteX1417" fmla="*/ 1333313 w 4042302"/>
                <a:gd name="connsiteY1417" fmla="*/ 1380877 h 1608169"/>
                <a:gd name="connsiteX1418" fmla="*/ 1332045 w 4042302"/>
                <a:gd name="connsiteY1418" fmla="*/ 1380877 h 1608169"/>
                <a:gd name="connsiteX1419" fmla="*/ 1318346 w 4042302"/>
                <a:gd name="connsiteY1419" fmla="*/ 1380877 h 1608169"/>
                <a:gd name="connsiteX1420" fmla="*/ 1309214 w 4042302"/>
                <a:gd name="connsiteY1420" fmla="*/ 1380877 h 1608169"/>
                <a:gd name="connsiteX1421" fmla="*/ 1309214 w 4042302"/>
                <a:gd name="connsiteY1421" fmla="*/ 1375803 h 1608169"/>
                <a:gd name="connsiteX1422" fmla="*/ 1310229 w 4042302"/>
                <a:gd name="connsiteY1422" fmla="*/ 1376564 h 1608169"/>
                <a:gd name="connsiteX1423" fmla="*/ 1299574 w 4042302"/>
                <a:gd name="connsiteY1423" fmla="*/ 1376564 h 1608169"/>
                <a:gd name="connsiteX1424" fmla="*/ 1299574 w 4042302"/>
                <a:gd name="connsiteY1424" fmla="*/ 1371491 h 1608169"/>
                <a:gd name="connsiteX1425" fmla="*/ 1300716 w 4042302"/>
                <a:gd name="connsiteY1425" fmla="*/ 1372379 h 1608169"/>
                <a:gd name="connsiteX1426" fmla="*/ 1291457 w 4042302"/>
                <a:gd name="connsiteY1426" fmla="*/ 1372379 h 1608169"/>
                <a:gd name="connsiteX1427" fmla="*/ 1291457 w 4042302"/>
                <a:gd name="connsiteY1427" fmla="*/ 1367305 h 1608169"/>
                <a:gd name="connsiteX1428" fmla="*/ 1292598 w 4042302"/>
                <a:gd name="connsiteY1428" fmla="*/ 1368066 h 1608169"/>
                <a:gd name="connsiteX1429" fmla="*/ 1284734 w 4042302"/>
                <a:gd name="connsiteY1429" fmla="*/ 1368066 h 1608169"/>
                <a:gd name="connsiteX1430" fmla="*/ 1284734 w 4042302"/>
                <a:gd name="connsiteY1430" fmla="*/ 1362993 h 1608169"/>
                <a:gd name="connsiteX1431" fmla="*/ 1285749 w 4042302"/>
                <a:gd name="connsiteY1431" fmla="*/ 1363754 h 1608169"/>
                <a:gd name="connsiteX1432" fmla="*/ 1269767 w 4042302"/>
                <a:gd name="connsiteY1432" fmla="*/ 1363754 h 1608169"/>
                <a:gd name="connsiteX1433" fmla="*/ 1269767 w 4042302"/>
                <a:gd name="connsiteY1433" fmla="*/ 1358680 h 1608169"/>
                <a:gd name="connsiteX1434" fmla="*/ 1270782 w 4042302"/>
                <a:gd name="connsiteY1434" fmla="*/ 1359568 h 1608169"/>
                <a:gd name="connsiteX1435" fmla="*/ 1268119 w 4042302"/>
                <a:gd name="connsiteY1435" fmla="*/ 1359568 h 1608169"/>
                <a:gd name="connsiteX1436" fmla="*/ 1251757 w 4042302"/>
                <a:gd name="connsiteY1436" fmla="*/ 1359568 h 1608169"/>
                <a:gd name="connsiteX1437" fmla="*/ 1231589 w 4042302"/>
                <a:gd name="connsiteY1437" fmla="*/ 1359568 h 1608169"/>
                <a:gd name="connsiteX1438" fmla="*/ 1231589 w 4042302"/>
                <a:gd name="connsiteY1438" fmla="*/ 1354495 h 1608169"/>
                <a:gd name="connsiteX1439" fmla="*/ 1232731 w 4042302"/>
                <a:gd name="connsiteY1439" fmla="*/ 1355383 h 1608169"/>
                <a:gd name="connsiteX1440" fmla="*/ 1229941 w 4042302"/>
                <a:gd name="connsiteY1440" fmla="*/ 1355383 h 1608169"/>
                <a:gd name="connsiteX1441" fmla="*/ 1217764 w 4042302"/>
                <a:gd name="connsiteY1441" fmla="*/ 1355383 h 1608169"/>
                <a:gd name="connsiteX1442" fmla="*/ 1185421 w 4042302"/>
                <a:gd name="connsiteY1442" fmla="*/ 1355383 h 1608169"/>
                <a:gd name="connsiteX1443" fmla="*/ 1185421 w 4042302"/>
                <a:gd name="connsiteY1443" fmla="*/ 1350436 h 1608169"/>
                <a:gd name="connsiteX1444" fmla="*/ 1186562 w 4042302"/>
                <a:gd name="connsiteY1444" fmla="*/ 1351197 h 1608169"/>
                <a:gd name="connsiteX1445" fmla="*/ 1185167 w 4042302"/>
                <a:gd name="connsiteY1445" fmla="*/ 1351197 h 1608169"/>
                <a:gd name="connsiteX1446" fmla="*/ 1182630 w 4042302"/>
                <a:gd name="connsiteY1446" fmla="*/ 1351197 h 1608169"/>
                <a:gd name="connsiteX1447" fmla="*/ 1182630 w 4042302"/>
                <a:gd name="connsiteY1447" fmla="*/ 1346250 h 1608169"/>
                <a:gd name="connsiteX1448" fmla="*/ 1183772 w 4042302"/>
                <a:gd name="connsiteY1448" fmla="*/ 1347011 h 1608169"/>
                <a:gd name="connsiteX1449" fmla="*/ 1180094 w 4042302"/>
                <a:gd name="connsiteY1449" fmla="*/ 1347011 h 1608169"/>
                <a:gd name="connsiteX1450" fmla="*/ 1180094 w 4042302"/>
                <a:gd name="connsiteY1450" fmla="*/ 1342191 h 1608169"/>
                <a:gd name="connsiteX1451" fmla="*/ 1181108 w 4042302"/>
                <a:gd name="connsiteY1451" fmla="*/ 1342952 h 1608169"/>
                <a:gd name="connsiteX1452" fmla="*/ 1177303 w 4042302"/>
                <a:gd name="connsiteY1452" fmla="*/ 1342952 h 1608169"/>
                <a:gd name="connsiteX1453" fmla="*/ 1177303 w 4042302"/>
                <a:gd name="connsiteY1453" fmla="*/ 1338006 h 1608169"/>
                <a:gd name="connsiteX1454" fmla="*/ 1178445 w 4042302"/>
                <a:gd name="connsiteY1454" fmla="*/ 1338767 h 1608169"/>
                <a:gd name="connsiteX1455" fmla="*/ 1163478 w 4042302"/>
                <a:gd name="connsiteY1455" fmla="*/ 1338767 h 1608169"/>
                <a:gd name="connsiteX1456" fmla="*/ 1148765 w 4042302"/>
                <a:gd name="connsiteY1456" fmla="*/ 1338767 h 1608169"/>
                <a:gd name="connsiteX1457" fmla="*/ 1148765 w 4042302"/>
                <a:gd name="connsiteY1457" fmla="*/ 1333820 h 1608169"/>
                <a:gd name="connsiteX1458" fmla="*/ 1149779 w 4042302"/>
                <a:gd name="connsiteY1458" fmla="*/ 1334708 h 1608169"/>
                <a:gd name="connsiteX1459" fmla="*/ 1143311 w 4042302"/>
                <a:gd name="connsiteY1459" fmla="*/ 1334708 h 1608169"/>
                <a:gd name="connsiteX1460" fmla="*/ 1143311 w 4042302"/>
                <a:gd name="connsiteY1460" fmla="*/ 1325703 h 1608169"/>
                <a:gd name="connsiteX1461" fmla="*/ 1144452 w 4042302"/>
                <a:gd name="connsiteY1461" fmla="*/ 1326464 h 1608169"/>
                <a:gd name="connsiteX1462" fmla="*/ 1143057 w 4042302"/>
                <a:gd name="connsiteY1462" fmla="*/ 1326464 h 1608169"/>
                <a:gd name="connsiteX1463" fmla="*/ 1134940 w 4042302"/>
                <a:gd name="connsiteY1463" fmla="*/ 1326464 h 1608169"/>
                <a:gd name="connsiteX1464" fmla="*/ 1132403 w 4042302"/>
                <a:gd name="connsiteY1464" fmla="*/ 1326464 h 1608169"/>
                <a:gd name="connsiteX1465" fmla="*/ 1132403 w 4042302"/>
                <a:gd name="connsiteY1465" fmla="*/ 1321644 h 1608169"/>
                <a:gd name="connsiteX1466" fmla="*/ 1133544 w 4042302"/>
                <a:gd name="connsiteY1466" fmla="*/ 1322405 h 1608169"/>
                <a:gd name="connsiteX1467" fmla="*/ 1130754 w 4042302"/>
                <a:gd name="connsiteY1467" fmla="*/ 1322405 h 1608169"/>
                <a:gd name="connsiteX1468" fmla="*/ 1124285 w 4042302"/>
                <a:gd name="connsiteY1468" fmla="*/ 1322405 h 1608169"/>
                <a:gd name="connsiteX1469" fmla="*/ 1124285 w 4042302"/>
                <a:gd name="connsiteY1469" fmla="*/ 1317712 h 1608169"/>
                <a:gd name="connsiteX1470" fmla="*/ 1125300 w 4042302"/>
                <a:gd name="connsiteY1470" fmla="*/ 1318473 h 1608169"/>
                <a:gd name="connsiteX1471" fmla="*/ 1122890 w 4042302"/>
                <a:gd name="connsiteY1471" fmla="*/ 1318473 h 1608169"/>
                <a:gd name="connsiteX1472" fmla="*/ 1122890 w 4042302"/>
                <a:gd name="connsiteY1472" fmla="*/ 1313653 h 1608169"/>
                <a:gd name="connsiteX1473" fmla="*/ 1123905 w 4042302"/>
                <a:gd name="connsiteY1473" fmla="*/ 1314414 h 1608169"/>
                <a:gd name="connsiteX1474" fmla="*/ 1121622 w 4042302"/>
                <a:gd name="connsiteY1474" fmla="*/ 1314414 h 1608169"/>
                <a:gd name="connsiteX1475" fmla="*/ 1121622 w 4042302"/>
                <a:gd name="connsiteY1475" fmla="*/ 1305535 h 1608169"/>
                <a:gd name="connsiteX1476" fmla="*/ 1122636 w 4042302"/>
                <a:gd name="connsiteY1476" fmla="*/ 1306423 h 1608169"/>
                <a:gd name="connsiteX1477" fmla="*/ 1117182 w 4042302"/>
                <a:gd name="connsiteY1477" fmla="*/ 1306423 h 1608169"/>
                <a:gd name="connsiteX1478" fmla="*/ 1115787 w 4042302"/>
                <a:gd name="connsiteY1478" fmla="*/ 1306423 h 1608169"/>
                <a:gd name="connsiteX1479" fmla="*/ 1113377 w 4042302"/>
                <a:gd name="connsiteY1479" fmla="*/ 1306423 h 1608169"/>
                <a:gd name="connsiteX1480" fmla="*/ 1113377 w 4042302"/>
                <a:gd name="connsiteY1480" fmla="*/ 1301604 h 1608169"/>
                <a:gd name="connsiteX1481" fmla="*/ 1114519 w 4042302"/>
                <a:gd name="connsiteY1481" fmla="*/ 1302365 h 1608169"/>
                <a:gd name="connsiteX1482" fmla="*/ 1100820 w 4042302"/>
                <a:gd name="connsiteY1482" fmla="*/ 1302365 h 1608169"/>
                <a:gd name="connsiteX1483" fmla="*/ 1097142 w 4042302"/>
                <a:gd name="connsiteY1483" fmla="*/ 1302365 h 1608169"/>
                <a:gd name="connsiteX1484" fmla="*/ 1097142 w 4042302"/>
                <a:gd name="connsiteY1484" fmla="*/ 1297672 h 1608169"/>
                <a:gd name="connsiteX1485" fmla="*/ 1098157 w 4042302"/>
                <a:gd name="connsiteY1485" fmla="*/ 1298433 h 1608169"/>
                <a:gd name="connsiteX1486" fmla="*/ 1094098 w 4042302"/>
                <a:gd name="connsiteY1486" fmla="*/ 1298433 h 1608169"/>
                <a:gd name="connsiteX1487" fmla="*/ 1088644 w 4042302"/>
                <a:gd name="connsiteY1487" fmla="*/ 1298433 h 1608169"/>
                <a:gd name="connsiteX1488" fmla="*/ 1083444 w 4042302"/>
                <a:gd name="connsiteY1488" fmla="*/ 1298433 h 1608169"/>
                <a:gd name="connsiteX1489" fmla="*/ 1083444 w 4042302"/>
                <a:gd name="connsiteY1489" fmla="*/ 1293740 h 1608169"/>
                <a:gd name="connsiteX1490" fmla="*/ 1084585 w 4042302"/>
                <a:gd name="connsiteY1490" fmla="*/ 1294501 h 1608169"/>
                <a:gd name="connsiteX1491" fmla="*/ 1075326 w 4042302"/>
                <a:gd name="connsiteY1491" fmla="*/ 1294501 h 1608169"/>
                <a:gd name="connsiteX1492" fmla="*/ 1075326 w 4042302"/>
                <a:gd name="connsiteY1492" fmla="*/ 1289808 h 1608169"/>
                <a:gd name="connsiteX1493" fmla="*/ 1076468 w 4042302"/>
                <a:gd name="connsiteY1493" fmla="*/ 1290569 h 1608169"/>
                <a:gd name="connsiteX1494" fmla="*/ 1074058 w 4042302"/>
                <a:gd name="connsiteY1494" fmla="*/ 1290569 h 1608169"/>
                <a:gd name="connsiteX1495" fmla="*/ 1074058 w 4042302"/>
                <a:gd name="connsiteY1495" fmla="*/ 1285876 h 1608169"/>
                <a:gd name="connsiteX1496" fmla="*/ 1075072 w 4042302"/>
                <a:gd name="connsiteY1496" fmla="*/ 1286637 h 1608169"/>
                <a:gd name="connsiteX1497" fmla="*/ 1067208 w 4042302"/>
                <a:gd name="connsiteY1497" fmla="*/ 1286637 h 1608169"/>
                <a:gd name="connsiteX1498" fmla="*/ 1067208 w 4042302"/>
                <a:gd name="connsiteY1498" fmla="*/ 1281944 h 1608169"/>
                <a:gd name="connsiteX1499" fmla="*/ 1068223 w 4042302"/>
                <a:gd name="connsiteY1499" fmla="*/ 1282705 h 1608169"/>
                <a:gd name="connsiteX1500" fmla="*/ 1057696 w 4042302"/>
                <a:gd name="connsiteY1500" fmla="*/ 1282705 h 1608169"/>
                <a:gd name="connsiteX1501" fmla="*/ 1057696 w 4042302"/>
                <a:gd name="connsiteY1501" fmla="*/ 1278012 h 1608169"/>
                <a:gd name="connsiteX1502" fmla="*/ 1058710 w 4042302"/>
                <a:gd name="connsiteY1502" fmla="*/ 1278773 h 1608169"/>
                <a:gd name="connsiteX1503" fmla="*/ 1057442 w 4042302"/>
                <a:gd name="connsiteY1503" fmla="*/ 1278773 h 1608169"/>
                <a:gd name="connsiteX1504" fmla="*/ 1048183 w 4042302"/>
                <a:gd name="connsiteY1504" fmla="*/ 1278773 h 1608169"/>
                <a:gd name="connsiteX1505" fmla="*/ 1048183 w 4042302"/>
                <a:gd name="connsiteY1505" fmla="*/ 1274207 h 1608169"/>
                <a:gd name="connsiteX1506" fmla="*/ 1049198 w 4042302"/>
                <a:gd name="connsiteY1506" fmla="*/ 1274968 h 1608169"/>
                <a:gd name="connsiteX1507" fmla="*/ 1042729 w 4042302"/>
                <a:gd name="connsiteY1507" fmla="*/ 1274968 h 1608169"/>
                <a:gd name="connsiteX1508" fmla="*/ 1042729 w 4042302"/>
                <a:gd name="connsiteY1508" fmla="*/ 1270275 h 1608169"/>
                <a:gd name="connsiteX1509" fmla="*/ 1043744 w 4042302"/>
                <a:gd name="connsiteY1509" fmla="*/ 1271036 h 1608169"/>
                <a:gd name="connsiteX1510" fmla="*/ 1011400 w 4042302"/>
                <a:gd name="connsiteY1510" fmla="*/ 1271036 h 1608169"/>
                <a:gd name="connsiteX1511" fmla="*/ 1011400 w 4042302"/>
                <a:gd name="connsiteY1511" fmla="*/ 1262411 h 1608169"/>
                <a:gd name="connsiteX1512" fmla="*/ 1012542 w 4042302"/>
                <a:gd name="connsiteY1512" fmla="*/ 1263299 h 1608169"/>
                <a:gd name="connsiteX1513" fmla="*/ 1002014 w 4042302"/>
                <a:gd name="connsiteY1513" fmla="*/ 1263299 h 1608169"/>
                <a:gd name="connsiteX1514" fmla="*/ 1002014 w 4042302"/>
                <a:gd name="connsiteY1514" fmla="*/ 1258479 h 1608169"/>
                <a:gd name="connsiteX1515" fmla="*/ 1003029 w 4042302"/>
                <a:gd name="connsiteY1515" fmla="*/ 1259367 h 1608169"/>
                <a:gd name="connsiteX1516" fmla="*/ 992501 w 4042302"/>
                <a:gd name="connsiteY1516" fmla="*/ 1259367 h 1608169"/>
                <a:gd name="connsiteX1517" fmla="*/ 992501 w 4042302"/>
                <a:gd name="connsiteY1517" fmla="*/ 1254674 h 1608169"/>
                <a:gd name="connsiteX1518" fmla="*/ 993516 w 4042302"/>
                <a:gd name="connsiteY1518" fmla="*/ 1255435 h 1608169"/>
                <a:gd name="connsiteX1519" fmla="*/ 990852 w 4042302"/>
                <a:gd name="connsiteY1519" fmla="*/ 1255435 h 1608169"/>
                <a:gd name="connsiteX1520" fmla="*/ 988316 w 4042302"/>
                <a:gd name="connsiteY1520" fmla="*/ 1255435 h 1608169"/>
                <a:gd name="connsiteX1521" fmla="*/ 988316 w 4042302"/>
                <a:gd name="connsiteY1521" fmla="*/ 1250742 h 1608169"/>
                <a:gd name="connsiteX1522" fmla="*/ 989457 w 4042302"/>
                <a:gd name="connsiteY1522" fmla="*/ 1251630 h 1608169"/>
                <a:gd name="connsiteX1523" fmla="*/ 986667 w 4042302"/>
                <a:gd name="connsiteY1523" fmla="*/ 1251630 h 1608169"/>
                <a:gd name="connsiteX1524" fmla="*/ 985272 w 4042302"/>
                <a:gd name="connsiteY1524" fmla="*/ 1251630 h 1608169"/>
                <a:gd name="connsiteX1525" fmla="*/ 982735 w 4042302"/>
                <a:gd name="connsiteY1525" fmla="*/ 1251630 h 1608169"/>
                <a:gd name="connsiteX1526" fmla="*/ 981340 w 4042302"/>
                <a:gd name="connsiteY1526" fmla="*/ 1251630 h 1608169"/>
                <a:gd name="connsiteX1527" fmla="*/ 978803 w 4042302"/>
                <a:gd name="connsiteY1527" fmla="*/ 1251630 h 1608169"/>
                <a:gd name="connsiteX1528" fmla="*/ 978803 w 4042302"/>
                <a:gd name="connsiteY1528" fmla="*/ 1246937 h 1608169"/>
                <a:gd name="connsiteX1529" fmla="*/ 979944 w 4042302"/>
                <a:gd name="connsiteY1529" fmla="*/ 1247825 h 1608169"/>
                <a:gd name="connsiteX1530" fmla="*/ 978549 w 4042302"/>
                <a:gd name="connsiteY1530" fmla="*/ 1247825 h 1608169"/>
                <a:gd name="connsiteX1531" fmla="*/ 976139 w 4042302"/>
                <a:gd name="connsiteY1531" fmla="*/ 1247825 h 1608169"/>
                <a:gd name="connsiteX1532" fmla="*/ 976139 w 4042302"/>
                <a:gd name="connsiteY1532" fmla="*/ 1243258 h 1608169"/>
                <a:gd name="connsiteX1533" fmla="*/ 977154 w 4042302"/>
                <a:gd name="connsiteY1533" fmla="*/ 1244019 h 1608169"/>
                <a:gd name="connsiteX1534" fmla="*/ 973349 w 4042302"/>
                <a:gd name="connsiteY1534" fmla="*/ 1244019 h 1608169"/>
                <a:gd name="connsiteX1535" fmla="*/ 973349 w 4042302"/>
                <a:gd name="connsiteY1535" fmla="*/ 1239453 h 1608169"/>
                <a:gd name="connsiteX1536" fmla="*/ 974490 w 4042302"/>
                <a:gd name="connsiteY1536" fmla="*/ 1240214 h 1608169"/>
                <a:gd name="connsiteX1537" fmla="*/ 966626 w 4042302"/>
                <a:gd name="connsiteY1537" fmla="*/ 1240214 h 1608169"/>
                <a:gd name="connsiteX1538" fmla="*/ 966626 w 4042302"/>
                <a:gd name="connsiteY1538" fmla="*/ 1231843 h 1608169"/>
                <a:gd name="connsiteX1539" fmla="*/ 967768 w 4042302"/>
                <a:gd name="connsiteY1539" fmla="*/ 1232731 h 1608169"/>
                <a:gd name="connsiteX1540" fmla="*/ 965231 w 4042302"/>
                <a:gd name="connsiteY1540" fmla="*/ 1232731 h 1608169"/>
                <a:gd name="connsiteX1541" fmla="*/ 965231 w 4042302"/>
                <a:gd name="connsiteY1541" fmla="*/ 1228165 h 1608169"/>
                <a:gd name="connsiteX1542" fmla="*/ 966373 w 4042302"/>
                <a:gd name="connsiteY1542" fmla="*/ 1228926 h 1608169"/>
                <a:gd name="connsiteX1543" fmla="*/ 963836 w 4042302"/>
                <a:gd name="connsiteY1543" fmla="*/ 1228926 h 1608169"/>
                <a:gd name="connsiteX1544" fmla="*/ 963836 w 4042302"/>
                <a:gd name="connsiteY1544" fmla="*/ 1224360 h 1608169"/>
                <a:gd name="connsiteX1545" fmla="*/ 964978 w 4042302"/>
                <a:gd name="connsiteY1545" fmla="*/ 1225121 h 1608169"/>
                <a:gd name="connsiteX1546" fmla="*/ 959524 w 4042302"/>
                <a:gd name="connsiteY1546" fmla="*/ 1225121 h 1608169"/>
                <a:gd name="connsiteX1547" fmla="*/ 953055 w 4042302"/>
                <a:gd name="connsiteY1547" fmla="*/ 1225121 h 1608169"/>
                <a:gd name="connsiteX1548" fmla="*/ 953055 w 4042302"/>
                <a:gd name="connsiteY1548" fmla="*/ 1220554 h 1608169"/>
                <a:gd name="connsiteX1549" fmla="*/ 954070 w 4042302"/>
                <a:gd name="connsiteY1549" fmla="*/ 1221442 h 1608169"/>
                <a:gd name="connsiteX1550" fmla="*/ 943288 w 4042302"/>
                <a:gd name="connsiteY1550" fmla="*/ 1221442 h 1608169"/>
                <a:gd name="connsiteX1551" fmla="*/ 924390 w 4042302"/>
                <a:gd name="connsiteY1551" fmla="*/ 1221442 h 1608169"/>
                <a:gd name="connsiteX1552" fmla="*/ 924390 w 4042302"/>
                <a:gd name="connsiteY1552" fmla="*/ 1216876 h 1608169"/>
                <a:gd name="connsiteX1553" fmla="*/ 925531 w 4042302"/>
                <a:gd name="connsiteY1553" fmla="*/ 1217764 h 1608169"/>
                <a:gd name="connsiteX1554" fmla="*/ 924263 w 4042302"/>
                <a:gd name="connsiteY1554" fmla="*/ 1217764 h 1608169"/>
                <a:gd name="connsiteX1555" fmla="*/ 921726 w 4042302"/>
                <a:gd name="connsiteY1555" fmla="*/ 1217764 h 1608169"/>
                <a:gd name="connsiteX1556" fmla="*/ 921726 w 4042302"/>
                <a:gd name="connsiteY1556" fmla="*/ 1213198 h 1608169"/>
                <a:gd name="connsiteX1557" fmla="*/ 922868 w 4042302"/>
                <a:gd name="connsiteY1557" fmla="*/ 1213959 h 1608169"/>
                <a:gd name="connsiteX1558" fmla="*/ 920458 w 4042302"/>
                <a:gd name="connsiteY1558" fmla="*/ 1213959 h 1608169"/>
                <a:gd name="connsiteX1559" fmla="*/ 920458 w 4042302"/>
                <a:gd name="connsiteY1559" fmla="*/ 1209520 h 1608169"/>
                <a:gd name="connsiteX1560" fmla="*/ 921472 w 4042302"/>
                <a:gd name="connsiteY1560" fmla="*/ 1210281 h 1608169"/>
                <a:gd name="connsiteX1561" fmla="*/ 919063 w 4042302"/>
                <a:gd name="connsiteY1561" fmla="*/ 1210281 h 1608169"/>
                <a:gd name="connsiteX1562" fmla="*/ 919063 w 4042302"/>
                <a:gd name="connsiteY1562" fmla="*/ 1205715 h 1608169"/>
                <a:gd name="connsiteX1563" fmla="*/ 920077 w 4042302"/>
                <a:gd name="connsiteY1563" fmla="*/ 1206602 h 1608169"/>
                <a:gd name="connsiteX1564" fmla="*/ 914623 w 4042302"/>
                <a:gd name="connsiteY1564" fmla="*/ 1206602 h 1608169"/>
                <a:gd name="connsiteX1565" fmla="*/ 910945 w 4042302"/>
                <a:gd name="connsiteY1565" fmla="*/ 1206602 h 1608169"/>
                <a:gd name="connsiteX1566" fmla="*/ 910945 w 4042302"/>
                <a:gd name="connsiteY1566" fmla="*/ 1202036 h 1608169"/>
                <a:gd name="connsiteX1567" fmla="*/ 911960 w 4042302"/>
                <a:gd name="connsiteY1567" fmla="*/ 1202924 h 1608169"/>
                <a:gd name="connsiteX1568" fmla="*/ 909550 w 4042302"/>
                <a:gd name="connsiteY1568" fmla="*/ 1202924 h 1608169"/>
                <a:gd name="connsiteX1569" fmla="*/ 909550 w 4042302"/>
                <a:gd name="connsiteY1569" fmla="*/ 1198358 h 1608169"/>
                <a:gd name="connsiteX1570" fmla="*/ 910691 w 4042302"/>
                <a:gd name="connsiteY1570" fmla="*/ 1199119 h 1608169"/>
                <a:gd name="connsiteX1571" fmla="*/ 908155 w 4042302"/>
                <a:gd name="connsiteY1571" fmla="*/ 1199119 h 1608169"/>
                <a:gd name="connsiteX1572" fmla="*/ 908155 w 4042302"/>
                <a:gd name="connsiteY1572" fmla="*/ 1191001 h 1608169"/>
                <a:gd name="connsiteX1573" fmla="*/ 909296 w 4042302"/>
                <a:gd name="connsiteY1573" fmla="*/ 1191762 h 1608169"/>
                <a:gd name="connsiteX1574" fmla="*/ 902701 w 4042302"/>
                <a:gd name="connsiteY1574" fmla="*/ 1191762 h 1608169"/>
                <a:gd name="connsiteX1575" fmla="*/ 902701 w 4042302"/>
                <a:gd name="connsiteY1575" fmla="*/ 1187323 h 1608169"/>
                <a:gd name="connsiteX1576" fmla="*/ 903842 w 4042302"/>
                <a:gd name="connsiteY1576" fmla="*/ 1188084 h 1608169"/>
                <a:gd name="connsiteX1577" fmla="*/ 899910 w 4042302"/>
                <a:gd name="connsiteY1577" fmla="*/ 1188084 h 1608169"/>
                <a:gd name="connsiteX1578" fmla="*/ 899910 w 4042302"/>
                <a:gd name="connsiteY1578" fmla="*/ 1183645 h 1608169"/>
                <a:gd name="connsiteX1579" fmla="*/ 901052 w 4042302"/>
                <a:gd name="connsiteY1579" fmla="*/ 1184406 h 1608169"/>
                <a:gd name="connsiteX1580" fmla="*/ 871499 w 4042302"/>
                <a:gd name="connsiteY1580" fmla="*/ 1184406 h 1608169"/>
                <a:gd name="connsiteX1581" fmla="*/ 871499 w 4042302"/>
                <a:gd name="connsiteY1581" fmla="*/ 1179967 h 1608169"/>
                <a:gd name="connsiteX1582" fmla="*/ 872513 w 4042302"/>
                <a:gd name="connsiteY1582" fmla="*/ 1180728 h 1608169"/>
                <a:gd name="connsiteX1583" fmla="*/ 867313 w 4042302"/>
                <a:gd name="connsiteY1583" fmla="*/ 1180728 h 1608169"/>
                <a:gd name="connsiteX1584" fmla="*/ 867313 w 4042302"/>
                <a:gd name="connsiteY1584" fmla="*/ 1176288 h 1608169"/>
                <a:gd name="connsiteX1585" fmla="*/ 868454 w 4042302"/>
                <a:gd name="connsiteY1585" fmla="*/ 1177049 h 1608169"/>
                <a:gd name="connsiteX1586" fmla="*/ 865918 w 4042302"/>
                <a:gd name="connsiteY1586" fmla="*/ 1177049 h 1608169"/>
                <a:gd name="connsiteX1587" fmla="*/ 865918 w 4042302"/>
                <a:gd name="connsiteY1587" fmla="*/ 1172610 h 1608169"/>
                <a:gd name="connsiteX1588" fmla="*/ 867059 w 4042302"/>
                <a:gd name="connsiteY1588" fmla="*/ 1173371 h 1608169"/>
                <a:gd name="connsiteX1589" fmla="*/ 864649 w 4042302"/>
                <a:gd name="connsiteY1589" fmla="*/ 1173371 h 1608169"/>
                <a:gd name="connsiteX1590" fmla="*/ 864649 w 4042302"/>
                <a:gd name="connsiteY1590" fmla="*/ 1169059 h 1608169"/>
                <a:gd name="connsiteX1591" fmla="*/ 865791 w 4042302"/>
                <a:gd name="connsiteY1591" fmla="*/ 1169820 h 1608169"/>
                <a:gd name="connsiteX1592" fmla="*/ 864396 w 4042302"/>
                <a:gd name="connsiteY1592" fmla="*/ 1169820 h 1608169"/>
                <a:gd name="connsiteX1593" fmla="*/ 853615 w 4042302"/>
                <a:gd name="connsiteY1593" fmla="*/ 1169820 h 1608169"/>
                <a:gd name="connsiteX1594" fmla="*/ 839916 w 4042302"/>
                <a:gd name="connsiteY1594" fmla="*/ 1169820 h 1608169"/>
                <a:gd name="connsiteX1595" fmla="*/ 836111 w 4042302"/>
                <a:gd name="connsiteY1595" fmla="*/ 1169820 h 1608169"/>
                <a:gd name="connsiteX1596" fmla="*/ 836111 w 4042302"/>
                <a:gd name="connsiteY1596" fmla="*/ 1165380 h 1608169"/>
                <a:gd name="connsiteX1597" fmla="*/ 837253 w 4042302"/>
                <a:gd name="connsiteY1597" fmla="*/ 1166141 h 1608169"/>
                <a:gd name="connsiteX1598" fmla="*/ 832052 w 4042302"/>
                <a:gd name="connsiteY1598" fmla="*/ 1166141 h 1608169"/>
                <a:gd name="connsiteX1599" fmla="*/ 832052 w 4042302"/>
                <a:gd name="connsiteY1599" fmla="*/ 1161829 h 1608169"/>
                <a:gd name="connsiteX1600" fmla="*/ 833067 w 4042302"/>
                <a:gd name="connsiteY1600" fmla="*/ 1162590 h 1608169"/>
                <a:gd name="connsiteX1601" fmla="*/ 829135 w 4042302"/>
                <a:gd name="connsiteY1601" fmla="*/ 1162590 h 1608169"/>
                <a:gd name="connsiteX1602" fmla="*/ 825203 w 4042302"/>
                <a:gd name="connsiteY1602" fmla="*/ 1162590 h 1608169"/>
                <a:gd name="connsiteX1603" fmla="*/ 825203 w 4042302"/>
                <a:gd name="connsiteY1603" fmla="*/ 1158151 h 1608169"/>
                <a:gd name="connsiteX1604" fmla="*/ 826345 w 4042302"/>
                <a:gd name="connsiteY1604" fmla="*/ 1158912 h 1608169"/>
                <a:gd name="connsiteX1605" fmla="*/ 819749 w 4042302"/>
                <a:gd name="connsiteY1605" fmla="*/ 1158912 h 1608169"/>
                <a:gd name="connsiteX1606" fmla="*/ 819749 w 4042302"/>
                <a:gd name="connsiteY1606" fmla="*/ 1154599 h 1608169"/>
                <a:gd name="connsiteX1607" fmla="*/ 820891 w 4042302"/>
                <a:gd name="connsiteY1607" fmla="*/ 1155360 h 1608169"/>
                <a:gd name="connsiteX1608" fmla="*/ 818354 w 4042302"/>
                <a:gd name="connsiteY1608" fmla="*/ 1155360 h 1608169"/>
                <a:gd name="connsiteX1609" fmla="*/ 818354 w 4042302"/>
                <a:gd name="connsiteY1609" fmla="*/ 1151048 h 1608169"/>
                <a:gd name="connsiteX1610" fmla="*/ 819495 w 4042302"/>
                <a:gd name="connsiteY1610" fmla="*/ 1151809 h 1608169"/>
                <a:gd name="connsiteX1611" fmla="*/ 818227 w 4042302"/>
                <a:gd name="connsiteY1611" fmla="*/ 1151809 h 1608169"/>
                <a:gd name="connsiteX1612" fmla="*/ 815690 w 4042302"/>
                <a:gd name="connsiteY1612" fmla="*/ 1151809 h 1608169"/>
                <a:gd name="connsiteX1613" fmla="*/ 815690 w 4042302"/>
                <a:gd name="connsiteY1613" fmla="*/ 1147369 h 1608169"/>
                <a:gd name="connsiteX1614" fmla="*/ 816832 w 4042302"/>
                <a:gd name="connsiteY1614" fmla="*/ 1148257 h 1608169"/>
                <a:gd name="connsiteX1615" fmla="*/ 810236 w 4042302"/>
                <a:gd name="connsiteY1615" fmla="*/ 1148257 h 1608169"/>
                <a:gd name="connsiteX1616" fmla="*/ 810236 w 4042302"/>
                <a:gd name="connsiteY1616" fmla="*/ 1140267 h 1608169"/>
                <a:gd name="connsiteX1617" fmla="*/ 811378 w 4042302"/>
                <a:gd name="connsiteY1617" fmla="*/ 1141028 h 1608169"/>
                <a:gd name="connsiteX1618" fmla="*/ 807573 w 4042302"/>
                <a:gd name="connsiteY1618" fmla="*/ 1141028 h 1608169"/>
                <a:gd name="connsiteX1619" fmla="*/ 807573 w 4042302"/>
                <a:gd name="connsiteY1619" fmla="*/ 1136715 h 1608169"/>
                <a:gd name="connsiteX1620" fmla="*/ 808587 w 4042302"/>
                <a:gd name="connsiteY1620" fmla="*/ 1137476 h 1608169"/>
                <a:gd name="connsiteX1621" fmla="*/ 806304 w 4042302"/>
                <a:gd name="connsiteY1621" fmla="*/ 1137476 h 1608169"/>
                <a:gd name="connsiteX1622" fmla="*/ 806304 w 4042302"/>
                <a:gd name="connsiteY1622" fmla="*/ 1133164 h 1608169"/>
                <a:gd name="connsiteX1623" fmla="*/ 807319 w 4042302"/>
                <a:gd name="connsiteY1623" fmla="*/ 1133925 h 1608169"/>
                <a:gd name="connsiteX1624" fmla="*/ 799455 w 4042302"/>
                <a:gd name="connsiteY1624" fmla="*/ 1133925 h 1608169"/>
                <a:gd name="connsiteX1625" fmla="*/ 799455 w 4042302"/>
                <a:gd name="connsiteY1625" fmla="*/ 1129612 h 1608169"/>
                <a:gd name="connsiteX1626" fmla="*/ 800470 w 4042302"/>
                <a:gd name="connsiteY1626" fmla="*/ 1130373 h 1608169"/>
                <a:gd name="connsiteX1627" fmla="*/ 795269 w 4042302"/>
                <a:gd name="connsiteY1627" fmla="*/ 1130373 h 1608169"/>
                <a:gd name="connsiteX1628" fmla="*/ 795269 w 4042302"/>
                <a:gd name="connsiteY1628" fmla="*/ 1126061 h 1608169"/>
                <a:gd name="connsiteX1629" fmla="*/ 796411 w 4042302"/>
                <a:gd name="connsiteY1629" fmla="*/ 1126822 h 1608169"/>
                <a:gd name="connsiteX1630" fmla="*/ 791211 w 4042302"/>
                <a:gd name="connsiteY1630" fmla="*/ 1126822 h 1608169"/>
                <a:gd name="connsiteX1631" fmla="*/ 791211 w 4042302"/>
                <a:gd name="connsiteY1631" fmla="*/ 1122383 h 1608169"/>
                <a:gd name="connsiteX1632" fmla="*/ 792352 w 4042302"/>
                <a:gd name="connsiteY1632" fmla="*/ 1123144 h 1608169"/>
                <a:gd name="connsiteX1633" fmla="*/ 790957 w 4042302"/>
                <a:gd name="connsiteY1633" fmla="*/ 1123144 h 1608169"/>
                <a:gd name="connsiteX1634" fmla="*/ 788547 w 4042302"/>
                <a:gd name="connsiteY1634" fmla="*/ 1123144 h 1608169"/>
                <a:gd name="connsiteX1635" fmla="*/ 788547 w 4042302"/>
                <a:gd name="connsiteY1635" fmla="*/ 1118831 h 1608169"/>
                <a:gd name="connsiteX1636" fmla="*/ 789689 w 4042302"/>
                <a:gd name="connsiteY1636" fmla="*/ 1119719 h 1608169"/>
                <a:gd name="connsiteX1637" fmla="*/ 785757 w 4042302"/>
                <a:gd name="connsiteY1637" fmla="*/ 1119719 h 1608169"/>
                <a:gd name="connsiteX1638" fmla="*/ 785757 w 4042302"/>
                <a:gd name="connsiteY1638" fmla="*/ 1115280 h 1608169"/>
                <a:gd name="connsiteX1639" fmla="*/ 786898 w 4042302"/>
                <a:gd name="connsiteY1639" fmla="*/ 1116168 h 1608169"/>
                <a:gd name="connsiteX1640" fmla="*/ 780429 w 4042302"/>
                <a:gd name="connsiteY1640" fmla="*/ 1116168 h 1608169"/>
                <a:gd name="connsiteX1641" fmla="*/ 780429 w 4042302"/>
                <a:gd name="connsiteY1641" fmla="*/ 1108304 h 1608169"/>
                <a:gd name="connsiteX1642" fmla="*/ 781444 w 4042302"/>
                <a:gd name="connsiteY1642" fmla="*/ 1109065 h 1608169"/>
                <a:gd name="connsiteX1643" fmla="*/ 777639 w 4042302"/>
                <a:gd name="connsiteY1643" fmla="*/ 1109065 h 1608169"/>
                <a:gd name="connsiteX1644" fmla="*/ 777639 w 4042302"/>
                <a:gd name="connsiteY1644" fmla="*/ 1104752 h 1608169"/>
                <a:gd name="connsiteX1645" fmla="*/ 778781 w 4042302"/>
                <a:gd name="connsiteY1645" fmla="*/ 1105513 h 1608169"/>
                <a:gd name="connsiteX1646" fmla="*/ 773327 w 4042302"/>
                <a:gd name="connsiteY1646" fmla="*/ 1105513 h 1608169"/>
                <a:gd name="connsiteX1647" fmla="*/ 766858 w 4042302"/>
                <a:gd name="connsiteY1647" fmla="*/ 1105513 h 1608169"/>
                <a:gd name="connsiteX1648" fmla="*/ 766858 w 4042302"/>
                <a:gd name="connsiteY1648" fmla="*/ 1101201 h 1608169"/>
                <a:gd name="connsiteX1649" fmla="*/ 767873 w 4042302"/>
                <a:gd name="connsiteY1649" fmla="*/ 1101962 h 1608169"/>
                <a:gd name="connsiteX1650" fmla="*/ 765463 w 4042302"/>
                <a:gd name="connsiteY1650" fmla="*/ 1101962 h 1608169"/>
                <a:gd name="connsiteX1651" fmla="*/ 765463 w 4042302"/>
                <a:gd name="connsiteY1651" fmla="*/ 1097649 h 1608169"/>
                <a:gd name="connsiteX1652" fmla="*/ 766477 w 4042302"/>
                <a:gd name="connsiteY1652" fmla="*/ 1098410 h 1608169"/>
                <a:gd name="connsiteX1653" fmla="*/ 764067 w 4042302"/>
                <a:gd name="connsiteY1653" fmla="*/ 1098410 h 1608169"/>
                <a:gd name="connsiteX1654" fmla="*/ 764067 w 4042302"/>
                <a:gd name="connsiteY1654" fmla="*/ 1094225 h 1608169"/>
                <a:gd name="connsiteX1655" fmla="*/ 765209 w 4042302"/>
                <a:gd name="connsiteY1655" fmla="*/ 1094986 h 1608169"/>
                <a:gd name="connsiteX1656" fmla="*/ 749101 w 4042302"/>
                <a:gd name="connsiteY1656" fmla="*/ 1094986 h 1608169"/>
                <a:gd name="connsiteX1657" fmla="*/ 749101 w 4042302"/>
                <a:gd name="connsiteY1657" fmla="*/ 1090673 h 1608169"/>
                <a:gd name="connsiteX1658" fmla="*/ 750115 w 4042302"/>
                <a:gd name="connsiteY1658" fmla="*/ 1091434 h 1608169"/>
                <a:gd name="connsiteX1659" fmla="*/ 748847 w 4042302"/>
                <a:gd name="connsiteY1659" fmla="*/ 1091434 h 1608169"/>
                <a:gd name="connsiteX1660" fmla="*/ 747579 w 4042302"/>
                <a:gd name="connsiteY1660" fmla="*/ 1091434 h 1608169"/>
                <a:gd name="connsiteX1661" fmla="*/ 733880 w 4042302"/>
                <a:gd name="connsiteY1661" fmla="*/ 1091434 h 1608169"/>
                <a:gd name="connsiteX1662" fmla="*/ 728680 w 4042302"/>
                <a:gd name="connsiteY1662" fmla="*/ 1091434 h 1608169"/>
                <a:gd name="connsiteX1663" fmla="*/ 728680 w 4042302"/>
                <a:gd name="connsiteY1663" fmla="*/ 1087122 h 1608169"/>
                <a:gd name="connsiteX1664" fmla="*/ 729821 w 4042302"/>
                <a:gd name="connsiteY1664" fmla="*/ 1088010 h 1608169"/>
                <a:gd name="connsiteX1665" fmla="*/ 720562 w 4042302"/>
                <a:gd name="connsiteY1665" fmla="*/ 1088010 h 1608169"/>
                <a:gd name="connsiteX1666" fmla="*/ 720562 w 4042302"/>
                <a:gd name="connsiteY1666" fmla="*/ 1083697 h 1608169"/>
                <a:gd name="connsiteX1667" fmla="*/ 721704 w 4042302"/>
                <a:gd name="connsiteY1667" fmla="*/ 1084458 h 1608169"/>
                <a:gd name="connsiteX1668" fmla="*/ 720309 w 4042302"/>
                <a:gd name="connsiteY1668" fmla="*/ 1084458 h 1608169"/>
                <a:gd name="connsiteX1669" fmla="*/ 717899 w 4042302"/>
                <a:gd name="connsiteY1669" fmla="*/ 1084458 h 1608169"/>
                <a:gd name="connsiteX1670" fmla="*/ 717899 w 4042302"/>
                <a:gd name="connsiteY1670" fmla="*/ 1080273 h 1608169"/>
                <a:gd name="connsiteX1671" fmla="*/ 718913 w 4042302"/>
                <a:gd name="connsiteY1671" fmla="*/ 1081034 h 1608169"/>
                <a:gd name="connsiteX1672" fmla="*/ 711049 w 4042302"/>
                <a:gd name="connsiteY1672" fmla="*/ 1081034 h 1608169"/>
                <a:gd name="connsiteX1673" fmla="*/ 711049 w 4042302"/>
                <a:gd name="connsiteY1673" fmla="*/ 1076848 h 1608169"/>
                <a:gd name="connsiteX1674" fmla="*/ 712191 w 4042302"/>
                <a:gd name="connsiteY1674" fmla="*/ 1077609 h 1608169"/>
                <a:gd name="connsiteX1675" fmla="*/ 701537 w 4042302"/>
                <a:gd name="connsiteY1675" fmla="*/ 1077609 h 1608169"/>
                <a:gd name="connsiteX1676" fmla="*/ 701537 w 4042302"/>
                <a:gd name="connsiteY1676" fmla="*/ 1069872 h 1608169"/>
                <a:gd name="connsiteX1677" fmla="*/ 702551 w 4042302"/>
                <a:gd name="connsiteY1677" fmla="*/ 1070760 h 1608169"/>
                <a:gd name="connsiteX1678" fmla="*/ 698873 w 4042302"/>
                <a:gd name="connsiteY1678" fmla="*/ 1070760 h 1608169"/>
                <a:gd name="connsiteX1679" fmla="*/ 698873 w 4042302"/>
                <a:gd name="connsiteY1679" fmla="*/ 1066447 h 1608169"/>
                <a:gd name="connsiteX1680" fmla="*/ 699888 w 4042302"/>
                <a:gd name="connsiteY1680" fmla="*/ 1067208 h 1608169"/>
                <a:gd name="connsiteX1681" fmla="*/ 691770 w 4042302"/>
                <a:gd name="connsiteY1681" fmla="*/ 1067208 h 1608169"/>
                <a:gd name="connsiteX1682" fmla="*/ 687965 w 4042302"/>
                <a:gd name="connsiteY1682" fmla="*/ 1067208 h 1608169"/>
                <a:gd name="connsiteX1683" fmla="*/ 687965 w 4042302"/>
                <a:gd name="connsiteY1683" fmla="*/ 1063023 h 1608169"/>
                <a:gd name="connsiteX1684" fmla="*/ 689107 w 4042302"/>
                <a:gd name="connsiteY1684" fmla="*/ 1063784 h 1608169"/>
                <a:gd name="connsiteX1685" fmla="*/ 686570 w 4042302"/>
                <a:gd name="connsiteY1685" fmla="*/ 1063784 h 1608169"/>
                <a:gd name="connsiteX1686" fmla="*/ 686570 w 4042302"/>
                <a:gd name="connsiteY1686" fmla="*/ 1059598 h 1608169"/>
                <a:gd name="connsiteX1687" fmla="*/ 687711 w 4042302"/>
                <a:gd name="connsiteY1687" fmla="*/ 1060359 h 1608169"/>
                <a:gd name="connsiteX1688" fmla="*/ 682511 w 4042302"/>
                <a:gd name="connsiteY1688" fmla="*/ 1060359 h 1608169"/>
                <a:gd name="connsiteX1689" fmla="*/ 682511 w 4042302"/>
                <a:gd name="connsiteY1689" fmla="*/ 1056173 h 1608169"/>
                <a:gd name="connsiteX1690" fmla="*/ 683653 w 4042302"/>
                <a:gd name="connsiteY1690" fmla="*/ 1056935 h 1608169"/>
                <a:gd name="connsiteX1691" fmla="*/ 672998 w 4042302"/>
                <a:gd name="connsiteY1691" fmla="*/ 1056935 h 1608169"/>
                <a:gd name="connsiteX1692" fmla="*/ 672998 w 4042302"/>
                <a:gd name="connsiteY1692" fmla="*/ 1052749 h 1608169"/>
                <a:gd name="connsiteX1693" fmla="*/ 674140 w 4042302"/>
                <a:gd name="connsiteY1693" fmla="*/ 1053510 h 1608169"/>
                <a:gd name="connsiteX1694" fmla="*/ 671603 w 4042302"/>
                <a:gd name="connsiteY1694" fmla="*/ 1053510 h 1608169"/>
                <a:gd name="connsiteX1695" fmla="*/ 671603 w 4042302"/>
                <a:gd name="connsiteY1695" fmla="*/ 1049197 h 1608169"/>
                <a:gd name="connsiteX1696" fmla="*/ 672745 w 4042302"/>
                <a:gd name="connsiteY1696" fmla="*/ 1050085 h 1608169"/>
                <a:gd name="connsiteX1697" fmla="*/ 670208 w 4042302"/>
                <a:gd name="connsiteY1697" fmla="*/ 1050085 h 1608169"/>
                <a:gd name="connsiteX1698" fmla="*/ 670208 w 4042302"/>
                <a:gd name="connsiteY1698" fmla="*/ 1045773 h 1608169"/>
                <a:gd name="connsiteX1699" fmla="*/ 671349 w 4042302"/>
                <a:gd name="connsiteY1699" fmla="*/ 1046661 h 1608169"/>
                <a:gd name="connsiteX1700" fmla="*/ 668559 w 4042302"/>
                <a:gd name="connsiteY1700" fmla="*/ 1046661 h 1608169"/>
                <a:gd name="connsiteX1701" fmla="*/ 663485 w 4042302"/>
                <a:gd name="connsiteY1701" fmla="*/ 1046661 h 1608169"/>
                <a:gd name="connsiteX1702" fmla="*/ 663485 w 4042302"/>
                <a:gd name="connsiteY1702" fmla="*/ 1042475 h 1608169"/>
                <a:gd name="connsiteX1703" fmla="*/ 664627 w 4042302"/>
                <a:gd name="connsiteY1703" fmla="*/ 1043236 h 1608169"/>
                <a:gd name="connsiteX1704" fmla="*/ 662090 w 4042302"/>
                <a:gd name="connsiteY1704" fmla="*/ 1043236 h 1608169"/>
                <a:gd name="connsiteX1705" fmla="*/ 662090 w 4042302"/>
                <a:gd name="connsiteY1705" fmla="*/ 1039050 h 1608169"/>
                <a:gd name="connsiteX1706" fmla="*/ 663232 w 4042302"/>
                <a:gd name="connsiteY1706" fmla="*/ 1039811 h 1608169"/>
                <a:gd name="connsiteX1707" fmla="*/ 660822 w 4042302"/>
                <a:gd name="connsiteY1707" fmla="*/ 1039811 h 1608169"/>
                <a:gd name="connsiteX1708" fmla="*/ 660822 w 4042302"/>
                <a:gd name="connsiteY1708" fmla="*/ 1035499 h 1608169"/>
                <a:gd name="connsiteX1709" fmla="*/ 661837 w 4042302"/>
                <a:gd name="connsiteY1709" fmla="*/ 1036260 h 1608169"/>
                <a:gd name="connsiteX1710" fmla="*/ 657778 w 4042302"/>
                <a:gd name="connsiteY1710" fmla="*/ 1036260 h 1608169"/>
                <a:gd name="connsiteX1711" fmla="*/ 651056 w 4042302"/>
                <a:gd name="connsiteY1711" fmla="*/ 1036260 h 1608169"/>
                <a:gd name="connsiteX1712" fmla="*/ 645728 w 4042302"/>
                <a:gd name="connsiteY1712" fmla="*/ 1036260 h 1608169"/>
                <a:gd name="connsiteX1713" fmla="*/ 645728 w 4042302"/>
                <a:gd name="connsiteY1713" fmla="*/ 1032201 h 1608169"/>
                <a:gd name="connsiteX1714" fmla="*/ 646870 w 4042302"/>
                <a:gd name="connsiteY1714" fmla="*/ 1032962 h 1608169"/>
                <a:gd name="connsiteX1715" fmla="*/ 644460 w 4042302"/>
                <a:gd name="connsiteY1715" fmla="*/ 1032962 h 1608169"/>
                <a:gd name="connsiteX1716" fmla="*/ 644460 w 4042302"/>
                <a:gd name="connsiteY1716" fmla="*/ 1028777 h 1608169"/>
                <a:gd name="connsiteX1717" fmla="*/ 645475 w 4042302"/>
                <a:gd name="connsiteY1717" fmla="*/ 1029538 h 1608169"/>
                <a:gd name="connsiteX1718" fmla="*/ 639006 w 4042302"/>
                <a:gd name="connsiteY1718" fmla="*/ 1029538 h 1608169"/>
                <a:gd name="connsiteX1719" fmla="*/ 639006 w 4042302"/>
                <a:gd name="connsiteY1719" fmla="*/ 1025352 h 1608169"/>
                <a:gd name="connsiteX1720" fmla="*/ 640147 w 4042302"/>
                <a:gd name="connsiteY1720" fmla="*/ 1026113 h 1608169"/>
                <a:gd name="connsiteX1721" fmla="*/ 628225 w 4042302"/>
                <a:gd name="connsiteY1721" fmla="*/ 1026113 h 1608169"/>
                <a:gd name="connsiteX1722" fmla="*/ 628225 w 4042302"/>
                <a:gd name="connsiteY1722" fmla="*/ 1021927 h 1608169"/>
                <a:gd name="connsiteX1723" fmla="*/ 629239 w 4042302"/>
                <a:gd name="connsiteY1723" fmla="*/ 1022688 h 1608169"/>
                <a:gd name="connsiteX1724" fmla="*/ 626830 w 4042302"/>
                <a:gd name="connsiteY1724" fmla="*/ 1022688 h 1608169"/>
                <a:gd name="connsiteX1725" fmla="*/ 626830 w 4042302"/>
                <a:gd name="connsiteY1725" fmla="*/ 1018503 h 1608169"/>
                <a:gd name="connsiteX1726" fmla="*/ 627844 w 4042302"/>
                <a:gd name="connsiteY1726" fmla="*/ 1019264 h 1608169"/>
                <a:gd name="connsiteX1727" fmla="*/ 624039 w 4042302"/>
                <a:gd name="connsiteY1727" fmla="*/ 1019264 h 1608169"/>
                <a:gd name="connsiteX1728" fmla="*/ 624039 w 4042302"/>
                <a:gd name="connsiteY1728" fmla="*/ 1015078 h 1608169"/>
                <a:gd name="connsiteX1729" fmla="*/ 625181 w 4042302"/>
                <a:gd name="connsiteY1729" fmla="*/ 1015966 h 1608169"/>
                <a:gd name="connsiteX1730" fmla="*/ 619980 w 4042302"/>
                <a:gd name="connsiteY1730" fmla="*/ 1015966 h 1608169"/>
                <a:gd name="connsiteX1731" fmla="*/ 619980 w 4042302"/>
                <a:gd name="connsiteY1731" fmla="*/ 1011654 h 1608169"/>
                <a:gd name="connsiteX1732" fmla="*/ 620995 w 4042302"/>
                <a:gd name="connsiteY1732" fmla="*/ 1012542 h 1608169"/>
                <a:gd name="connsiteX1733" fmla="*/ 602350 w 4042302"/>
                <a:gd name="connsiteY1733" fmla="*/ 1012542 h 1608169"/>
                <a:gd name="connsiteX1734" fmla="*/ 602350 w 4042302"/>
                <a:gd name="connsiteY1734" fmla="*/ 1008356 h 1608169"/>
                <a:gd name="connsiteX1735" fmla="*/ 603365 w 4042302"/>
                <a:gd name="connsiteY1735" fmla="*/ 1009117 h 1608169"/>
                <a:gd name="connsiteX1736" fmla="*/ 600955 w 4042302"/>
                <a:gd name="connsiteY1736" fmla="*/ 1009117 h 1608169"/>
                <a:gd name="connsiteX1737" fmla="*/ 600955 w 4042302"/>
                <a:gd name="connsiteY1737" fmla="*/ 1004931 h 1608169"/>
                <a:gd name="connsiteX1738" fmla="*/ 602096 w 4042302"/>
                <a:gd name="connsiteY1738" fmla="*/ 1005692 h 1608169"/>
                <a:gd name="connsiteX1739" fmla="*/ 592837 w 4042302"/>
                <a:gd name="connsiteY1739" fmla="*/ 1005692 h 1608169"/>
                <a:gd name="connsiteX1740" fmla="*/ 592837 w 4042302"/>
                <a:gd name="connsiteY1740" fmla="*/ 1001507 h 1608169"/>
                <a:gd name="connsiteX1741" fmla="*/ 593979 w 4042302"/>
                <a:gd name="connsiteY1741" fmla="*/ 1002268 h 1608169"/>
                <a:gd name="connsiteX1742" fmla="*/ 591442 w 4042302"/>
                <a:gd name="connsiteY1742" fmla="*/ 1002268 h 1608169"/>
                <a:gd name="connsiteX1743" fmla="*/ 591442 w 4042302"/>
                <a:gd name="connsiteY1743" fmla="*/ 998082 h 1608169"/>
                <a:gd name="connsiteX1744" fmla="*/ 592584 w 4042302"/>
                <a:gd name="connsiteY1744" fmla="*/ 998970 h 1608169"/>
                <a:gd name="connsiteX1745" fmla="*/ 581929 w 4042302"/>
                <a:gd name="connsiteY1745" fmla="*/ 998970 h 1608169"/>
                <a:gd name="connsiteX1746" fmla="*/ 581929 w 4042302"/>
                <a:gd name="connsiteY1746" fmla="*/ 994657 h 1608169"/>
                <a:gd name="connsiteX1747" fmla="*/ 583071 w 4042302"/>
                <a:gd name="connsiteY1747" fmla="*/ 995545 h 1608169"/>
                <a:gd name="connsiteX1748" fmla="*/ 581676 w 4042302"/>
                <a:gd name="connsiteY1748" fmla="*/ 995545 h 1608169"/>
                <a:gd name="connsiteX1749" fmla="*/ 577870 w 4042302"/>
                <a:gd name="connsiteY1749" fmla="*/ 995545 h 1608169"/>
                <a:gd name="connsiteX1750" fmla="*/ 577870 w 4042302"/>
                <a:gd name="connsiteY1750" fmla="*/ 991360 h 1608169"/>
                <a:gd name="connsiteX1751" fmla="*/ 578885 w 4042302"/>
                <a:gd name="connsiteY1751" fmla="*/ 992121 h 1608169"/>
                <a:gd name="connsiteX1752" fmla="*/ 576475 w 4042302"/>
                <a:gd name="connsiteY1752" fmla="*/ 992121 h 1608169"/>
                <a:gd name="connsiteX1753" fmla="*/ 576475 w 4042302"/>
                <a:gd name="connsiteY1753" fmla="*/ 987935 h 1608169"/>
                <a:gd name="connsiteX1754" fmla="*/ 577617 w 4042302"/>
                <a:gd name="connsiteY1754" fmla="*/ 988696 h 1608169"/>
                <a:gd name="connsiteX1755" fmla="*/ 571148 w 4042302"/>
                <a:gd name="connsiteY1755" fmla="*/ 988696 h 1608169"/>
                <a:gd name="connsiteX1756" fmla="*/ 571148 w 4042302"/>
                <a:gd name="connsiteY1756" fmla="*/ 984510 h 1608169"/>
                <a:gd name="connsiteX1757" fmla="*/ 572163 w 4042302"/>
                <a:gd name="connsiteY1757" fmla="*/ 985271 h 1608169"/>
                <a:gd name="connsiteX1758" fmla="*/ 569753 w 4042302"/>
                <a:gd name="connsiteY1758" fmla="*/ 985271 h 1608169"/>
                <a:gd name="connsiteX1759" fmla="*/ 569753 w 4042302"/>
                <a:gd name="connsiteY1759" fmla="*/ 981086 h 1608169"/>
                <a:gd name="connsiteX1760" fmla="*/ 570768 w 4042302"/>
                <a:gd name="connsiteY1760" fmla="*/ 981974 h 1608169"/>
                <a:gd name="connsiteX1761" fmla="*/ 568358 w 4042302"/>
                <a:gd name="connsiteY1761" fmla="*/ 981974 h 1608169"/>
                <a:gd name="connsiteX1762" fmla="*/ 568358 w 4042302"/>
                <a:gd name="connsiteY1762" fmla="*/ 977788 h 1608169"/>
                <a:gd name="connsiteX1763" fmla="*/ 569499 w 4042302"/>
                <a:gd name="connsiteY1763" fmla="*/ 978549 h 1608169"/>
                <a:gd name="connsiteX1764" fmla="*/ 568104 w 4042302"/>
                <a:gd name="connsiteY1764" fmla="*/ 978549 h 1608169"/>
                <a:gd name="connsiteX1765" fmla="*/ 565314 w 4042302"/>
                <a:gd name="connsiteY1765" fmla="*/ 978549 h 1608169"/>
                <a:gd name="connsiteX1766" fmla="*/ 562904 w 4042302"/>
                <a:gd name="connsiteY1766" fmla="*/ 978549 h 1608169"/>
                <a:gd name="connsiteX1767" fmla="*/ 562904 w 4042302"/>
                <a:gd name="connsiteY1767" fmla="*/ 974363 h 1608169"/>
                <a:gd name="connsiteX1768" fmla="*/ 563918 w 4042302"/>
                <a:gd name="connsiteY1768" fmla="*/ 975124 h 1608169"/>
                <a:gd name="connsiteX1769" fmla="*/ 562650 w 4042302"/>
                <a:gd name="connsiteY1769" fmla="*/ 975124 h 1608169"/>
                <a:gd name="connsiteX1770" fmla="*/ 560240 w 4042302"/>
                <a:gd name="connsiteY1770" fmla="*/ 975124 h 1608169"/>
                <a:gd name="connsiteX1771" fmla="*/ 560240 w 4042302"/>
                <a:gd name="connsiteY1771" fmla="*/ 971066 h 1608169"/>
                <a:gd name="connsiteX1772" fmla="*/ 561255 w 4042302"/>
                <a:gd name="connsiteY1772" fmla="*/ 971827 h 1608169"/>
                <a:gd name="connsiteX1773" fmla="*/ 557450 w 4042302"/>
                <a:gd name="connsiteY1773" fmla="*/ 971827 h 1608169"/>
                <a:gd name="connsiteX1774" fmla="*/ 557450 w 4042302"/>
                <a:gd name="connsiteY1774" fmla="*/ 967641 h 1608169"/>
                <a:gd name="connsiteX1775" fmla="*/ 558591 w 4042302"/>
                <a:gd name="connsiteY1775" fmla="*/ 968402 h 1608169"/>
                <a:gd name="connsiteX1776" fmla="*/ 554406 w 4042302"/>
                <a:gd name="connsiteY1776" fmla="*/ 968402 h 1608169"/>
                <a:gd name="connsiteX1777" fmla="*/ 550600 w 4042302"/>
                <a:gd name="connsiteY1777" fmla="*/ 968402 h 1608169"/>
                <a:gd name="connsiteX1778" fmla="*/ 550600 w 4042302"/>
                <a:gd name="connsiteY1778" fmla="*/ 964343 h 1608169"/>
                <a:gd name="connsiteX1779" fmla="*/ 551742 w 4042302"/>
                <a:gd name="connsiteY1779" fmla="*/ 965104 h 1608169"/>
                <a:gd name="connsiteX1780" fmla="*/ 547937 w 4042302"/>
                <a:gd name="connsiteY1780" fmla="*/ 965104 h 1608169"/>
                <a:gd name="connsiteX1781" fmla="*/ 547937 w 4042302"/>
                <a:gd name="connsiteY1781" fmla="*/ 960919 h 1608169"/>
                <a:gd name="connsiteX1782" fmla="*/ 549078 w 4042302"/>
                <a:gd name="connsiteY1782" fmla="*/ 961807 h 1608169"/>
                <a:gd name="connsiteX1783" fmla="*/ 543878 w 4042302"/>
                <a:gd name="connsiteY1783" fmla="*/ 961807 h 1608169"/>
                <a:gd name="connsiteX1784" fmla="*/ 543878 w 4042302"/>
                <a:gd name="connsiteY1784" fmla="*/ 954196 h 1608169"/>
                <a:gd name="connsiteX1785" fmla="*/ 545020 w 4042302"/>
                <a:gd name="connsiteY1785" fmla="*/ 954957 h 1608169"/>
                <a:gd name="connsiteX1786" fmla="*/ 542483 w 4042302"/>
                <a:gd name="connsiteY1786" fmla="*/ 954957 h 1608169"/>
                <a:gd name="connsiteX1787" fmla="*/ 542483 w 4042302"/>
                <a:gd name="connsiteY1787" fmla="*/ 950899 h 1608169"/>
                <a:gd name="connsiteX1788" fmla="*/ 543624 w 4042302"/>
                <a:gd name="connsiteY1788" fmla="*/ 951660 h 1608169"/>
                <a:gd name="connsiteX1789" fmla="*/ 531575 w 4042302"/>
                <a:gd name="connsiteY1789" fmla="*/ 951660 h 1608169"/>
                <a:gd name="connsiteX1790" fmla="*/ 531575 w 4042302"/>
                <a:gd name="connsiteY1790" fmla="*/ 947474 h 1608169"/>
                <a:gd name="connsiteX1791" fmla="*/ 532716 w 4042302"/>
                <a:gd name="connsiteY1791" fmla="*/ 948362 h 1608169"/>
                <a:gd name="connsiteX1792" fmla="*/ 531321 w 4042302"/>
                <a:gd name="connsiteY1792" fmla="*/ 948362 h 1608169"/>
                <a:gd name="connsiteX1793" fmla="*/ 527516 w 4042302"/>
                <a:gd name="connsiteY1793" fmla="*/ 948362 h 1608169"/>
                <a:gd name="connsiteX1794" fmla="*/ 527516 w 4042302"/>
                <a:gd name="connsiteY1794" fmla="*/ 944176 h 1608169"/>
                <a:gd name="connsiteX1795" fmla="*/ 528658 w 4042302"/>
                <a:gd name="connsiteY1795" fmla="*/ 944937 h 1608169"/>
                <a:gd name="connsiteX1796" fmla="*/ 523457 w 4042302"/>
                <a:gd name="connsiteY1796" fmla="*/ 944937 h 1608169"/>
                <a:gd name="connsiteX1797" fmla="*/ 523457 w 4042302"/>
                <a:gd name="connsiteY1797" fmla="*/ 937454 h 1608169"/>
                <a:gd name="connsiteX1798" fmla="*/ 524599 w 4042302"/>
                <a:gd name="connsiteY1798" fmla="*/ 938215 h 1608169"/>
                <a:gd name="connsiteX1799" fmla="*/ 522189 w 4042302"/>
                <a:gd name="connsiteY1799" fmla="*/ 938215 h 1608169"/>
                <a:gd name="connsiteX1800" fmla="*/ 522189 w 4042302"/>
                <a:gd name="connsiteY1800" fmla="*/ 934156 h 1608169"/>
                <a:gd name="connsiteX1801" fmla="*/ 523204 w 4042302"/>
                <a:gd name="connsiteY1801" fmla="*/ 935044 h 1608169"/>
                <a:gd name="connsiteX1802" fmla="*/ 518003 w 4042302"/>
                <a:gd name="connsiteY1802" fmla="*/ 935044 h 1608169"/>
                <a:gd name="connsiteX1803" fmla="*/ 518003 w 4042302"/>
                <a:gd name="connsiteY1803" fmla="*/ 930858 h 1608169"/>
                <a:gd name="connsiteX1804" fmla="*/ 519145 w 4042302"/>
                <a:gd name="connsiteY1804" fmla="*/ 931619 h 1608169"/>
                <a:gd name="connsiteX1805" fmla="*/ 515340 w 4042302"/>
                <a:gd name="connsiteY1805" fmla="*/ 931619 h 1608169"/>
                <a:gd name="connsiteX1806" fmla="*/ 515340 w 4042302"/>
                <a:gd name="connsiteY1806" fmla="*/ 927561 h 1608169"/>
                <a:gd name="connsiteX1807" fmla="*/ 516354 w 4042302"/>
                <a:gd name="connsiteY1807" fmla="*/ 928322 h 1608169"/>
                <a:gd name="connsiteX1808" fmla="*/ 512676 w 4042302"/>
                <a:gd name="connsiteY1808" fmla="*/ 928322 h 1608169"/>
                <a:gd name="connsiteX1809" fmla="*/ 512676 w 4042302"/>
                <a:gd name="connsiteY1809" fmla="*/ 920838 h 1608169"/>
                <a:gd name="connsiteX1810" fmla="*/ 513691 w 4042302"/>
                <a:gd name="connsiteY1810" fmla="*/ 921599 h 1608169"/>
                <a:gd name="connsiteX1811" fmla="*/ 512422 w 4042302"/>
                <a:gd name="connsiteY1811" fmla="*/ 921599 h 1608169"/>
                <a:gd name="connsiteX1812" fmla="*/ 508490 w 4042302"/>
                <a:gd name="connsiteY1812" fmla="*/ 921599 h 1608169"/>
                <a:gd name="connsiteX1813" fmla="*/ 508490 w 4042302"/>
                <a:gd name="connsiteY1813" fmla="*/ 917414 h 1608169"/>
                <a:gd name="connsiteX1814" fmla="*/ 509632 w 4042302"/>
                <a:gd name="connsiteY1814" fmla="*/ 918301 h 1608169"/>
                <a:gd name="connsiteX1815" fmla="*/ 507222 w 4042302"/>
                <a:gd name="connsiteY1815" fmla="*/ 918301 h 1608169"/>
                <a:gd name="connsiteX1816" fmla="*/ 507222 w 4042302"/>
                <a:gd name="connsiteY1816" fmla="*/ 910818 h 1608169"/>
                <a:gd name="connsiteX1817" fmla="*/ 508237 w 4042302"/>
                <a:gd name="connsiteY1817" fmla="*/ 911579 h 1608169"/>
                <a:gd name="connsiteX1818" fmla="*/ 505827 w 4042302"/>
                <a:gd name="connsiteY1818" fmla="*/ 911579 h 1608169"/>
                <a:gd name="connsiteX1819" fmla="*/ 505827 w 4042302"/>
                <a:gd name="connsiteY1819" fmla="*/ 907520 h 1608169"/>
                <a:gd name="connsiteX1820" fmla="*/ 506842 w 4042302"/>
                <a:gd name="connsiteY1820" fmla="*/ 908281 h 1608169"/>
                <a:gd name="connsiteX1821" fmla="*/ 504432 w 4042302"/>
                <a:gd name="connsiteY1821" fmla="*/ 908281 h 1608169"/>
                <a:gd name="connsiteX1822" fmla="*/ 504432 w 4042302"/>
                <a:gd name="connsiteY1822" fmla="*/ 904096 h 1608169"/>
                <a:gd name="connsiteX1823" fmla="*/ 505573 w 4042302"/>
                <a:gd name="connsiteY1823" fmla="*/ 904984 h 1608169"/>
                <a:gd name="connsiteX1824" fmla="*/ 503036 w 4042302"/>
                <a:gd name="connsiteY1824" fmla="*/ 904984 h 1608169"/>
                <a:gd name="connsiteX1825" fmla="*/ 503036 w 4042302"/>
                <a:gd name="connsiteY1825" fmla="*/ 890778 h 1608169"/>
                <a:gd name="connsiteX1826" fmla="*/ 504178 w 4042302"/>
                <a:gd name="connsiteY1826" fmla="*/ 891666 h 1608169"/>
                <a:gd name="connsiteX1827" fmla="*/ 498978 w 4042302"/>
                <a:gd name="connsiteY1827" fmla="*/ 891666 h 1608169"/>
                <a:gd name="connsiteX1828" fmla="*/ 498978 w 4042302"/>
                <a:gd name="connsiteY1828" fmla="*/ 887480 h 1608169"/>
                <a:gd name="connsiteX1829" fmla="*/ 500119 w 4042302"/>
                <a:gd name="connsiteY1829" fmla="*/ 888241 h 1608169"/>
                <a:gd name="connsiteX1830" fmla="*/ 496060 w 4042302"/>
                <a:gd name="connsiteY1830" fmla="*/ 888241 h 1608169"/>
                <a:gd name="connsiteX1831" fmla="*/ 489592 w 4042302"/>
                <a:gd name="connsiteY1831" fmla="*/ 888241 h 1608169"/>
                <a:gd name="connsiteX1832" fmla="*/ 489592 w 4042302"/>
                <a:gd name="connsiteY1832" fmla="*/ 884182 h 1608169"/>
                <a:gd name="connsiteX1833" fmla="*/ 490606 w 4042302"/>
                <a:gd name="connsiteY1833" fmla="*/ 884943 h 1608169"/>
                <a:gd name="connsiteX1834" fmla="*/ 486801 w 4042302"/>
                <a:gd name="connsiteY1834" fmla="*/ 884943 h 1608169"/>
                <a:gd name="connsiteX1835" fmla="*/ 486801 w 4042302"/>
                <a:gd name="connsiteY1835" fmla="*/ 880884 h 1608169"/>
                <a:gd name="connsiteX1836" fmla="*/ 487943 w 4042302"/>
                <a:gd name="connsiteY1836" fmla="*/ 881646 h 1608169"/>
                <a:gd name="connsiteX1837" fmla="*/ 485406 w 4042302"/>
                <a:gd name="connsiteY1837" fmla="*/ 881646 h 1608169"/>
                <a:gd name="connsiteX1838" fmla="*/ 485406 w 4042302"/>
                <a:gd name="connsiteY1838" fmla="*/ 877460 h 1608169"/>
                <a:gd name="connsiteX1839" fmla="*/ 486548 w 4042302"/>
                <a:gd name="connsiteY1839" fmla="*/ 878348 h 1608169"/>
                <a:gd name="connsiteX1840" fmla="*/ 482742 w 4042302"/>
                <a:gd name="connsiteY1840" fmla="*/ 878348 h 1608169"/>
                <a:gd name="connsiteX1841" fmla="*/ 482742 w 4042302"/>
                <a:gd name="connsiteY1841" fmla="*/ 867567 h 1608169"/>
                <a:gd name="connsiteX1842" fmla="*/ 483757 w 4042302"/>
                <a:gd name="connsiteY1842" fmla="*/ 868328 h 1608169"/>
                <a:gd name="connsiteX1843" fmla="*/ 478684 w 4042302"/>
                <a:gd name="connsiteY1843" fmla="*/ 868328 h 1608169"/>
                <a:gd name="connsiteX1844" fmla="*/ 478684 w 4042302"/>
                <a:gd name="connsiteY1844" fmla="*/ 860844 h 1608169"/>
                <a:gd name="connsiteX1845" fmla="*/ 479825 w 4042302"/>
                <a:gd name="connsiteY1845" fmla="*/ 861732 h 1608169"/>
                <a:gd name="connsiteX1846" fmla="*/ 477288 w 4042302"/>
                <a:gd name="connsiteY1846" fmla="*/ 861732 h 1608169"/>
                <a:gd name="connsiteX1847" fmla="*/ 477288 w 4042302"/>
                <a:gd name="connsiteY1847" fmla="*/ 850951 h 1608169"/>
                <a:gd name="connsiteX1848" fmla="*/ 478430 w 4042302"/>
                <a:gd name="connsiteY1848" fmla="*/ 851712 h 1608169"/>
                <a:gd name="connsiteX1849" fmla="*/ 473230 w 4042302"/>
                <a:gd name="connsiteY1849" fmla="*/ 851712 h 1608169"/>
                <a:gd name="connsiteX1850" fmla="*/ 473230 w 4042302"/>
                <a:gd name="connsiteY1850" fmla="*/ 847653 h 1608169"/>
                <a:gd name="connsiteX1851" fmla="*/ 474244 w 4042302"/>
                <a:gd name="connsiteY1851" fmla="*/ 848414 h 1608169"/>
                <a:gd name="connsiteX1852" fmla="*/ 471834 w 4042302"/>
                <a:gd name="connsiteY1852" fmla="*/ 848414 h 1608169"/>
                <a:gd name="connsiteX1853" fmla="*/ 471834 w 4042302"/>
                <a:gd name="connsiteY1853" fmla="*/ 844355 h 1608169"/>
                <a:gd name="connsiteX1854" fmla="*/ 472976 w 4042302"/>
                <a:gd name="connsiteY1854" fmla="*/ 845116 h 1608169"/>
                <a:gd name="connsiteX1855" fmla="*/ 470439 w 4042302"/>
                <a:gd name="connsiteY1855" fmla="*/ 845116 h 1608169"/>
                <a:gd name="connsiteX1856" fmla="*/ 470439 w 4042302"/>
                <a:gd name="connsiteY1856" fmla="*/ 840931 h 1608169"/>
                <a:gd name="connsiteX1857" fmla="*/ 471581 w 4042302"/>
                <a:gd name="connsiteY1857" fmla="*/ 841692 h 1608169"/>
                <a:gd name="connsiteX1858" fmla="*/ 469044 w 4042302"/>
                <a:gd name="connsiteY1858" fmla="*/ 841692 h 1608169"/>
                <a:gd name="connsiteX1859" fmla="*/ 469044 w 4042302"/>
                <a:gd name="connsiteY1859" fmla="*/ 834335 h 1608169"/>
                <a:gd name="connsiteX1860" fmla="*/ 470186 w 4042302"/>
                <a:gd name="connsiteY1860" fmla="*/ 835096 h 1608169"/>
                <a:gd name="connsiteX1861" fmla="*/ 463717 w 4042302"/>
                <a:gd name="connsiteY1861" fmla="*/ 835096 h 1608169"/>
                <a:gd name="connsiteX1862" fmla="*/ 463717 w 4042302"/>
                <a:gd name="connsiteY1862" fmla="*/ 831037 h 1608169"/>
                <a:gd name="connsiteX1863" fmla="*/ 464732 w 4042302"/>
                <a:gd name="connsiteY1863" fmla="*/ 831798 h 1608169"/>
                <a:gd name="connsiteX1864" fmla="*/ 459531 w 4042302"/>
                <a:gd name="connsiteY1864" fmla="*/ 831798 h 1608169"/>
                <a:gd name="connsiteX1865" fmla="*/ 459531 w 4042302"/>
                <a:gd name="connsiteY1865" fmla="*/ 827740 h 1608169"/>
                <a:gd name="connsiteX1866" fmla="*/ 460673 w 4042302"/>
                <a:gd name="connsiteY1866" fmla="*/ 828501 h 1608169"/>
                <a:gd name="connsiteX1867" fmla="*/ 454204 w 4042302"/>
                <a:gd name="connsiteY1867" fmla="*/ 828501 h 1608169"/>
                <a:gd name="connsiteX1868" fmla="*/ 454204 w 4042302"/>
                <a:gd name="connsiteY1868" fmla="*/ 824442 h 1608169"/>
                <a:gd name="connsiteX1869" fmla="*/ 455346 w 4042302"/>
                <a:gd name="connsiteY1869" fmla="*/ 825203 h 1608169"/>
                <a:gd name="connsiteX1870" fmla="*/ 450018 w 4042302"/>
                <a:gd name="connsiteY1870" fmla="*/ 825203 h 1608169"/>
                <a:gd name="connsiteX1871" fmla="*/ 450018 w 4042302"/>
                <a:gd name="connsiteY1871" fmla="*/ 814422 h 1608169"/>
                <a:gd name="connsiteX1872" fmla="*/ 451160 w 4042302"/>
                <a:gd name="connsiteY1872" fmla="*/ 815183 h 1608169"/>
                <a:gd name="connsiteX1873" fmla="*/ 445960 w 4042302"/>
                <a:gd name="connsiteY1873" fmla="*/ 815183 h 1608169"/>
                <a:gd name="connsiteX1874" fmla="*/ 445960 w 4042302"/>
                <a:gd name="connsiteY1874" fmla="*/ 811124 h 1608169"/>
                <a:gd name="connsiteX1875" fmla="*/ 447101 w 4042302"/>
                <a:gd name="connsiteY1875" fmla="*/ 811885 h 1608169"/>
                <a:gd name="connsiteX1876" fmla="*/ 440633 w 4042302"/>
                <a:gd name="connsiteY1876" fmla="*/ 811885 h 1608169"/>
                <a:gd name="connsiteX1877" fmla="*/ 440633 w 4042302"/>
                <a:gd name="connsiteY1877" fmla="*/ 804528 h 1608169"/>
                <a:gd name="connsiteX1878" fmla="*/ 441647 w 4042302"/>
                <a:gd name="connsiteY1878" fmla="*/ 805289 h 1608169"/>
                <a:gd name="connsiteX1879" fmla="*/ 439237 w 4042302"/>
                <a:gd name="connsiteY1879" fmla="*/ 805289 h 1608169"/>
                <a:gd name="connsiteX1880" fmla="*/ 439237 w 4042302"/>
                <a:gd name="connsiteY1880" fmla="*/ 794508 h 1608169"/>
                <a:gd name="connsiteX1881" fmla="*/ 440252 w 4042302"/>
                <a:gd name="connsiteY1881" fmla="*/ 795396 h 1608169"/>
                <a:gd name="connsiteX1882" fmla="*/ 437842 w 4042302"/>
                <a:gd name="connsiteY1882" fmla="*/ 795396 h 1608169"/>
                <a:gd name="connsiteX1883" fmla="*/ 437842 w 4042302"/>
                <a:gd name="connsiteY1883" fmla="*/ 791211 h 1608169"/>
                <a:gd name="connsiteX1884" fmla="*/ 438984 w 4042302"/>
                <a:gd name="connsiteY1884" fmla="*/ 792098 h 1608169"/>
                <a:gd name="connsiteX1885" fmla="*/ 433783 w 4042302"/>
                <a:gd name="connsiteY1885" fmla="*/ 792098 h 1608169"/>
                <a:gd name="connsiteX1886" fmla="*/ 433783 w 4042302"/>
                <a:gd name="connsiteY1886" fmla="*/ 787913 h 1608169"/>
                <a:gd name="connsiteX1887" fmla="*/ 434798 w 4042302"/>
                <a:gd name="connsiteY1887" fmla="*/ 788674 h 1608169"/>
                <a:gd name="connsiteX1888" fmla="*/ 429725 w 4042302"/>
                <a:gd name="connsiteY1888" fmla="*/ 788674 h 1608169"/>
                <a:gd name="connsiteX1889" fmla="*/ 429725 w 4042302"/>
                <a:gd name="connsiteY1889" fmla="*/ 784615 h 1608169"/>
                <a:gd name="connsiteX1890" fmla="*/ 430866 w 4042302"/>
                <a:gd name="connsiteY1890" fmla="*/ 785376 h 1608169"/>
                <a:gd name="connsiteX1891" fmla="*/ 428329 w 4042302"/>
                <a:gd name="connsiteY1891" fmla="*/ 785376 h 1608169"/>
                <a:gd name="connsiteX1892" fmla="*/ 428329 w 4042302"/>
                <a:gd name="connsiteY1892" fmla="*/ 781317 h 1608169"/>
                <a:gd name="connsiteX1893" fmla="*/ 429471 w 4042302"/>
                <a:gd name="connsiteY1893" fmla="*/ 782078 h 1608169"/>
                <a:gd name="connsiteX1894" fmla="*/ 425666 w 4042302"/>
                <a:gd name="connsiteY1894" fmla="*/ 782078 h 1608169"/>
                <a:gd name="connsiteX1895" fmla="*/ 425666 w 4042302"/>
                <a:gd name="connsiteY1895" fmla="*/ 778019 h 1608169"/>
                <a:gd name="connsiteX1896" fmla="*/ 426680 w 4042302"/>
                <a:gd name="connsiteY1896" fmla="*/ 778781 h 1608169"/>
                <a:gd name="connsiteX1897" fmla="*/ 424271 w 4042302"/>
                <a:gd name="connsiteY1897" fmla="*/ 778781 h 1608169"/>
                <a:gd name="connsiteX1898" fmla="*/ 424271 w 4042302"/>
                <a:gd name="connsiteY1898" fmla="*/ 771424 h 1608169"/>
                <a:gd name="connsiteX1899" fmla="*/ 425285 w 4042302"/>
                <a:gd name="connsiteY1899" fmla="*/ 772185 h 1608169"/>
                <a:gd name="connsiteX1900" fmla="*/ 420085 w 4042302"/>
                <a:gd name="connsiteY1900" fmla="*/ 772185 h 1608169"/>
                <a:gd name="connsiteX1901" fmla="*/ 420085 w 4042302"/>
                <a:gd name="connsiteY1901" fmla="*/ 767999 h 1608169"/>
                <a:gd name="connsiteX1902" fmla="*/ 421226 w 4042302"/>
                <a:gd name="connsiteY1902" fmla="*/ 768887 h 1608169"/>
                <a:gd name="connsiteX1903" fmla="*/ 417421 w 4042302"/>
                <a:gd name="connsiteY1903" fmla="*/ 768887 h 1608169"/>
                <a:gd name="connsiteX1904" fmla="*/ 417421 w 4042302"/>
                <a:gd name="connsiteY1904" fmla="*/ 764702 h 1608169"/>
                <a:gd name="connsiteX1905" fmla="*/ 418563 w 4042302"/>
                <a:gd name="connsiteY1905" fmla="*/ 765589 h 1608169"/>
                <a:gd name="connsiteX1906" fmla="*/ 416153 w 4042302"/>
                <a:gd name="connsiteY1906" fmla="*/ 765589 h 1608169"/>
                <a:gd name="connsiteX1907" fmla="*/ 416153 w 4042302"/>
                <a:gd name="connsiteY1907" fmla="*/ 761404 h 1608169"/>
                <a:gd name="connsiteX1908" fmla="*/ 417168 w 4042302"/>
                <a:gd name="connsiteY1908" fmla="*/ 762165 h 1608169"/>
                <a:gd name="connsiteX1909" fmla="*/ 414758 w 4042302"/>
                <a:gd name="connsiteY1909" fmla="*/ 762165 h 1608169"/>
                <a:gd name="connsiteX1910" fmla="*/ 414758 w 4042302"/>
                <a:gd name="connsiteY1910" fmla="*/ 758106 h 1608169"/>
                <a:gd name="connsiteX1911" fmla="*/ 415772 w 4042302"/>
                <a:gd name="connsiteY1911" fmla="*/ 758867 h 1608169"/>
                <a:gd name="connsiteX1912" fmla="*/ 413363 w 4042302"/>
                <a:gd name="connsiteY1912" fmla="*/ 758867 h 1608169"/>
                <a:gd name="connsiteX1913" fmla="*/ 413363 w 4042302"/>
                <a:gd name="connsiteY1913" fmla="*/ 754808 h 1608169"/>
                <a:gd name="connsiteX1914" fmla="*/ 414504 w 4042302"/>
                <a:gd name="connsiteY1914" fmla="*/ 755569 h 1608169"/>
                <a:gd name="connsiteX1915" fmla="*/ 411967 w 4042302"/>
                <a:gd name="connsiteY1915" fmla="*/ 755569 h 1608169"/>
                <a:gd name="connsiteX1916" fmla="*/ 411967 w 4042302"/>
                <a:gd name="connsiteY1916" fmla="*/ 751511 h 1608169"/>
                <a:gd name="connsiteX1917" fmla="*/ 413109 w 4042302"/>
                <a:gd name="connsiteY1917" fmla="*/ 752272 h 1608169"/>
                <a:gd name="connsiteX1918" fmla="*/ 410572 w 4042302"/>
                <a:gd name="connsiteY1918" fmla="*/ 752272 h 1608169"/>
                <a:gd name="connsiteX1919" fmla="*/ 410572 w 4042302"/>
                <a:gd name="connsiteY1919" fmla="*/ 748213 h 1608169"/>
                <a:gd name="connsiteX1920" fmla="*/ 411714 w 4042302"/>
                <a:gd name="connsiteY1920" fmla="*/ 748974 h 1608169"/>
                <a:gd name="connsiteX1921" fmla="*/ 409304 w 4042302"/>
                <a:gd name="connsiteY1921" fmla="*/ 748974 h 1608169"/>
                <a:gd name="connsiteX1922" fmla="*/ 409304 w 4042302"/>
                <a:gd name="connsiteY1922" fmla="*/ 738193 h 1608169"/>
                <a:gd name="connsiteX1923" fmla="*/ 410318 w 4042302"/>
                <a:gd name="connsiteY1923" fmla="*/ 739080 h 1608169"/>
                <a:gd name="connsiteX1924" fmla="*/ 406386 w 4042302"/>
                <a:gd name="connsiteY1924" fmla="*/ 739080 h 1608169"/>
                <a:gd name="connsiteX1925" fmla="*/ 402201 w 4042302"/>
                <a:gd name="connsiteY1925" fmla="*/ 739080 h 1608169"/>
                <a:gd name="connsiteX1926" fmla="*/ 399791 w 4042302"/>
                <a:gd name="connsiteY1926" fmla="*/ 739080 h 1608169"/>
                <a:gd name="connsiteX1927" fmla="*/ 399791 w 4042302"/>
                <a:gd name="connsiteY1927" fmla="*/ 735022 h 1608169"/>
                <a:gd name="connsiteX1928" fmla="*/ 400806 w 4042302"/>
                <a:gd name="connsiteY1928" fmla="*/ 735783 h 1608169"/>
                <a:gd name="connsiteX1929" fmla="*/ 397001 w 4042302"/>
                <a:gd name="connsiteY1929" fmla="*/ 735783 h 1608169"/>
                <a:gd name="connsiteX1930" fmla="*/ 397001 w 4042302"/>
                <a:gd name="connsiteY1930" fmla="*/ 731724 h 1608169"/>
                <a:gd name="connsiteX1931" fmla="*/ 398142 w 4042302"/>
                <a:gd name="connsiteY1931" fmla="*/ 732485 h 1608169"/>
                <a:gd name="connsiteX1932" fmla="*/ 394337 w 4042302"/>
                <a:gd name="connsiteY1932" fmla="*/ 732485 h 1608169"/>
                <a:gd name="connsiteX1933" fmla="*/ 394337 w 4042302"/>
                <a:gd name="connsiteY1933" fmla="*/ 728426 h 1608169"/>
                <a:gd name="connsiteX1934" fmla="*/ 395478 w 4042302"/>
                <a:gd name="connsiteY1934" fmla="*/ 729187 h 1608169"/>
                <a:gd name="connsiteX1935" fmla="*/ 392942 w 4042302"/>
                <a:gd name="connsiteY1935" fmla="*/ 729187 h 1608169"/>
                <a:gd name="connsiteX1936" fmla="*/ 392942 w 4042302"/>
                <a:gd name="connsiteY1936" fmla="*/ 725128 h 1608169"/>
                <a:gd name="connsiteX1937" fmla="*/ 394083 w 4042302"/>
                <a:gd name="connsiteY1937" fmla="*/ 725889 h 1608169"/>
                <a:gd name="connsiteX1938" fmla="*/ 391673 w 4042302"/>
                <a:gd name="connsiteY1938" fmla="*/ 725889 h 1608169"/>
                <a:gd name="connsiteX1939" fmla="*/ 391673 w 4042302"/>
                <a:gd name="connsiteY1939" fmla="*/ 721831 h 1608169"/>
                <a:gd name="connsiteX1940" fmla="*/ 392688 w 4042302"/>
                <a:gd name="connsiteY1940" fmla="*/ 722592 h 1608169"/>
                <a:gd name="connsiteX1941" fmla="*/ 386093 w 4042302"/>
                <a:gd name="connsiteY1941" fmla="*/ 722592 h 1608169"/>
                <a:gd name="connsiteX1942" fmla="*/ 386093 w 4042302"/>
                <a:gd name="connsiteY1942" fmla="*/ 715235 h 1608169"/>
                <a:gd name="connsiteX1943" fmla="*/ 387234 w 4042302"/>
                <a:gd name="connsiteY1943" fmla="*/ 716123 h 1608169"/>
                <a:gd name="connsiteX1944" fmla="*/ 382161 w 4042302"/>
                <a:gd name="connsiteY1944" fmla="*/ 716123 h 1608169"/>
                <a:gd name="connsiteX1945" fmla="*/ 382161 w 4042302"/>
                <a:gd name="connsiteY1945" fmla="*/ 711937 h 1608169"/>
                <a:gd name="connsiteX1946" fmla="*/ 383175 w 4042302"/>
                <a:gd name="connsiteY1946" fmla="*/ 712698 h 1608169"/>
                <a:gd name="connsiteX1947" fmla="*/ 380765 w 4042302"/>
                <a:gd name="connsiteY1947" fmla="*/ 712698 h 1608169"/>
                <a:gd name="connsiteX1948" fmla="*/ 380765 w 4042302"/>
                <a:gd name="connsiteY1948" fmla="*/ 702044 h 1608169"/>
                <a:gd name="connsiteX1949" fmla="*/ 381907 w 4042302"/>
                <a:gd name="connsiteY1949" fmla="*/ 702932 h 1608169"/>
                <a:gd name="connsiteX1950" fmla="*/ 376707 w 4042302"/>
                <a:gd name="connsiteY1950" fmla="*/ 702932 h 1608169"/>
                <a:gd name="connsiteX1951" fmla="*/ 376707 w 4042302"/>
                <a:gd name="connsiteY1951" fmla="*/ 698746 h 1608169"/>
                <a:gd name="connsiteX1952" fmla="*/ 377721 w 4042302"/>
                <a:gd name="connsiteY1952" fmla="*/ 699634 h 1608169"/>
                <a:gd name="connsiteX1953" fmla="*/ 375311 w 4042302"/>
                <a:gd name="connsiteY1953" fmla="*/ 699634 h 1608169"/>
                <a:gd name="connsiteX1954" fmla="*/ 375311 w 4042302"/>
                <a:gd name="connsiteY1954" fmla="*/ 692278 h 1608169"/>
                <a:gd name="connsiteX1955" fmla="*/ 376326 w 4042302"/>
                <a:gd name="connsiteY1955" fmla="*/ 693039 h 1608169"/>
                <a:gd name="connsiteX1956" fmla="*/ 373916 w 4042302"/>
                <a:gd name="connsiteY1956" fmla="*/ 693039 h 1608169"/>
                <a:gd name="connsiteX1957" fmla="*/ 373916 w 4042302"/>
                <a:gd name="connsiteY1957" fmla="*/ 685555 h 1608169"/>
                <a:gd name="connsiteX1958" fmla="*/ 375058 w 4042302"/>
                <a:gd name="connsiteY1958" fmla="*/ 686443 h 1608169"/>
                <a:gd name="connsiteX1959" fmla="*/ 368589 w 4042302"/>
                <a:gd name="connsiteY1959" fmla="*/ 686443 h 1608169"/>
                <a:gd name="connsiteX1960" fmla="*/ 368589 w 4042302"/>
                <a:gd name="connsiteY1960" fmla="*/ 682384 h 1608169"/>
                <a:gd name="connsiteX1961" fmla="*/ 369604 w 4042302"/>
                <a:gd name="connsiteY1961" fmla="*/ 683145 h 1608169"/>
                <a:gd name="connsiteX1962" fmla="*/ 365799 w 4042302"/>
                <a:gd name="connsiteY1962" fmla="*/ 683145 h 1608169"/>
                <a:gd name="connsiteX1963" fmla="*/ 365799 w 4042302"/>
                <a:gd name="connsiteY1963" fmla="*/ 672491 h 1608169"/>
                <a:gd name="connsiteX1964" fmla="*/ 366940 w 4042302"/>
                <a:gd name="connsiteY1964" fmla="*/ 673252 h 1608169"/>
                <a:gd name="connsiteX1965" fmla="*/ 364403 w 4042302"/>
                <a:gd name="connsiteY1965" fmla="*/ 673252 h 1608169"/>
                <a:gd name="connsiteX1966" fmla="*/ 364403 w 4042302"/>
                <a:gd name="connsiteY1966" fmla="*/ 669193 h 1608169"/>
                <a:gd name="connsiteX1967" fmla="*/ 365545 w 4042302"/>
                <a:gd name="connsiteY1967" fmla="*/ 669954 h 1608169"/>
                <a:gd name="connsiteX1968" fmla="*/ 363008 w 4042302"/>
                <a:gd name="connsiteY1968" fmla="*/ 669954 h 1608169"/>
                <a:gd name="connsiteX1969" fmla="*/ 363008 w 4042302"/>
                <a:gd name="connsiteY1969" fmla="*/ 662598 h 1608169"/>
                <a:gd name="connsiteX1970" fmla="*/ 364150 w 4042302"/>
                <a:gd name="connsiteY1970" fmla="*/ 663485 h 1608169"/>
                <a:gd name="connsiteX1971" fmla="*/ 361740 w 4042302"/>
                <a:gd name="connsiteY1971" fmla="*/ 663485 h 1608169"/>
                <a:gd name="connsiteX1972" fmla="*/ 361740 w 4042302"/>
                <a:gd name="connsiteY1972" fmla="*/ 659300 h 1608169"/>
                <a:gd name="connsiteX1973" fmla="*/ 362754 w 4042302"/>
                <a:gd name="connsiteY1973" fmla="*/ 660061 h 1608169"/>
                <a:gd name="connsiteX1974" fmla="*/ 359076 w 4042302"/>
                <a:gd name="connsiteY1974" fmla="*/ 660061 h 1608169"/>
                <a:gd name="connsiteX1975" fmla="*/ 359076 w 4042302"/>
                <a:gd name="connsiteY1975" fmla="*/ 656002 h 1608169"/>
                <a:gd name="connsiteX1976" fmla="*/ 360091 w 4042302"/>
                <a:gd name="connsiteY1976" fmla="*/ 656763 h 1608169"/>
                <a:gd name="connsiteX1977" fmla="*/ 357681 w 4042302"/>
                <a:gd name="connsiteY1977" fmla="*/ 656763 h 1608169"/>
                <a:gd name="connsiteX1978" fmla="*/ 357681 w 4042302"/>
                <a:gd name="connsiteY1978" fmla="*/ 649407 h 1608169"/>
                <a:gd name="connsiteX1979" fmla="*/ 358696 w 4042302"/>
                <a:gd name="connsiteY1979" fmla="*/ 650294 h 1608169"/>
                <a:gd name="connsiteX1980" fmla="*/ 356286 w 4042302"/>
                <a:gd name="connsiteY1980" fmla="*/ 650294 h 1608169"/>
                <a:gd name="connsiteX1981" fmla="*/ 356286 w 4042302"/>
                <a:gd name="connsiteY1981" fmla="*/ 639640 h 1608169"/>
                <a:gd name="connsiteX1982" fmla="*/ 357427 w 4042302"/>
                <a:gd name="connsiteY1982" fmla="*/ 640401 h 1608169"/>
                <a:gd name="connsiteX1983" fmla="*/ 353495 w 4042302"/>
                <a:gd name="connsiteY1983" fmla="*/ 640401 h 1608169"/>
                <a:gd name="connsiteX1984" fmla="*/ 353495 w 4042302"/>
                <a:gd name="connsiteY1984" fmla="*/ 636342 h 1608169"/>
                <a:gd name="connsiteX1985" fmla="*/ 354637 w 4042302"/>
                <a:gd name="connsiteY1985" fmla="*/ 637103 h 1608169"/>
                <a:gd name="connsiteX1986" fmla="*/ 352227 w 4042302"/>
                <a:gd name="connsiteY1986" fmla="*/ 637103 h 1608169"/>
                <a:gd name="connsiteX1987" fmla="*/ 352227 w 4042302"/>
                <a:gd name="connsiteY1987" fmla="*/ 633045 h 1608169"/>
                <a:gd name="connsiteX1988" fmla="*/ 353242 w 4042302"/>
                <a:gd name="connsiteY1988" fmla="*/ 633806 h 1608169"/>
                <a:gd name="connsiteX1989" fmla="*/ 350832 w 4042302"/>
                <a:gd name="connsiteY1989" fmla="*/ 633806 h 1608169"/>
                <a:gd name="connsiteX1990" fmla="*/ 350832 w 4042302"/>
                <a:gd name="connsiteY1990" fmla="*/ 629747 h 1608169"/>
                <a:gd name="connsiteX1991" fmla="*/ 351846 w 4042302"/>
                <a:gd name="connsiteY1991" fmla="*/ 630508 h 1608169"/>
                <a:gd name="connsiteX1992" fmla="*/ 348168 w 4042302"/>
                <a:gd name="connsiteY1992" fmla="*/ 630508 h 1608169"/>
                <a:gd name="connsiteX1993" fmla="*/ 348168 w 4042302"/>
                <a:gd name="connsiteY1993" fmla="*/ 626449 h 1608169"/>
                <a:gd name="connsiteX1994" fmla="*/ 349310 w 4042302"/>
                <a:gd name="connsiteY1994" fmla="*/ 627210 h 1608169"/>
                <a:gd name="connsiteX1995" fmla="*/ 345378 w 4042302"/>
                <a:gd name="connsiteY1995" fmla="*/ 627210 h 1608169"/>
                <a:gd name="connsiteX1996" fmla="*/ 345378 w 4042302"/>
                <a:gd name="connsiteY1996" fmla="*/ 619853 h 1608169"/>
                <a:gd name="connsiteX1997" fmla="*/ 346519 w 4042302"/>
                <a:gd name="connsiteY1997" fmla="*/ 620615 h 1608169"/>
                <a:gd name="connsiteX1998" fmla="*/ 342714 w 4042302"/>
                <a:gd name="connsiteY1998" fmla="*/ 620615 h 1608169"/>
                <a:gd name="connsiteX1999" fmla="*/ 342714 w 4042302"/>
                <a:gd name="connsiteY1999" fmla="*/ 616556 h 1608169"/>
                <a:gd name="connsiteX2000" fmla="*/ 343729 w 4042302"/>
                <a:gd name="connsiteY2000" fmla="*/ 617317 h 1608169"/>
                <a:gd name="connsiteX2001" fmla="*/ 341319 w 4042302"/>
                <a:gd name="connsiteY2001" fmla="*/ 617317 h 1608169"/>
                <a:gd name="connsiteX2002" fmla="*/ 341319 w 4042302"/>
                <a:gd name="connsiteY2002" fmla="*/ 609960 h 1608169"/>
                <a:gd name="connsiteX2003" fmla="*/ 342461 w 4042302"/>
                <a:gd name="connsiteY2003" fmla="*/ 610848 h 1608169"/>
                <a:gd name="connsiteX2004" fmla="*/ 339924 w 4042302"/>
                <a:gd name="connsiteY2004" fmla="*/ 610848 h 1608169"/>
                <a:gd name="connsiteX2005" fmla="*/ 339924 w 4042302"/>
                <a:gd name="connsiteY2005" fmla="*/ 603365 h 1608169"/>
                <a:gd name="connsiteX2006" fmla="*/ 341065 w 4042302"/>
                <a:gd name="connsiteY2006" fmla="*/ 604126 h 1608169"/>
                <a:gd name="connsiteX2007" fmla="*/ 337260 w 4042302"/>
                <a:gd name="connsiteY2007" fmla="*/ 604126 h 1608169"/>
                <a:gd name="connsiteX2008" fmla="*/ 337260 w 4042302"/>
                <a:gd name="connsiteY2008" fmla="*/ 600067 h 1608169"/>
                <a:gd name="connsiteX2009" fmla="*/ 338402 w 4042302"/>
                <a:gd name="connsiteY2009" fmla="*/ 600955 h 1608169"/>
                <a:gd name="connsiteX2010" fmla="*/ 334597 w 4042302"/>
                <a:gd name="connsiteY2010" fmla="*/ 600955 h 1608169"/>
                <a:gd name="connsiteX2011" fmla="*/ 334597 w 4042302"/>
                <a:gd name="connsiteY2011" fmla="*/ 596769 h 1608169"/>
                <a:gd name="connsiteX2012" fmla="*/ 335611 w 4042302"/>
                <a:gd name="connsiteY2012" fmla="*/ 597657 h 1608169"/>
                <a:gd name="connsiteX2013" fmla="*/ 331806 w 4042302"/>
                <a:gd name="connsiteY2013" fmla="*/ 597657 h 1608169"/>
                <a:gd name="connsiteX2014" fmla="*/ 331806 w 4042302"/>
                <a:gd name="connsiteY2014" fmla="*/ 590300 h 1608169"/>
                <a:gd name="connsiteX2015" fmla="*/ 332948 w 4042302"/>
                <a:gd name="connsiteY2015" fmla="*/ 591061 h 1608169"/>
                <a:gd name="connsiteX2016" fmla="*/ 330411 w 4042302"/>
                <a:gd name="connsiteY2016" fmla="*/ 591061 h 1608169"/>
                <a:gd name="connsiteX2017" fmla="*/ 330411 w 4042302"/>
                <a:gd name="connsiteY2017" fmla="*/ 583705 h 1608169"/>
                <a:gd name="connsiteX2018" fmla="*/ 331552 w 4042302"/>
                <a:gd name="connsiteY2018" fmla="*/ 584466 h 1608169"/>
                <a:gd name="connsiteX2019" fmla="*/ 329016 w 4042302"/>
                <a:gd name="connsiteY2019" fmla="*/ 584466 h 1608169"/>
                <a:gd name="connsiteX2020" fmla="*/ 329016 w 4042302"/>
                <a:gd name="connsiteY2020" fmla="*/ 580407 h 1608169"/>
                <a:gd name="connsiteX2021" fmla="*/ 330157 w 4042302"/>
                <a:gd name="connsiteY2021" fmla="*/ 581168 h 1608169"/>
                <a:gd name="connsiteX2022" fmla="*/ 326479 w 4042302"/>
                <a:gd name="connsiteY2022" fmla="*/ 581168 h 1608169"/>
                <a:gd name="connsiteX2023" fmla="*/ 326479 w 4042302"/>
                <a:gd name="connsiteY2023" fmla="*/ 573812 h 1608169"/>
                <a:gd name="connsiteX2024" fmla="*/ 327494 w 4042302"/>
                <a:gd name="connsiteY2024" fmla="*/ 574699 h 1608169"/>
                <a:gd name="connsiteX2025" fmla="*/ 323689 w 4042302"/>
                <a:gd name="connsiteY2025" fmla="*/ 574699 h 1608169"/>
                <a:gd name="connsiteX2026" fmla="*/ 323689 w 4042302"/>
                <a:gd name="connsiteY2026" fmla="*/ 570514 h 1608169"/>
                <a:gd name="connsiteX2027" fmla="*/ 324830 w 4042302"/>
                <a:gd name="connsiteY2027" fmla="*/ 571402 h 1608169"/>
                <a:gd name="connsiteX2028" fmla="*/ 316839 w 4042302"/>
                <a:gd name="connsiteY2028" fmla="*/ 571402 h 1608169"/>
                <a:gd name="connsiteX2029" fmla="*/ 316839 w 4042302"/>
                <a:gd name="connsiteY2029" fmla="*/ 567343 h 1608169"/>
                <a:gd name="connsiteX2030" fmla="*/ 317981 w 4042302"/>
                <a:gd name="connsiteY2030" fmla="*/ 568104 h 1608169"/>
                <a:gd name="connsiteX2031" fmla="*/ 315444 w 4042302"/>
                <a:gd name="connsiteY2031" fmla="*/ 568104 h 1608169"/>
                <a:gd name="connsiteX2032" fmla="*/ 315444 w 4042302"/>
                <a:gd name="connsiteY2032" fmla="*/ 564045 h 1608169"/>
                <a:gd name="connsiteX2033" fmla="*/ 316586 w 4042302"/>
                <a:gd name="connsiteY2033" fmla="*/ 564806 h 1608169"/>
                <a:gd name="connsiteX2034" fmla="*/ 312781 w 4042302"/>
                <a:gd name="connsiteY2034" fmla="*/ 564806 h 1608169"/>
                <a:gd name="connsiteX2035" fmla="*/ 312781 w 4042302"/>
                <a:gd name="connsiteY2035" fmla="*/ 554152 h 1608169"/>
                <a:gd name="connsiteX2036" fmla="*/ 313922 w 4042302"/>
                <a:gd name="connsiteY2036" fmla="*/ 554913 h 1608169"/>
                <a:gd name="connsiteX2037" fmla="*/ 310117 w 4042302"/>
                <a:gd name="connsiteY2037" fmla="*/ 554913 h 1608169"/>
                <a:gd name="connsiteX2038" fmla="*/ 310117 w 4042302"/>
                <a:gd name="connsiteY2038" fmla="*/ 550854 h 1608169"/>
                <a:gd name="connsiteX2039" fmla="*/ 311132 w 4042302"/>
                <a:gd name="connsiteY2039" fmla="*/ 551615 h 1608169"/>
                <a:gd name="connsiteX2040" fmla="*/ 308722 w 4042302"/>
                <a:gd name="connsiteY2040" fmla="*/ 551615 h 1608169"/>
                <a:gd name="connsiteX2041" fmla="*/ 308722 w 4042302"/>
                <a:gd name="connsiteY2041" fmla="*/ 547556 h 1608169"/>
                <a:gd name="connsiteX2042" fmla="*/ 309863 w 4042302"/>
                <a:gd name="connsiteY2042" fmla="*/ 548444 h 1608169"/>
                <a:gd name="connsiteX2043" fmla="*/ 305931 w 4042302"/>
                <a:gd name="connsiteY2043" fmla="*/ 548444 h 1608169"/>
                <a:gd name="connsiteX2044" fmla="*/ 305931 w 4042302"/>
                <a:gd name="connsiteY2044" fmla="*/ 544385 h 1608169"/>
                <a:gd name="connsiteX2045" fmla="*/ 307073 w 4042302"/>
                <a:gd name="connsiteY2045" fmla="*/ 545146 h 1608169"/>
                <a:gd name="connsiteX2046" fmla="*/ 304663 w 4042302"/>
                <a:gd name="connsiteY2046" fmla="*/ 545146 h 1608169"/>
                <a:gd name="connsiteX2047" fmla="*/ 304663 w 4042302"/>
                <a:gd name="connsiteY2047" fmla="*/ 541088 h 1608169"/>
                <a:gd name="connsiteX2048" fmla="*/ 305678 w 4042302"/>
                <a:gd name="connsiteY2048" fmla="*/ 541849 h 1608169"/>
                <a:gd name="connsiteX2049" fmla="*/ 303268 w 4042302"/>
                <a:gd name="connsiteY2049" fmla="*/ 541849 h 1608169"/>
                <a:gd name="connsiteX2050" fmla="*/ 303268 w 4042302"/>
                <a:gd name="connsiteY2050" fmla="*/ 537790 h 1608169"/>
                <a:gd name="connsiteX2051" fmla="*/ 304283 w 4042302"/>
                <a:gd name="connsiteY2051" fmla="*/ 538678 h 1608169"/>
                <a:gd name="connsiteX2052" fmla="*/ 301999 w 4042302"/>
                <a:gd name="connsiteY2052" fmla="*/ 538678 h 1608169"/>
                <a:gd name="connsiteX2053" fmla="*/ 301999 w 4042302"/>
                <a:gd name="connsiteY2053" fmla="*/ 534492 h 1608169"/>
                <a:gd name="connsiteX2054" fmla="*/ 303014 w 4042302"/>
                <a:gd name="connsiteY2054" fmla="*/ 535380 h 1608169"/>
                <a:gd name="connsiteX2055" fmla="*/ 300604 w 4042302"/>
                <a:gd name="connsiteY2055" fmla="*/ 535380 h 1608169"/>
                <a:gd name="connsiteX2056" fmla="*/ 300604 w 4042302"/>
                <a:gd name="connsiteY2056" fmla="*/ 528023 h 1608169"/>
                <a:gd name="connsiteX2057" fmla="*/ 301619 w 4042302"/>
                <a:gd name="connsiteY2057" fmla="*/ 528784 h 1608169"/>
                <a:gd name="connsiteX2058" fmla="*/ 299209 w 4042302"/>
                <a:gd name="connsiteY2058" fmla="*/ 528784 h 1608169"/>
                <a:gd name="connsiteX2059" fmla="*/ 299209 w 4042302"/>
                <a:gd name="connsiteY2059" fmla="*/ 518130 h 1608169"/>
                <a:gd name="connsiteX2060" fmla="*/ 300351 w 4042302"/>
                <a:gd name="connsiteY2060" fmla="*/ 518891 h 1608169"/>
                <a:gd name="connsiteX2061" fmla="*/ 297814 w 4042302"/>
                <a:gd name="connsiteY2061" fmla="*/ 518891 h 1608169"/>
                <a:gd name="connsiteX2062" fmla="*/ 297814 w 4042302"/>
                <a:gd name="connsiteY2062" fmla="*/ 514832 h 1608169"/>
                <a:gd name="connsiteX2063" fmla="*/ 298955 w 4042302"/>
                <a:gd name="connsiteY2063" fmla="*/ 515593 h 1608169"/>
                <a:gd name="connsiteX2064" fmla="*/ 296419 w 4042302"/>
                <a:gd name="connsiteY2064" fmla="*/ 515593 h 1608169"/>
                <a:gd name="connsiteX2065" fmla="*/ 296419 w 4042302"/>
                <a:gd name="connsiteY2065" fmla="*/ 511534 h 1608169"/>
                <a:gd name="connsiteX2066" fmla="*/ 297560 w 4042302"/>
                <a:gd name="connsiteY2066" fmla="*/ 512422 h 1608169"/>
                <a:gd name="connsiteX2067" fmla="*/ 292360 w 4042302"/>
                <a:gd name="connsiteY2067" fmla="*/ 512422 h 1608169"/>
                <a:gd name="connsiteX2068" fmla="*/ 292360 w 4042302"/>
                <a:gd name="connsiteY2068" fmla="*/ 505066 h 1608169"/>
                <a:gd name="connsiteX2069" fmla="*/ 293501 w 4042302"/>
                <a:gd name="connsiteY2069" fmla="*/ 505827 h 1608169"/>
                <a:gd name="connsiteX2070" fmla="*/ 291091 w 4042302"/>
                <a:gd name="connsiteY2070" fmla="*/ 505827 h 1608169"/>
                <a:gd name="connsiteX2071" fmla="*/ 291091 w 4042302"/>
                <a:gd name="connsiteY2071" fmla="*/ 501768 h 1608169"/>
                <a:gd name="connsiteX2072" fmla="*/ 292233 w 4042302"/>
                <a:gd name="connsiteY2072" fmla="*/ 502529 h 1608169"/>
                <a:gd name="connsiteX2073" fmla="*/ 284242 w 4042302"/>
                <a:gd name="connsiteY2073" fmla="*/ 502529 h 1608169"/>
                <a:gd name="connsiteX2074" fmla="*/ 284242 w 4042302"/>
                <a:gd name="connsiteY2074" fmla="*/ 492002 h 1608169"/>
                <a:gd name="connsiteX2075" fmla="*/ 285384 w 4042302"/>
                <a:gd name="connsiteY2075" fmla="*/ 492763 h 1608169"/>
                <a:gd name="connsiteX2076" fmla="*/ 282847 w 4042302"/>
                <a:gd name="connsiteY2076" fmla="*/ 492763 h 1608169"/>
                <a:gd name="connsiteX2077" fmla="*/ 282847 w 4042302"/>
                <a:gd name="connsiteY2077" fmla="*/ 485406 h 1608169"/>
                <a:gd name="connsiteX2078" fmla="*/ 283989 w 4042302"/>
                <a:gd name="connsiteY2078" fmla="*/ 486167 h 1608169"/>
                <a:gd name="connsiteX2079" fmla="*/ 279930 w 4042302"/>
                <a:gd name="connsiteY2079" fmla="*/ 486167 h 1608169"/>
                <a:gd name="connsiteX2080" fmla="*/ 278535 w 4042302"/>
                <a:gd name="connsiteY2080" fmla="*/ 486167 h 1608169"/>
                <a:gd name="connsiteX2081" fmla="*/ 276125 w 4042302"/>
                <a:gd name="connsiteY2081" fmla="*/ 486167 h 1608169"/>
                <a:gd name="connsiteX2082" fmla="*/ 276125 w 4042302"/>
                <a:gd name="connsiteY2082" fmla="*/ 482235 h 1608169"/>
                <a:gd name="connsiteX2083" fmla="*/ 277266 w 4042302"/>
                <a:gd name="connsiteY2083" fmla="*/ 482996 h 1608169"/>
                <a:gd name="connsiteX2084" fmla="*/ 274729 w 4042302"/>
                <a:gd name="connsiteY2084" fmla="*/ 482996 h 1608169"/>
                <a:gd name="connsiteX2085" fmla="*/ 274729 w 4042302"/>
                <a:gd name="connsiteY2085" fmla="*/ 478937 h 1608169"/>
                <a:gd name="connsiteX2086" fmla="*/ 275871 w 4042302"/>
                <a:gd name="connsiteY2086" fmla="*/ 479698 h 1608169"/>
                <a:gd name="connsiteX2087" fmla="*/ 270671 w 4042302"/>
                <a:gd name="connsiteY2087" fmla="*/ 479698 h 1608169"/>
                <a:gd name="connsiteX2088" fmla="*/ 270671 w 4042302"/>
                <a:gd name="connsiteY2088" fmla="*/ 459278 h 1608169"/>
                <a:gd name="connsiteX2089" fmla="*/ 271685 w 4042302"/>
                <a:gd name="connsiteY2089" fmla="*/ 460165 h 1608169"/>
                <a:gd name="connsiteX2090" fmla="*/ 266612 w 4042302"/>
                <a:gd name="connsiteY2090" fmla="*/ 460165 h 1608169"/>
                <a:gd name="connsiteX2091" fmla="*/ 266612 w 4042302"/>
                <a:gd name="connsiteY2091" fmla="*/ 456107 h 1608169"/>
                <a:gd name="connsiteX2092" fmla="*/ 267753 w 4042302"/>
                <a:gd name="connsiteY2092" fmla="*/ 456868 h 1608169"/>
                <a:gd name="connsiteX2093" fmla="*/ 262553 w 4042302"/>
                <a:gd name="connsiteY2093" fmla="*/ 456868 h 1608169"/>
                <a:gd name="connsiteX2094" fmla="*/ 262553 w 4042302"/>
                <a:gd name="connsiteY2094" fmla="*/ 452809 h 1608169"/>
                <a:gd name="connsiteX2095" fmla="*/ 263568 w 4042302"/>
                <a:gd name="connsiteY2095" fmla="*/ 453570 h 1608169"/>
                <a:gd name="connsiteX2096" fmla="*/ 261158 w 4042302"/>
                <a:gd name="connsiteY2096" fmla="*/ 453570 h 1608169"/>
                <a:gd name="connsiteX2097" fmla="*/ 261158 w 4042302"/>
                <a:gd name="connsiteY2097" fmla="*/ 446340 h 1608169"/>
                <a:gd name="connsiteX2098" fmla="*/ 262173 w 4042302"/>
                <a:gd name="connsiteY2098" fmla="*/ 447101 h 1608169"/>
                <a:gd name="connsiteX2099" fmla="*/ 258367 w 4042302"/>
                <a:gd name="connsiteY2099" fmla="*/ 447101 h 1608169"/>
                <a:gd name="connsiteX2100" fmla="*/ 258367 w 4042302"/>
                <a:gd name="connsiteY2100" fmla="*/ 443042 h 1608169"/>
                <a:gd name="connsiteX2101" fmla="*/ 259509 w 4042302"/>
                <a:gd name="connsiteY2101" fmla="*/ 443803 h 1608169"/>
                <a:gd name="connsiteX2102" fmla="*/ 255704 w 4042302"/>
                <a:gd name="connsiteY2102" fmla="*/ 443803 h 1608169"/>
                <a:gd name="connsiteX2103" fmla="*/ 255704 w 4042302"/>
                <a:gd name="connsiteY2103" fmla="*/ 433403 h 1608169"/>
                <a:gd name="connsiteX2104" fmla="*/ 256845 w 4042302"/>
                <a:gd name="connsiteY2104" fmla="*/ 434164 h 1608169"/>
                <a:gd name="connsiteX2105" fmla="*/ 254435 w 4042302"/>
                <a:gd name="connsiteY2105" fmla="*/ 434164 h 1608169"/>
                <a:gd name="connsiteX2106" fmla="*/ 254435 w 4042302"/>
                <a:gd name="connsiteY2106" fmla="*/ 430105 h 1608169"/>
                <a:gd name="connsiteX2107" fmla="*/ 255450 w 4042302"/>
                <a:gd name="connsiteY2107" fmla="*/ 430866 h 1608169"/>
                <a:gd name="connsiteX2108" fmla="*/ 253040 w 4042302"/>
                <a:gd name="connsiteY2108" fmla="*/ 430866 h 1608169"/>
                <a:gd name="connsiteX2109" fmla="*/ 253040 w 4042302"/>
                <a:gd name="connsiteY2109" fmla="*/ 426807 h 1608169"/>
                <a:gd name="connsiteX2110" fmla="*/ 254055 w 4042302"/>
                <a:gd name="connsiteY2110" fmla="*/ 427568 h 1608169"/>
                <a:gd name="connsiteX2111" fmla="*/ 251645 w 4042302"/>
                <a:gd name="connsiteY2111" fmla="*/ 427568 h 1608169"/>
                <a:gd name="connsiteX2112" fmla="*/ 251645 w 4042302"/>
                <a:gd name="connsiteY2112" fmla="*/ 420339 h 1608169"/>
                <a:gd name="connsiteX2113" fmla="*/ 252787 w 4042302"/>
                <a:gd name="connsiteY2113" fmla="*/ 421100 h 1608169"/>
                <a:gd name="connsiteX2114" fmla="*/ 250250 w 4042302"/>
                <a:gd name="connsiteY2114" fmla="*/ 421100 h 1608169"/>
                <a:gd name="connsiteX2115" fmla="*/ 250250 w 4042302"/>
                <a:gd name="connsiteY2115" fmla="*/ 417041 h 1608169"/>
                <a:gd name="connsiteX2116" fmla="*/ 251391 w 4042302"/>
                <a:gd name="connsiteY2116" fmla="*/ 417802 h 1608169"/>
                <a:gd name="connsiteX2117" fmla="*/ 248855 w 4042302"/>
                <a:gd name="connsiteY2117" fmla="*/ 417802 h 1608169"/>
                <a:gd name="connsiteX2118" fmla="*/ 248855 w 4042302"/>
                <a:gd name="connsiteY2118" fmla="*/ 413743 h 1608169"/>
                <a:gd name="connsiteX2119" fmla="*/ 249996 w 4042302"/>
                <a:gd name="connsiteY2119" fmla="*/ 414631 h 1608169"/>
                <a:gd name="connsiteX2120" fmla="*/ 247586 w 4042302"/>
                <a:gd name="connsiteY2120" fmla="*/ 414631 h 1608169"/>
                <a:gd name="connsiteX2121" fmla="*/ 247586 w 4042302"/>
                <a:gd name="connsiteY2121" fmla="*/ 410572 h 1608169"/>
                <a:gd name="connsiteX2122" fmla="*/ 248601 w 4042302"/>
                <a:gd name="connsiteY2122" fmla="*/ 411333 h 1608169"/>
                <a:gd name="connsiteX2123" fmla="*/ 246191 w 4042302"/>
                <a:gd name="connsiteY2123" fmla="*/ 411333 h 1608169"/>
                <a:gd name="connsiteX2124" fmla="*/ 246191 w 4042302"/>
                <a:gd name="connsiteY2124" fmla="*/ 404103 h 1608169"/>
                <a:gd name="connsiteX2125" fmla="*/ 247206 w 4042302"/>
                <a:gd name="connsiteY2125" fmla="*/ 404864 h 1608169"/>
                <a:gd name="connsiteX2126" fmla="*/ 245937 w 4042302"/>
                <a:gd name="connsiteY2126" fmla="*/ 404864 h 1608169"/>
                <a:gd name="connsiteX2127" fmla="*/ 242132 w 4042302"/>
                <a:gd name="connsiteY2127" fmla="*/ 404864 h 1608169"/>
                <a:gd name="connsiteX2128" fmla="*/ 242132 w 4042302"/>
                <a:gd name="connsiteY2128" fmla="*/ 400806 h 1608169"/>
                <a:gd name="connsiteX2129" fmla="*/ 243274 w 4042302"/>
                <a:gd name="connsiteY2129" fmla="*/ 401567 h 1608169"/>
                <a:gd name="connsiteX2130" fmla="*/ 240737 w 4042302"/>
                <a:gd name="connsiteY2130" fmla="*/ 401567 h 1608169"/>
                <a:gd name="connsiteX2131" fmla="*/ 240737 w 4042302"/>
                <a:gd name="connsiteY2131" fmla="*/ 391039 h 1608169"/>
                <a:gd name="connsiteX2132" fmla="*/ 241879 w 4042302"/>
                <a:gd name="connsiteY2132" fmla="*/ 391927 h 1608169"/>
                <a:gd name="connsiteX2133" fmla="*/ 236678 w 4042302"/>
                <a:gd name="connsiteY2133" fmla="*/ 391927 h 1608169"/>
                <a:gd name="connsiteX2134" fmla="*/ 236678 w 4042302"/>
                <a:gd name="connsiteY2134" fmla="*/ 384570 h 1608169"/>
                <a:gd name="connsiteX2135" fmla="*/ 237693 w 4042302"/>
                <a:gd name="connsiteY2135" fmla="*/ 385331 h 1608169"/>
                <a:gd name="connsiteX2136" fmla="*/ 235283 w 4042302"/>
                <a:gd name="connsiteY2136" fmla="*/ 385331 h 1608169"/>
                <a:gd name="connsiteX2137" fmla="*/ 235283 w 4042302"/>
                <a:gd name="connsiteY2137" fmla="*/ 374931 h 1608169"/>
                <a:gd name="connsiteX2138" fmla="*/ 236425 w 4042302"/>
                <a:gd name="connsiteY2138" fmla="*/ 375692 h 1608169"/>
                <a:gd name="connsiteX2139" fmla="*/ 233888 w 4042302"/>
                <a:gd name="connsiteY2139" fmla="*/ 375692 h 1608169"/>
                <a:gd name="connsiteX2140" fmla="*/ 233888 w 4042302"/>
                <a:gd name="connsiteY2140" fmla="*/ 365291 h 1608169"/>
                <a:gd name="connsiteX2141" fmla="*/ 235029 w 4042302"/>
                <a:gd name="connsiteY2141" fmla="*/ 366052 h 1608169"/>
                <a:gd name="connsiteX2142" fmla="*/ 233761 w 4042302"/>
                <a:gd name="connsiteY2142" fmla="*/ 366052 h 1608169"/>
                <a:gd name="connsiteX2143" fmla="*/ 231224 w 4042302"/>
                <a:gd name="connsiteY2143" fmla="*/ 366052 h 1608169"/>
                <a:gd name="connsiteX2144" fmla="*/ 231224 w 4042302"/>
                <a:gd name="connsiteY2144" fmla="*/ 358696 h 1608169"/>
                <a:gd name="connsiteX2145" fmla="*/ 232366 w 4042302"/>
                <a:gd name="connsiteY2145" fmla="*/ 359583 h 1608169"/>
                <a:gd name="connsiteX2146" fmla="*/ 228561 w 4042302"/>
                <a:gd name="connsiteY2146" fmla="*/ 359583 h 1608169"/>
                <a:gd name="connsiteX2147" fmla="*/ 228561 w 4042302"/>
                <a:gd name="connsiteY2147" fmla="*/ 352354 h 1608169"/>
                <a:gd name="connsiteX2148" fmla="*/ 229575 w 4042302"/>
                <a:gd name="connsiteY2148" fmla="*/ 353115 h 1608169"/>
                <a:gd name="connsiteX2149" fmla="*/ 223107 w 4042302"/>
                <a:gd name="connsiteY2149" fmla="*/ 353115 h 1608169"/>
                <a:gd name="connsiteX2150" fmla="*/ 223107 w 4042302"/>
                <a:gd name="connsiteY2150" fmla="*/ 349056 h 1608169"/>
                <a:gd name="connsiteX2151" fmla="*/ 224121 w 4042302"/>
                <a:gd name="connsiteY2151" fmla="*/ 349817 h 1608169"/>
                <a:gd name="connsiteX2152" fmla="*/ 221711 w 4042302"/>
                <a:gd name="connsiteY2152" fmla="*/ 349817 h 1608169"/>
                <a:gd name="connsiteX2153" fmla="*/ 221711 w 4042302"/>
                <a:gd name="connsiteY2153" fmla="*/ 342587 h 1608169"/>
                <a:gd name="connsiteX2154" fmla="*/ 222726 w 4042302"/>
                <a:gd name="connsiteY2154" fmla="*/ 343348 h 1608169"/>
                <a:gd name="connsiteX2155" fmla="*/ 220443 w 4042302"/>
                <a:gd name="connsiteY2155" fmla="*/ 343348 h 1608169"/>
                <a:gd name="connsiteX2156" fmla="*/ 220443 w 4042302"/>
                <a:gd name="connsiteY2156" fmla="*/ 336119 h 1608169"/>
                <a:gd name="connsiteX2157" fmla="*/ 221458 w 4042302"/>
                <a:gd name="connsiteY2157" fmla="*/ 337006 h 1608169"/>
                <a:gd name="connsiteX2158" fmla="*/ 216257 w 4042302"/>
                <a:gd name="connsiteY2158" fmla="*/ 337006 h 1608169"/>
                <a:gd name="connsiteX2159" fmla="*/ 216257 w 4042302"/>
                <a:gd name="connsiteY2159" fmla="*/ 329650 h 1608169"/>
                <a:gd name="connsiteX2160" fmla="*/ 217399 w 4042302"/>
                <a:gd name="connsiteY2160" fmla="*/ 330411 h 1608169"/>
                <a:gd name="connsiteX2161" fmla="*/ 214862 w 4042302"/>
                <a:gd name="connsiteY2161" fmla="*/ 330411 h 1608169"/>
                <a:gd name="connsiteX2162" fmla="*/ 214862 w 4042302"/>
                <a:gd name="connsiteY2162" fmla="*/ 320010 h 1608169"/>
                <a:gd name="connsiteX2163" fmla="*/ 216004 w 4042302"/>
                <a:gd name="connsiteY2163" fmla="*/ 320771 h 1608169"/>
                <a:gd name="connsiteX2164" fmla="*/ 213594 w 4042302"/>
                <a:gd name="connsiteY2164" fmla="*/ 320771 h 1608169"/>
                <a:gd name="connsiteX2165" fmla="*/ 213594 w 4042302"/>
                <a:gd name="connsiteY2165" fmla="*/ 316839 h 1608169"/>
                <a:gd name="connsiteX2166" fmla="*/ 214609 w 4042302"/>
                <a:gd name="connsiteY2166" fmla="*/ 317600 h 1608169"/>
                <a:gd name="connsiteX2167" fmla="*/ 208140 w 4042302"/>
                <a:gd name="connsiteY2167" fmla="*/ 317600 h 1608169"/>
                <a:gd name="connsiteX2168" fmla="*/ 208140 w 4042302"/>
                <a:gd name="connsiteY2168" fmla="*/ 313542 h 1608169"/>
                <a:gd name="connsiteX2169" fmla="*/ 209281 w 4042302"/>
                <a:gd name="connsiteY2169" fmla="*/ 314429 h 1608169"/>
                <a:gd name="connsiteX2170" fmla="*/ 206745 w 4042302"/>
                <a:gd name="connsiteY2170" fmla="*/ 314429 h 1608169"/>
                <a:gd name="connsiteX2171" fmla="*/ 206745 w 4042302"/>
                <a:gd name="connsiteY2171" fmla="*/ 303902 h 1608169"/>
                <a:gd name="connsiteX2172" fmla="*/ 207886 w 4042302"/>
                <a:gd name="connsiteY2172" fmla="*/ 304663 h 1608169"/>
                <a:gd name="connsiteX2173" fmla="*/ 205476 w 4042302"/>
                <a:gd name="connsiteY2173" fmla="*/ 304663 h 1608169"/>
                <a:gd name="connsiteX2174" fmla="*/ 205476 w 4042302"/>
                <a:gd name="connsiteY2174" fmla="*/ 300604 h 1608169"/>
                <a:gd name="connsiteX2175" fmla="*/ 206491 w 4042302"/>
                <a:gd name="connsiteY2175" fmla="*/ 301492 h 1608169"/>
                <a:gd name="connsiteX2176" fmla="*/ 202686 w 4042302"/>
                <a:gd name="connsiteY2176" fmla="*/ 301492 h 1608169"/>
                <a:gd name="connsiteX2177" fmla="*/ 202686 w 4042302"/>
                <a:gd name="connsiteY2177" fmla="*/ 297433 h 1608169"/>
                <a:gd name="connsiteX2178" fmla="*/ 203827 w 4042302"/>
                <a:gd name="connsiteY2178" fmla="*/ 298194 h 1608169"/>
                <a:gd name="connsiteX2179" fmla="*/ 201291 w 4042302"/>
                <a:gd name="connsiteY2179" fmla="*/ 298194 h 1608169"/>
                <a:gd name="connsiteX2180" fmla="*/ 201291 w 4042302"/>
                <a:gd name="connsiteY2180" fmla="*/ 290965 h 1608169"/>
                <a:gd name="connsiteX2181" fmla="*/ 202432 w 4042302"/>
                <a:gd name="connsiteY2181" fmla="*/ 291852 h 1608169"/>
                <a:gd name="connsiteX2182" fmla="*/ 195964 w 4042302"/>
                <a:gd name="connsiteY2182" fmla="*/ 291852 h 1608169"/>
                <a:gd name="connsiteX2183" fmla="*/ 195964 w 4042302"/>
                <a:gd name="connsiteY2183" fmla="*/ 287794 h 1608169"/>
                <a:gd name="connsiteX2184" fmla="*/ 196978 w 4042302"/>
                <a:gd name="connsiteY2184" fmla="*/ 288555 h 1608169"/>
                <a:gd name="connsiteX2185" fmla="*/ 193173 w 4042302"/>
                <a:gd name="connsiteY2185" fmla="*/ 288555 h 1608169"/>
                <a:gd name="connsiteX2186" fmla="*/ 193173 w 4042302"/>
                <a:gd name="connsiteY2186" fmla="*/ 284623 h 1608169"/>
                <a:gd name="connsiteX2187" fmla="*/ 194315 w 4042302"/>
                <a:gd name="connsiteY2187" fmla="*/ 285384 h 1608169"/>
                <a:gd name="connsiteX2188" fmla="*/ 190383 w 4042302"/>
                <a:gd name="connsiteY2188" fmla="*/ 285384 h 1608169"/>
                <a:gd name="connsiteX2189" fmla="*/ 190383 w 4042302"/>
                <a:gd name="connsiteY2189" fmla="*/ 281325 h 1608169"/>
                <a:gd name="connsiteX2190" fmla="*/ 191524 w 4042302"/>
                <a:gd name="connsiteY2190" fmla="*/ 282213 h 1608169"/>
                <a:gd name="connsiteX2191" fmla="*/ 189114 w 4042302"/>
                <a:gd name="connsiteY2191" fmla="*/ 282213 h 1608169"/>
                <a:gd name="connsiteX2192" fmla="*/ 189114 w 4042302"/>
                <a:gd name="connsiteY2192" fmla="*/ 278154 h 1608169"/>
                <a:gd name="connsiteX2193" fmla="*/ 190129 w 4042302"/>
                <a:gd name="connsiteY2193" fmla="*/ 278915 h 1608169"/>
                <a:gd name="connsiteX2194" fmla="*/ 187719 w 4042302"/>
                <a:gd name="connsiteY2194" fmla="*/ 278915 h 1608169"/>
                <a:gd name="connsiteX2195" fmla="*/ 187719 w 4042302"/>
                <a:gd name="connsiteY2195" fmla="*/ 274983 h 1608169"/>
                <a:gd name="connsiteX2196" fmla="*/ 188861 w 4042302"/>
                <a:gd name="connsiteY2196" fmla="*/ 275744 h 1608169"/>
                <a:gd name="connsiteX2197" fmla="*/ 186324 w 4042302"/>
                <a:gd name="connsiteY2197" fmla="*/ 275744 h 1608169"/>
                <a:gd name="connsiteX2198" fmla="*/ 186324 w 4042302"/>
                <a:gd name="connsiteY2198" fmla="*/ 265343 h 1608169"/>
                <a:gd name="connsiteX2199" fmla="*/ 187465 w 4042302"/>
                <a:gd name="connsiteY2199" fmla="*/ 266104 h 1608169"/>
                <a:gd name="connsiteX2200" fmla="*/ 185056 w 4042302"/>
                <a:gd name="connsiteY2200" fmla="*/ 266104 h 1608169"/>
                <a:gd name="connsiteX2201" fmla="*/ 185056 w 4042302"/>
                <a:gd name="connsiteY2201" fmla="*/ 262046 h 1608169"/>
                <a:gd name="connsiteX2202" fmla="*/ 186197 w 4042302"/>
                <a:gd name="connsiteY2202" fmla="*/ 262807 h 1608169"/>
                <a:gd name="connsiteX2203" fmla="*/ 182265 w 4042302"/>
                <a:gd name="connsiteY2203" fmla="*/ 262807 h 1608169"/>
                <a:gd name="connsiteX2204" fmla="*/ 182265 w 4042302"/>
                <a:gd name="connsiteY2204" fmla="*/ 252533 h 1608169"/>
                <a:gd name="connsiteX2205" fmla="*/ 183407 w 4042302"/>
                <a:gd name="connsiteY2205" fmla="*/ 253294 h 1608169"/>
                <a:gd name="connsiteX2206" fmla="*/ 176811 w 4042302"/>
                <a:gd name="connsiteY2206" fmla="*/ 253294 h 1608169"/>
                <a:gd name="connsiteX2207" fmla="*/ 176811 w 4042302"/>
                <a:gd name="connsiteY2207" fmla="*/ 249235 h 1608169"/>
                <a:gd name="connsiteX2208" fmla="*/ 177953 w 4042302"/>
                <a:gd name="connsiteY2208" fmla="*/ 250123 h 1608169"/>
                <a:gd name="connsiteX2209" fmla="*/ 172879 w 4042302"/>
                <a:gd name="connsiteY2209" fmla="*/ 250123 h 1608169"/>
                <a:gd name="connsiteX2210" fmla="*/ 172879 w 4042302"/>
                <a:gd name="connsiteY2210" fmla="*/ 242893 h 1608169"/>
                <a:gd name="connsiteX2211" fmla="*/ 173894 w 4042302"/>
                <a:gd name="connsiteY2211" fmla="*/ 243654 h 1608169"/>
                <a:gd name="connsiteX2212" fmla="*/ 171484 w 4042302"/>
                <a:gd name="connsiteY2212" fmla="*/ 243654 h 1608169"/>
                <a:gd name="connsiteX2213" fmla="*/ 171484 w 4042302"/>
                <a:gd name="connsiteY2213" fmla="*/ 233254 h 1608169"/>
                <a:gd name="connsiteX2214" fmla="*/ 172499 w 4042302"/>
                <a:gd name="connsiteY2214" fmla="*/ 234015 h 1608169"/>
                <a:gd name="connsiteX2215" fmla="*/ 167298 w 4042302"/>
                <a:gd name="connsiteY2215" fmla="*/ 234015 h 1608169"/>
                <a:gd name="connsiteX2216" fmla="*/ 167298 w 4042302"/>
                <a:gd name="connsiteY2216" fmla="*/ 230083 h 1608169"/>
                <a:gd name="connsiteX2217" fmla="*/ 168440 w 4042302"/>
                <a:gd name="connsiteY2217" fmla="*/ 230844 h 1608169"/>
                <a:gd name="connsiteX2218" fmla="*/ 166030 w 4042302"/>
                <a:gd name="connsiteY2218" fmla="*/ 230844 h 1608169"/>
                <a:gd name="connsiteX2219" fmla="*/ 166030 w 4042302"/>
                <a:gd name="connsiteY2219" fmla="*/ 226912 h 1608169"/>
                <a:gd name="connsiteX2220" fmla="*/ 167045 w 4042302"/>
                <a:gd name="connsiteY2220" fmla="*/ 227673 h 1608169"/>
                <a:gd name="connsiteX2221" fmla="*/ 164635 w 4042302"/>
                <a:gd name="connsiteY2221" fmla="*/ 227673 h 1608169"/>
                <a:gd name="connsiteX2222" fmla="*/ 164635 w 4042302"/>
                <a:gd name="connsiteY2222" fmla="*/ 223741 h 1608169"/>
                <a:gd name="connsiteX2223" fmla="*/ 165649 w 4042302"/>
                <a:gd name="connsiteY2223" fmla="*/ 224502 h 1608169"/>
                <a:gd name="connsiteX2224" fmla="*/ 163240 w 4042302"/>
                <a:gd name="connsiteY2224" fmla="*/ 224502 h 1608169"/>
                <a:gd name="connsiteX2225" fmla="*/ 163240 w 4042302"/>
                <a:gd name="connsiteY2225" fmla="*/ 217272 h 1608169"/>
                <a:gd name="connsiteX2226" fmla="*/ 164381 w 4042302"/>
                <a:gd name="connsiteY2226" fmla="*/ 218160 h 1608169"/>
                <a:gd name="connsiteX2227" fmla="*/ 161971 w 4042302"/>
                <a:gd name="connsiteY2227" fmla="*/ 218160 h 1608169"/>
                <a:gd name="connsiteX2228" fmla="*/ 161971 w 4042302"/>
                <a:gd name="connsiteY2228" fmla="*/ 210930 h 1608169"/>
                <a:gd name="connsiteX2229" fmla="*/ 162986 w 4042302"/>
                <a:gd name="connsiteY2229" fmla="*/ 211691 h 1608169"/>
                <a:gd name="connsiteX2230" fmla="*/ 160576 w 4042302"/>
                <a:gd name="connsiteY2230" fmla="*/ 211691 h 1608169"/>
                <a:gd name="connsiteX2231" fmla="*/ 160576 w 4042302"/>
                <a:gd name="connsiteY2231" fmla="*/ 207759 h 1608169"/>
                <a:gd name="connsiteX2232" fmla="*/ 161717 w 4042302"/>
                <a:gd name="connsiteY2232" fmla="*/ 208520 h 1608169"/>
                <a:gd name="connsiteX2233" fmla="*/ 157786 w 4042302"/>
                <a:gd name="connsiteY2233" fmla="*/ 208520 h 1608169"/>
                <a:gd name="connsiteX2234" fmla="*/ 157786 w 4042302"/>
                <a:gd name="connsiteY2234" fmla="*/ 204462 h 1608169"/>
                <a:gd name="connsiteX2235" fmla="*/ 158927 w 4042302"/>
                <a:gd name="connsiteY2235" fmla="*/ 205349 h 1608169"/>
                <a:gd name="connsiteX2236" fmla="*/ 156517 w 4042302"/>
                <a:gd name="connsiteY2236" fmla="*/ 205349 h 1608169"/>
                <a:gd name="connsiteX2237" fmla="*/ 156517 w 4042302"/>
                <a:gd name="connsiteY2237" fmla="*/ 194949 h 1608169"/>
                <a:gd name="connsiteX2238" fmla="*/ 157532 w 4042302"/>
                <a:gd name="connsiteY2238" fmla="*/ 195710 h 1608169"/>
                <a:gd name="connsiteX2239" fmla="*/ 155122 w 4042302"/>
                <a:gd name="connsiteY2239" fmla="*/ 195710 h 1608169"/>
                <a:gd name="connsiteX2240" fmla="*/ 155122 w 4042302"/>
                <a:gd name="connsiteY2240" fmla="*/ 191778 h 1608169"/>
                <a:gd name="connsiteX2241" fmla="*/ 156137 w 4042302"/>
                <a:gd name="connsiteY2241" fmla="*/ 192539 h 1608169"/>
                <a:gd name="connsiteX2242" fmla="*/ 153727 w 4042302"/>
                <a:gd name="connsiteY2242" fmla="*/ 192539 h 1608169"/>
                <a:gd name="connsiteX2243" fmla="*/ 153727 w 4042302"/>
                <a:gd name="connsiteY2243" fmla="*/ 185309 h 1608169"/>
                <a:gd name="connsiteX2244" fmla="*/ 154868 w 4042302"/>
                <a:gd name="connsiteY2244" fmla="*/ 186197 h 1608169"/>
                <a:gd name="connsiteX2245" fmla="*/ 152332 w 4042302"/>
                <a:gd name="connsiteY2245" fmla="*/ 186197 h 1608169"/>
                <a:gd name="connsiteX2246" fmla="*/ 152332 w 4042302"/>
                <a:gd name="connsiteY2246" fmla="*/ 182265 h 1608169"/>
                <a:gd name="connsiteX2247" fmla="*/ 153473 w 4042302"/>
                <a:gd name="connsiteY2247" fmla="*/ 183026 h 1608169"/>
                <a:gd name="connsiteX2248" fmla="*/ 149668 w 4042302"/>
                <a:gd name="connsiteY2248" fmla="*/ 183026 h 1608169"/>
                <a:gd name="connsiteX2249" fmla="*/ 149668 w 4042302"/>
                <a:gd name="connsiteY2249" fmla="*/ 175796 h 1608169"/>
                <a:gd name="connsiteX2250" fmla="*/ 150809 w 4042302"/>
                <a:gd name="connsiteY2250" fmla="*/ 176684 h 1608169"/>
                <a:gd name="connsiteX2251" fmla="*/ 148400 w 4042302"/>
                <a:gd name="connsiteY2251" fmla="*/ 176684 h 1608169"/>
                <a:gd name="connsiteX2252" fmla="*/ 148400 w 4042302"/>
                <a:gd name="connsiteY2252" fmla="*/ 169455 h 1608169"/>
                <a:gd name="connsiteX2253" fmla="*/ 149414 w 4042302"/>
                <a:gd name="connsiteY2253" fmla="*/ 170216 h 1608169"/>
                <a:gd name="connsiteX2254" fmla="*/ 147004 w 4042302"/>
                <a:gd name="connsiteY2254" fmla="*/ 170216 h 1608169"/>
                <a:gd name="connsiteX2255" fmla="*/ 147004 w 4042302"/>
                <a:gd name="connsiteY2255" fmla="*/ 162986 h 1608169"/>
                <a:gd name="connsiteX2256" fmla="*/ 148019 w 4042302"/>
                <a:gd name="connsiteY2256" fmla="*/ 163874 h 1608169"/>
                <a:gd name="connsiteX2257" fmla="*/ 144214 w 4042302"/>
                <a:gd name="connsiteY2257" fmla="*/ 163874 h 1608169"/>
                <a:gd name="connsiteX2258" fmla="*/ 144214 w 4042302"/>
                <a:gd name="connsiteY2258" fmla="*/ 159815 h 1608169"/>
                <a:gd name="connsiteX2259" fmla="*/ 145355 w 4042302"/>
                <a:gd name="connsiteY2259" fmla="*/ 160576 h 1608169"/>
                <a:gd name="connsiteX2260" fmla="*/ 142819 w 4042302"/>
                <a:gd name="connsiteY2260" fmla="*/ 160576 h 1608169"/>
                <a:gd name="connsiteX2261" fmla="*/ 142819 w 4042302"/>
                <a:gd name="connsiteY2261" fmla="*/ 156644 h 1608169"/>
                <a:gd name="connsiteX2262" fmla="*/ 143960 w 4042302"/>
                <a:gd name="connsiteY2262" fmla="*/ 157405 h 1608169"/>
                <a:gd name="connsiteX2263" fmla="*/ 138887 w 4042302"/>
                <a:gd name="connsiteY2263" fmla="*/ 157405 h 1608169"/>
                <a:gd name="connsiteX2264" fmla="*/ 138887 w 4042302"/>
                <a:gd name="connsiteY2264" fmla="*/ 153473 h 1608169"/>
                <a:gd name="connsiteX2265" fmla="*/ 139901 w 4042302"/>
                <a:gd name="connsiteY2265" fmla="*/ 154234 h 1608169"/>
                <a:gd name="connsiteX2266" fmla="*/ 133306 w 4042302"/>
                <a:gd name="connsiteY2266" fmla="*/ 154234 h 1608169"/>
                <a:gd name="connsiteX2267" fmla="*/ 133306 w 4042302"/>
                <a:gd name="connsiteY2267" fmla="*/ 143833 h 1608169"/>
                <a:gd name="connsiteX2268" fmla="*/ 134447 w 4042302"/>
                <a:gd name="connsiteY2268" fmla="*/ 144721 h 1608169"/>
                <a:gd name="connsiteX2269" fmla="*/ 132038 w 4042302"/>
                <a:gd name="connsiteY2269" fmla="*/ 144721 h 1608169"/>
                <a:gd name="connsiteX2270" fmla="*/ 132038 w 4042302"/>
                <a:gd name="connsiteY2270" fmla="*/ 140789 h 1608169"/>
                <a:gd name="connsiteX2271" fmla="*/ 133052 w 4042302"/>
                <a:gd name="connsiteY2271" fmla="*/ 141550 h 1608169"/>
                <a:gd name="connsiteX2272" fmla="*/ 130642 w 4042302"/>
                <a:gd name="connsiteY2272" fmla="*/ 141550 h 1608169"/>
                <a:gd name="connsiteX2273" fmla="*/ 130642 w 4042302"/>
                <a:gd name="connsiteY2273" fmla="*/ 137492 h 1608169"/>
                <a:gd name="connsiteX2274" fmla="*/ 131784 w 4042302"/>
                <a:gd name="connsiteY2274" fmla="*/ 138253 h 1608169"/>
                <a:gd name="connsiteX2275" fmla="*/ 129247 w 4042302"/>
                <a:gd name="connsiteY2275" fmla="*/ 138253 h 1608169"/>
                <a:gd name="connsiteX2276" fmla="*/ 129247 w 4042302"/>
                <a:gd name="connsiteY2276" fmla="*/ 134321 h 1608169"/>
                <a:gd name="connsiteX2277" fmla="*/ 130389 w 4042302"/>
                <a:gd name="connsiteY2277" fmla="*/ 135208 h 1608169"/>
                <a:gd name="connsiteX2278" fmla="*/ 126584 w 4042302"/>
                <a:gd name="connsiteY2278" fmla="*/ 135208 h 1608169"/>
                <a:gd name="connsiteX2279" fmla="*/ 126584 w 4042302"/>
                <a:gd name="connsiteY2279" fmla="*/ 131150 h 1608169"/>
                <a:gd name="connsiteX2280" fmla="*/ 127725 w 4042302"/>
                <a:gd name="connsiteY2280" fmla="*/ 131911 h 1608169"/>
                <a:gd name="connsiteX2281" fmla="*/ 125188 w 4042302"/>
                <a:gd name="connsiteY2281" fmla="*/ 131911 h 1608169"/>
                <a:gd name="connsiteX2282" fmla="*/ 125188 w 4042302"/>
                <a:gd name="connsiteY2282" fmla="*/ 127979 h 1608169"/>
                <a:gd name="connsiteX2283" fmla="*/ 126330 w 4042302"/>
                <a:gd name="connsiteY2283" fmla="*/ 128740 h 1608169"/>
                <a:gd name="connsiteX2284" fmla="*/ 123920 w 4042302"/>
                <a:gd name="connsiteY2284" fmla="*/ 128740 h 1608169"/>
                <a:gd name="connsiteX2285" fmla="*/ 123920 w 4042302"/>
                <a:gd name="connsiteY2285" fmla="*/ 124808 h 1608169"/>
                <a:gd name="connsiteX2286" fmla="*/ 124935 w 4042302"/>
                <a:gd name="connsiteY2286" fmla="*/ 125569 h 1608169"/>
                <a:gd name="connsiteX2287" fmla="*/ 122525 w 4042302"/>
                <a:gd name="connsiteY2287" fmla="*/ 125569 h 1608169"/>
                <a:gd name="connsiteX2288" fmla="*/ 122525 w 4042302"/>
                <a:gd name="connsiteY2288" fmla="*/ 118466 h 1608169"/>
                <a:gd name="connsiteX2289" fmla="*/ 123539 w 4042302"/>
                <a:gd name="connsiteY2289" fmla="*/ 119227 h 1608169"/>
                <a:gd name="connsiteX2290" fmla="*/ 119734 w 4042302"/>
                <a:gd name="connsiteY2290" fmla="*/ 119227 h 1608169"/>
                <a:gd name="connsiteX2291" fmla="*/ 119734 w 4042302"/>
                <a:gd name="connsiteY2291" fmla="*/ 111997 h 1608169"/>
                <a:gd name="connsiteX2292" fmla="*/ 120876 w 4042302"/>
                <a:gd name="connsiteY2292" fmla="*/ 112885 h 1608169"/>
                <a:gd name="connsiteX2293" fmla="*/ 114407 w 4042302"/>
                <a:gd name="connsiteY2293" fmla="*/ 112885 h 1608169"/>
                <a:gd name="connsiteX2294" fmla="*/ 114407 w 4042302"/>
                <a:gd name="connsiteY2294" fmla="*/ 108953 h 1608169"/>
                <a:gd name="connsiteX2295" fmla="*/ 115422 w 4042302"/>
                <a:gd name="connsiteY2295" fmla="*/ 109714 h 1608169"/>
                <a:gd name="connsiteX2296" fmla="*/ 113012 w 4042302"/>
                <a:gd name="connsiteY2296" fmla="*/ 109714 h 1608169"/>
                <a:gd name="connsiteX2297" fmla="*/ 113012 w 4042302"/>
                <a:gd name="connsiteY2297" fmla="*/ 105655 h 1608169"/>
                <a:gd name="connsiteX2298" fmla="*/ 114154 w 4042302"/>
                <a:gd name="connsiteY2298" fmla="*/ 106416 h 1608169"/>
                <a:gd name="connsiteX2299" fmla="*/ 110222 w 4042302"/>
                <a:gd name="connsiteY2299" fmla="*/ 106416 h 1608169"/>
                <a:gd name="connsiteX2300" fmla="*/ 110222 w 4042302"/>
                <a:gd name="connsiteY2300" fmla="*/ 102484 h 1608169"/>
                <a:gd name="connsiteX2301" fmla="*/ 111363 w 4042302"/>
                <a:gd name="connsiteY2301" fmla="*/ 103372 h 1608169"/>
                <a:gd name="connsiteX2302" fmla="*/ 108953 w 4042302"/>
                <a:gd name="connsiteY2302" fmla="*/ 103372 h 1608169"/>
                <a:gd name="connsiteX2303" fmla="*/ 108953 w 4042302"/>
                <a:gd name="connsiteY2303" fmla="*/ 99314 h 1608169"/>
                <a:gd name="connsiteX2304" fmla="*/ 109968 w 4042302"/>
                <a:gd name="connsiteY2304" fmla="*/ 100075 h 1608169"/>
                <a:gd name="connsiteX2305" fmla="*/ 107558 w 4042302"/>
                <a:gd name="connsiteY2305" fmla="*/ 100075 h 1608169"/>
                <a:gd name="connsiteX2306" fmla="*/ 107558 w 4042302"/>
                <a:gd name="connsiteY2306" fmla="*/ 96143 h 1608169"/>
                <a:gd name="connsiteX2307" fmla="*/ 108573 w 4042302"/>
                <a:gd name="connsiteY2307" fmla="*/ 96904 h 1608169"/>
                <a:gd name="connsiteX2308" fmla="*/ 106163 w 4042302"/>
                <a:gd name="connsiteY2308" fmla="*/ 96904 h 1608169"/>
                <a:gd name="connsiteX2309" fmla="*/ 106163 w 4042302"/>
                <a:gd name="connsiteY2309" fmla="*/ 89801 h 1608169"/>
                <a:gd name="connsiteX2310" fmla="*/ 107304 w 4042302"/>
                <a:gd name="connsiteY2310" fmla="*/ 90562 h 1608169"/>
                <a:gd name="connsiteX2311" fmla="*/ 102104 w 4042302"/>
                <a:gd name="connsiteY2311" fmla="*/ 90562 h 1608169"/>
                <a:gd name="connsiteX2312" fmla="*/ 102104 w 4042302"/>
                <a:gd name="connsiteY2312" fmla="*/ 83332 h 1608169"/>
                <a:gd name="connsiteX2313" fmla="*/ 103246 w 4042302"/>
                <a:gd name="connsiteY2313" fmla="*/ 84220 h 1608169"/>
                <a:gd name="connsiteX2314" fmla="*/ 100709 w 4042302"/>
                <a:gd name="connsiteY2314" fmla="*/ 84220 h 1608169"/>
                <a:gd name="connsiteX2315" fmla="*/ 100709 w 4042302"/>
                <a:gd name="connsiteY2315" fmla="*/ 80161 h 1608169"/>
                <a:gd name="connsiteX2316" fmla="*/ 101850 w 4042302"/>
                <a:gd name="connsiteY2316" fmla="*/ 81049 h 1608169"/>
                <a:gd name="connsiteX2317" fmla="*/ 99440 w 4042302"/>
                <a:gd name="connsiteY2317" fmla="*/ 81049 h 1608169"/>
                <a:gd name="connsiteX2318" fmla="*/ 99440 w 4042302"/>
                <a:gd name="connsiteY2318" fmla="*/ 76990 h 1608169"/>
                <a:gd name="connsiteX2319" fmla="*/ 100455 w 4042302"/>
                <a:gd name="connsiteY2319" fmla="*/ 77751 h 1608169"/>
                <a:gd name="connsiteX2320" fmla="*/ 98045 w 4042302"/>
                <a:gd name="connsiteY2320" fmla="*/ 77751 h 1608169"/>
                <a:gd name="connsiteX2321" fmla="*/ 98045 w 4042302"/>
                <a:gd name="connsiteY2321" fmla="*/ 73819 h 1608169"/>
                <a:gd name="connsiteX2322" fmla="*/ 99060 w 4042302"/>
                <a:gd name="connsiteY2322" fmla="*/ 74707 h 1608169"/>
                <a:gd name="connsiteX2323" fmla="*/ 96650 w 4042302"/>
                <a:gd name="connsiteY2323" fmla="*/ 74707 h 1608169"/>
                <a:gd name="connsiteX2324" fmla="*/ 96650 w 4042302"/>
                <a:gd name="connsiteY2324" fmla="*/ 70648 h 1608169"/>
                <a:gd name="connsiteX2325" fmla="*/ 97792 w 4042302"/>
                <a:gd name="connsiteY2325" fmla="*/ 71409 h 1608169"/>
                <a:gd name="connsiteX2326" fmla="*/ 82825 w 4042302"/>
                <a:gd name="connsiteY2326" fmla="*/ 71409 h 1608169"/>
                <a:gd name="connsiteX2327" fmla="*/ 80415 w 4042302"/>
                <a:gd name="connsiteY2327" fmla="*/ 71409 h 1608169"/>
                <a:gd name="connsiteX2328" fmla="*/ 80415 w 4042302"/>
                <a:gd name="connsiteY2328" fmla="*/ 67477 h 1608169"/>
                <a:gd name="connsiteX2329" fmla="*/ 81556 w 4042302"/>
                <a:gd name="connsiteY2329" fmla="*/ 68238 h 1608169"/>
                <a:gd name="connsiteX2330" fmla="*/ 79020 w 4042302"/>
                <a:gd name="connsiteY2330" fmla="*/ 68238 h 1608169"/>
                <a:gd name="connsiteX2331" fmla="*/ 79020 w 4042302"/>
                <a:gd name="connsiteY2331" fmla="*/ 64306 h 1608169"/>
                <a:gd name="connsiteX2332" fmla="*/ 80161 w 4042302"/>
                <a:gd name="connsiteY2332" fmla="*/ 65067 h 1608169"/>
                <a:gd name="connsiteX2333" fmla="*/ 76229 w 4042302"/>
                <a:gd name="connsiteY2333" fmla="*/ 65067 h 1608169"/>
                <a:gd name="connsiteX2334" fmla="*/ 76229 w 4042302"/>
                <a:gd name="connsiteY2334" fmla="*/ 61136 h 1608169"/>
                <a:gd name="connsiteX2335" fmla="*/ 77371 w 4042302"/>
                <a:gd name="connsiteY2335" fmla="*/ 61897 h 1608169"/>
                <a:gd name="connsiteX2336" fmla="*/ 73566 w 4042302"/>
                <a:gd name="connsiteY2336" fmla="*/ 61897 h 1608169"/>
                <a:gd name="connsiteX2337" fmla="*/ 73566 w 4042302"/>
                <a:gd name="connsiteY2337" fmla="*/ 57965 h 1608169"/>
                <a:gd name="connsiteX2338" fmla="*/ 74707 w 4042302"/>
                <a:gd name="connsiteY2338" fmla="*/ 58726 h 1608169"/>
                <a:gd name="connsiteX2339" fmla="*/ 72170 w 4042302"/>
                <a:gd name="connsiteY2339" fmla="*/ 58726 h 1608169"/>
                <a:gd name="connsiteX2340" fmla="*/ 72170 w 4042302"/>
                <a:gd name="connsiteY2340" fmla="*/ 54794 h 1608169"/>
                <a:gd name="connsiteX2341" fmla="*/ 73312 w 4042302"/>
                <a:gd name="connsiteY2341" fmla="*/ 55555 h 1608169"/>
                <a:gd name="connsiteX2342" fmla="*/ 66843 w 4042302"/>
                <a:gd name="connsiteY2342" fmla="*/ 55555 h 1608169"/>
                <a:gd name="connsiteX2343" fmla="*/ 66843 w 4042302"/>
                <a:gd name="connsiteY2343" fmla="*/ 51623 h 1608169"/>
                <a:gd name="connsiteX2344" fmla="*/ 67858 w 4042302"/>
                <a:gd name="connsiteY2344" fmla="*/ 52384 h 1608169"/>
                <a:gd name="connsiteX2345" fmla="*/ 45027 w 4042302"/>
                <a:gd name="connsiteY2345" fmla="*/ 52384 h 1608169"/>
                <a:gd name="connsiteX2346" fmla="*/ 45027 w 4042302"/>
                <a:gd name="connsiteY2346" fmla="*/ 48452 h 1608169"/>
                <a:gd name="connsiteX2347" fmla="*/ 46169 w 4042302"/>
                <a:gd name="connsiteY2347" fmla="*/ 49213 h 1608169"/>
                <a:gd name="connsiteX2348" fmla="*/ 42364 w 4042302"/>
                <a:gd name="connsiteY2348" fmla="*/ 49213 h 1608169"/>
                <a:gd name="connsiteX2349" fmla="*/ 42364 w 4042302"/>
                <a:gd name="connsiteY2349" fmla="*/ 45281 h 1608169"/>
                <a:gd name="connsiteX2350" fmla="*/ 43378 w 4042302"/>
                <a:gd name="connsiteY2350" fmla="*/ 46042 h 1608169"/>
                <a:gd name="connsiteX2351" fmla="*/ 38178 w 4042302"/>
                <a:gd name="connsiteY2351" fmla="*/ 46042 h 1608169"/>
                <a:gd name="connsiteX2352" fmla="*/ 38178 w 4042302"/>
                <a:gd name="connsiteY2352" fmla="*/ 32470 h 1608169"/>
                <a:gd name="connsiteX2353" fmla="*/ 39320 w 4042302"/>
                <a:gd name="connsiteY2353" fmla="*/ 33358 h 1608169"/>
                <a:gd name="connsiteX2354" fmla="*/ 34119 w 4042302"/>
                <a:gd name="connsiteY2354" fmla="*/ 33358 h 1608169"/>
                <a:gd name="connsiteX2355" fmla="*/ 34119 w 4042302"/>
                <a:gd name="connsiteY2355" fmla="*/ 29299 h 1608169"/>
                <a:gd name="connsiteX2356" fmla="*/ 35134 w 4042302"/>
                <a:gd name="connsiteY2356" fmla="*/ 30060 h 1608169"/>
                <a:gd name="connsiteX2357" fmla="*/ 26002 w 4042302"/>
                <a:gd name="connsiteY2357" fmla="*/ 30060 h 1608169"/>
                <a:gd name="connsiteX2358" fmla="*/ 26002 w 4042302"/>
                <a:gd name="connsiteY2358" fmla="*/ 22958 h 1608169"/>
                <a:gd name="connsiteX2359" fmla="*/ 27016 w 4042302"/>
                <a:gd name="connsiteY2359" fmla="*/ 23845 h 1608169"/>
                <a:gd name="connsiteX2360" fmla="*/ 24606 w 4042302"/>
                <a:gd name="connsiteY2360" fmla="*/ 23845 h 1608169"/>
                <a:gd name="connsiteX2361" fmla="*/ 24606 w 4042302"/>
                <a:gd name="connsiteY2361" fmla="*/ 19787 h 1608169"/>
                <a:gd name="connsiteX2362" fmla="*/ 25748 w 4042302"/>
                <a:gd name="connsiteY2362" fmla="*/ 20548 h 1608169"/>
                <a:gd name="connsiteX2363" fmla="*/ 23211 w 4042302"/>
                <a:gd name="connsiteY2363" fmla="*/ 20548 h 1608169"/>
                <a:gd name="connsiteX2364" fmla="*/ 23211 w 4042302"/>
                <a:gd name="connsiteY2364" fmla="*/ 16616 h 1608169"/>
                <a:gd name="connsiteX2365" fmla="*/ 24353 w 4042302"/>
                <a:gd name="connsiteY2365" fmla="*/ 17377 h 1608169"/>
                <a:gd name="connsiteX2366" fmla="*/ 19152 w 4042302"/>
                <a:gd name="connsiteY2366" fmla="*/ 17377 h 1608169"/>
                <a:gd name="connsiteX2367" fmla="*/ 19152 w 4042302"/>
                <a:gd name="connsiteY2367" fmla="*/ 13445 h 1608169"/>
                <a:gd name="connsiteX2368" fmla="*/ 20294 w 4042302"/>
                <a:gd name="connsiteY2368" fmla="*/ 14206 h 1608169"/>
                <a:gd name="connsiteX2369" fmla="*/ 16489 w 4042302"/>
                <a:gd name="connsiteY2369" fmla="*/ 14206 h 1608169"/>
                <a:gd name="connsiteX2370" fmla="*/ 16489 w 4042302"/>
                <a:gd name="connsiteY2370" fmla="*/ 7103 h 1608169"/>
                <a:gd name="connsiteX2371" fmla="*/ 17630 w 4042302"/>
                <a:gd name="connsiteY2371" fmla="*/ 7864 h 1608169"/>
                <a:gd name="connsiteX2372" fmla="*/ 12303 w 4042302"/>
                <a:gd name="connsiteY2372" fmla="*/ 7864 h 1608169"/>
                <a:gd name="connsiteX2373" fmla="*/ 12303 w 4042302"/>
                <a:gd name="connsiteY2373" fmla="*/ 3932 h 1608169"/>
                <a:gd name="connsiteX2374" fmla="*/ 13445 w 4042302"/>
                <a:gd name="connsiteY2374" fmla="*/ 4693 h 1608169"/>
                <a:gd name="connsiteX2375" fmla="*/ 9766 w 4042302"/>
                <a:gd name="connsiteY2375" fmla="*/ 4693 h 1608169"/>
                <a:gd name="connsiteX2376" fmla="*/ 9766 w 4042302"/>
                <a:gd name="connsiteY2376" fmla="*/ 761 h 1608169"/>
                <a:gd name="connsiteX2377" fmla="*/ 10781 w 4042302"/>
                <a:gd name="connsiteY2377" fmla="*/ 1522 h 1608169"/>
                <a:gd name="connsiteX2378" fmla="*/ 9386 w 4042302"/>
                <a:gd name="connsiteY2378" fmla="*/ 1522 h 1608169"/>
                <a:gd name="connsiteX2379" fmla="*/ 0 w 4042302"/>
                <a:gd name="connsiteY2379" fmla="*/ 1522 h 1608169"/>
                <a:gd name="connsiteX2380" fmla="*/ 0 w 4042302"/>
                <a:gd name="connsiteY2380" fmla="*/ 0 h 1608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</a:cxnLst>
              <a:rect l="l" t="t" r="r" b="b"/>
              <a:pathLst>
                <a:path w="4042302" h="1608169">
                  <a:moveTo>
                    <a:pt x="0" y="0"/>
                  </a:moveTo>
                  <a:lnTo>
                    <a:pt x="9386" y="0"/>
                  </a:lnTo>
                  <a:lnTo>
                    <a:pt x="11923" y="0"/>
                  </a:lnTo>
                  <a:lnTo>
                    <a:pt x="11923" y="3932"/>
                  </a:lnTo>
                  <a:lnTo>
                    <a:pt x="10781" y="3171"/>
                  </a:lnTo>
                  <a:lnTo>
                    <a:pt x="14586" y="3171"/>
                  </a:lnTo>
                  <a:lnTo>
                    <a:pt x="14586" y="7103"/>
                  </a:lnTo>
                  <a:lnTo>
                    <a:pt x="13445" y="6215"/>
                  </a:lnTo>
                  <a:lnTo>
                    <a:pt x="18645" y="6215"/>
                  </a:lnTo>
                  <a:lnTo>
                    <a:pt x="18645" y="13445"/>
                  </a:lnTo>
                  <a:lnTo>
                    <a:pt x="17630" y="12684"/>
                  </a:lnTo>
                  <a:lnTo>
                    <a:pt x="21435" y="12684"/>
                  </a:lnTo>
                  <a:lnTo>
                    <a:pt x="21435" y="16616"/>
                  </a:lnTo>
                  <a:lnTo>
                    <a:pt x="20294" y="15855"/>
                  </a:lnTo>
                  <a:lnTo>
                    <a:pt x="25367" y="15855"/>
                  </a:lnTo>
                  <a:lnTo>
                    <a:pt x="25367" y="19787"/>
                  </a:lnTo>
                  <a:lnTo>
                    <a:pt x="24353" y="19026"/>
                  </a:lnTo>
                  <a:lnTo>
                    <a:pt x="26763" y="19026"/>
                  </a:lnTo>
                  <a:lnTo>
                    <a:pt x="26763" y="22958"/>
                  </a:lnTo>
                  <a:lnTo>
                    <a:pt x="25748" y="22197"/>
                  </a:lnTo>
                  <a:lnTo>
                    <a:pt x="28158" y="22197"/>
                  </a:lnTo>
                  <a:lnTo>
                    <a:pt x="28158" y="29299"/>
                  </a:lnTo>
                  <a:lnTo>
                    <a:pt x="27016" y="28538"/>
                  </a:lnTo>
                  <a:lnTo>
                    <a:pt x="36275" y="28538"/>
                  </a:lnTo>
                  <a:lnTo>
                    <a:pt x="36275" y="32470"/>
                  </a:lnTo>
                  <a:lnTo>
                    <a:pt x="35134" y="31709"/>
                  </a:lnTo>
                  <a:lnTo>
                    <a:pt x="40461" y="31709"/>
                  </a:lnTo>
                  <a:lnTo>
                    <a:pt x="40461" y="45281"/>
                  </a:lnTo>
                  <a:lnTo>
                    <a:pt x="39320" y="44520"/>
                  </a:lnTo>
                  <a:lnTo>
                    <a:pt x="44520" y="44520"/>
                  </a:lnTo>
                  <a:lnTo>
                    <a:pt x="44520" y="48452"/>
                  </a:lnTo>
                  <a:lnTo>
                    <a:pt x="43378" y="47564"/>
                  </a:lnTo>
                  <a:lnTo>
                    <a:pt x="47310" y="47564"/>
                  </a:lnTo>
                  <a:lnTo>
                    <a:pt x="47310" y="51623"/>
                  </a:lnTo>
                  <a:lnTo>
                    <a:pt x="46169" y="50862"/>
                  </a:lnTo>
                  <a:lnTo>
                    <a:pt x="68999" y="50862"/>
                  </a:lnTo>
                  <a:lnTo>
                    <a:pt x="68999" y="54794"/>
                  </a:lnTo>
                  <a:lnTo>
                    <a:pt x="67858" y="54033"/>
                  </a:lnTo>
                  <a:lnTo>
                    <a:pt x="74327" y="54033"/>
                  </a:lnTo>
                  <a:lnTo>
                    <a:pt x="74327" y="57965"/>
                  </a:lnTo>
                  <a:lnTo>
                    <a:pt x="73312" y="57077"/>
                  </a:lnTo>
                  <a:lnTo>
                    <a:pt x="75722" y="57077"/>
                  </a:lnTo>
                  <a:lnTo>
                    <a:pt x="75722" y="61136"/>
                  </a:lnTo>
                  <a:lnTo>
                    <a:pt x="74707" y="60375"/>
                  </a:lnTo>
                  <a:lnTo>
                    <a:pt x="78512" y="60375"/>
                  </a:lnTo>
                  <a:lnTo>
                    <a:pt x="78512" y="64306"/>
                  </a:lnTo>
                  <a:lnTo>
                    <a:pt x="77371" y="63545"/>
                  </a:lnTo>
                  <a:lnTo>
                    <a:pt x="81176" y="63545"/>
                  </a:lnTo>
                  <a:lnTo>
                    <a:pt x="81176" y="67477"/>
                  </a:lnTo>
                  <a:lnTo>
                    <a:pt x="80161" y="66716"/>
                  </a:lnTo>
                  <a:lnTo>
                    <a:pt x="82571" y="66716"/>
                  </a:lnTo>
                  <a:lnTo>
                    <a:pt x="82571" y="70648"/>
                  </a:lnTo>
                  <a:lnTo>
                    <a:pt x="81556" y="69887"/>
                  </a:lnTo>
                  <a:lnTo>
                    <a:pt x="82825" y="69887"/>
                  </a:lnTo>
                  <a:lnTo>
                    <a:pt x="98806" y="69887"/>
                  </a:lnTo>
                  <a:lnTo>
                    <a:pt x="98806" y="73819"/>
                  </a:lnTo>
                  <a:lnTo>
                    <a:pt x="97792" y="73058"/>
                  </a:lnTo>
                  <a:lnTo>
                    <a:pt x="100201" y="73058"/>
                  </a:lnTo>
                  <a:lnTo>
                    <a:pt x="100201" y="76990"/>
                  </a:lnTo>
                  <a:lnTo>
                    <a:pt x="99060" y="76229"/>
                  </a:lnTo>
                  <a:lnTo>
                    <a:pt x="101597" y="76229"/>
                  </a:lnTo>
                  <a:lnTo>
                    <a:pt x="101597" y="80161"/>
                  </a:lnTo>
                  <a:lnTo>
                    <a:pt x="100455" y="79400"/>
                  </a:lnTo>
                  <a:lnTo>
                    <a:pt x="102992" y="79400"/>
                  </a:lnTo>
                  <a:lnTo>
                    <a:pt x="102992" y="83332"/>
                  </a:lnTo>
                  <a:lnTo>
                    <a:pt x="101850" y="82571"/>
                  </a:lnTo>
                  <a:lnTo>
                    <a:pt x="104387" y="82571"/>
                  </a:lnTo>
                  <a:lnTo>
                    <a:pt x="104387" y="89801"/>
                  </a:lnTo>
                  <a:lnTo>
                    <a:pt x="103246" y="88913"/>
                  </a:lnTo>
                  <a:lnTo>
                    <a:pt x="108319" y="88913"/>
                  </a:lnTo>
                  <a:lnTo>
                    <a:pt x="108319" y="96143"/>
                  </a:lnTo>
                  <a:lnTo>
                    <a:pt x="107304" y="95255"/>
                  </a:lnTo>
                  <a:lnTo>
                    <a:pt x="109714" y="95255"/>
                  </a:lnTo>
                  <a:lnTo>
                    <a:pt x="109714" y="99314"/>
                  </a:lnTo>
                  <a:lnTo>
                    <a:pt x="108573" y="98553"/>
                  </a:lnTo>
                  <a:lnTo>
                    <a:pt x="111109" y="98553"/>
                  </a:lnTo>
                  <a:lnTo>
                    <a:pt x="111109" y="102484"/>
                  </a:lnTo>
                  <a:lnTo>
                    <a:pt x="109968" y="101723"/>
                  </a:lnTo>
                  <a:lnTo>
                    <a:pt x="112505" y="101723"/>
                  </a:lnTo>
                  <a:lnTo>
                    <a:pt x="112505" y="105655"/>
                  </a:lnTo>
                  <a:lnTo>
                    <a:pt x="111363" y="104894"/>
                  </a:lnTo>
                  <a:lnTo>
                    <a:pt x="115168" y="104894"/>
                  </a:lnTo>
                  <a:lnTo>
                    <a:pt x="115168" y="108953"/>
                  </a:lnTo>
                  <a:lnTo>
                    <a:pt x="114154" y="108065"/>
                  </a:lnTo>
                  <a:lnTo>
                    <a:pt x="116563" y="108065"/>
                  </a:lnTo>
                  <a:lnTo>
                    <a:pt x="116563" y="111997"/>
                  </a:lnTo>
                  <a:lnTo>
                    <a:pt x="115422" y="111236"/>
                  </a:lnTo>
                  <a:lnTo>
                    <a:pt x="121891" y="111236"/>
                  </a:lnTo>
                  <a:lnTo>
                    <a:pt x="121891" y="118466"/>
                  </a:lnTo>
                  <a:lnTo>
                    <a:pt x="120876" y="117578"/>
                  </a:lnTo>
                  <a:lnTo>
                    <a:pt x="124681" y="117578"/>
                  </a:lnTo>
                  <a:lnTo>
                    <a:pt x="124681" y="124808"/>
                  </a:lnTo>
                  <a:lnTo>
                    <a:pt x="123539" y="124047"/>
                  </a:lnTo>
                  <a:lnTo>
                    <a:pt x="126076" y="124047"/>
                  </a:lnTo>
                  <a:lnTo>
                    <a:pt x="126076" y="127979"/>
                  </a:lnTo>
                  <a:lnTo>
                    <a:pt x="124935" y="127218"/>
                  </a:lnTo>
                  <a:lnTo>
                    <a:pt x="127471" y="127218"/>
                  </a:lnTo>
                  <a:lnTo>
                    <a:pt x="127471" y="131150"/>
                  </a:lnTo>
                  <a:lnTo>
                    <a:pt x="126330" y="130389"/>
                  </a:lnTo>
                  <a:lnTo>
                    <a:pt x="128740" y="130389"/>
                  </a:lnTo>
                  <a:lnTo>
                    <a:pt x="128740" y="134321"/>
                  </a:lnTo>
                  <a:lnTo>
                    <a:pt x="127725" y="133560"/>
                  </a:lnTo>
                  <a:lnTo>
                    <a:pt x="131403" y="133560"/>
                  </a:lnTo>
                  <a:lnTo>
                    <a:pt x="131403" y="137492"/>
                  </a:lnTo>
                  <a:lnTo>
                    <a:pt x="130389" y="136731"/>
                  </a:lnTo>
                  <a:lnTo>
                    <a:pt x="132799" y="136731"/>
                  </a:lnTo>
                  <a:lnTo>
                    <a:pt x="132799" y="140789"/>
                  </a:lnTo>
                  <a:lnTo>
                    <a:pt x="131784" y="139901"/>
                  </a:lnTo>
                  <a:lnTo>
                    <a:pt x="134194" y="139901"/>
                  </a:lnTo>
                  <a:lnTo>
                    <a:pt x="134194" y="143833"/>
                  </a:lnTo>
                  <a:lnTo>
                    <a:pt x="133052" y="143072"/>
                  </a:lnTo>
                  <a:lnTo>
                    <a:pt x="135589" y="143072"/>
                  </a:lnTo>
                  <a:lnTo>
                    <a:pt x="135589" y="153473"/>
                  </a:lnTo>
                  <a:lnTo>
                    <a:pt x="134447" y="152712"/>
                  </a:lnTo>
                  <a:lnTo>
                    <a:pt x="141043" y="152712"/>
                  </a:lnTo>
                  <a:lnTo>
                    <a:pt x="141043" y="156644"/>
                  </a:lnTo>
                  <a:lnTo>
                    <a:pt x="139901" y="155883"/>
                  </a:lnTo>
                  <a:lnTo>
                    <a:pt x="145102" y="155883"/>
                  </a:lnTo>
                  <a:lnTo>
                    <a:pt x="145102" y="159815"/>
                  </a:lnTo>
                  <a:lnTo>
                    <a:pt x="143960" y="159054"/>
                  </a:lnTo>
                  <a:lnTo>
                    <a:pt x="146370" y="159054"/>
                  </a:lnTo>
                  <a:lnTo>
                    <a:pt x="146370" y="162986"/>
                  </a:lnTo>
                  <a:lnTo>
                    <a:pt x="145355" y="162225"/>
                  </a:lnTo>
                  <a:lnTo>
                    <a:pt x="149161" y="162225"/>
                  </a:lnTo>
                  <a:lnTo>
                    <a:pt x="149161" y="169455"/>
                  </a:lnTo>
                  <a:lnTo>
                    <a:pt x="148019" y="168567"/>
                  </a:lnTo>
                  <a:lnTo>
                    <a:pt x="150556" y="168567"/>
                  </a:lnTo>
                  <a:lnTo>
                    <a:pt x="150556" y="175796"/>
                  </a:lnTo>
                  <a:lnTo>
                    <a:pt x="149414" y="175035"/>
                  </a:lnTo>
                  <a:lnTo>
                    <a:pt x="151951" y="175035"/>
                  </a:lnTo>
                  <a:lnTo>
                    <a:pt x="151951" y="182265"/>
                  </a:lnTo>
                  <a:lnTo>
                    <a:pt x="150809" y="181377"/>
                  </a:lnTo>
                  <a:lnTo>
                    <a:pt x="154615" y="181377"/>
                  </a:lnTo>
                  <a:lnTo>
                    <a:pt x="154615" y="185309"/>
                  </a:lnTo>
                  <a:lnTo>
                    <a:pt x="153473" y="184548"/>
                  </a:lnTo>
                  <a:lnTo>
                    <a:pt x="155883" y="184548"/>
                  </a:lnTo>
                  <a:lnTo>
                    <a:pt x="155883" y="191778"/>
                  </a:lnTo>
                  <a:lnTo>
                    <a:pt x="154868" y="191017"/>
                  </a:lnTo>
                  <a:lnTo>
                    <a:pt x="157278" y="191017"/>
                  </a:lnTo>
                  <a:lnTo>
                    <a:pt x="157278" y="194949"/>
                  </a:lnTo>
                  <a:lnTo>
                    <a:pt x="156137" y="194188"/>
                  </a:lnTo>
                  <a:lnTo>
                    <a:pt x="158673" y="194188"/>
                  </a:lnTo>
                  <a:lnTo>
                    <a:pt x="158673" y="204462"/>
                  </a:lnTo>
                  <a:lnTo>
                    <a:pt x="157532" y="203701"/>
                  </a:lnTo>
                  <a:lnTo>
                    <a:pt x="160069" y="203701"/>
                  </a:lnTo>
                  <a:lnTo>
                    <a:pt x="160069" y="207759"/>
                  </a:lnTo>
                  <a:lnTo>
                    <a:pt x="158927" y="206998"/>
                  </a:lnTo>
                  <a:lnTo>
                    <a:pt x="162732" y="206998"/>
                  </a:lnTo>
                  <a:lnTo>
                    <a:pt x="162732" y="210930"/>
                  </a:lnTo>
                  <a:lnTo>
                    <a:pt x="161717" y="210042"/>
                  </a:lnTo>
                  <a:lnTo>
                    <a:pt x="164127" y="210042"/>
                  </a:lnTo>
                  <a:lnTo>
                    <a:pt x="164127" y="217272"/>
                  </a:lnTo>
                  <a:lnTo>
                    <a:pt x="162986" y="216511"/>
                  </a:lnTo>
                  <a:lnTo>
                    <a:pt x="165396" y="216511"/>
                  </a:lnTo>
                  <a:lnTo>
                    <a:pt x="165396" y="223741"/>
                  </a:lnTo>
                  <a:lnTo>
                    <a:pt x="164381" y="222853"/>
                  </a:lnTo>
                  <a:lnTo>
                    <a:pt x="166791" y="222853"/>
                  </a:lnTo>
                  <a:lnTo>
                    <a:pt x="166791" y="226912"/>
                  </a:lnTo>
                  <a:lnTo>
                    <a:pt x="165649" y="226151"/>
                  </a:lnTo>
                  <a:lnTo>
                    <a:pt x="168186" y="226151"/>
                  </a:lnTo>
                  <a:lnTo>
                    <a:pt x="168186" y="230083"/>
                  </a:lnTo>
                  <a:lnTo>
                    <a:pt x="167045" y="229322"/>
                  </a:lnTo>
                  <a:lnTo>
                    <a:pt x="169581" y="229322"/>
                  </a:lnTo>
                  <a:lnTo>
                    <a:pt x="169581" y="233254"/>
                  </a:lnTo>
                  <a:lnTo>
                    <a:pt x="168440" y="232493"/>
                  </a:lnTo>
                  <a:lnTo>
                    <a:pt x="173640" y="232493"/>
                  </a:lnTo>
                  <a:lnTo>
                    <a:pt x="173640" y="242893"/>
                  </a:lnTo>
                  <a:lnTo>
                    <a:pt x="172499" y="242005"/>
                  </a:lnTo>
                  <a:lnTo>
                    <a:pt x="175035" y="242005"/>
                  </a:lnTo>
                  <a:lnTo>
                    <a:pt x="175035" y="249235"/>
                  </a:lnTo>
                  <a:lnTo>
                    <a:pt x="173894" y="248474"/>
                  </a:lnTo>
                  <a:lnTo>
                    <a:pt x="179094" y="248474"/>
                  </a:lnTo>
                  <a:lnTo>
                    <a:pt x="179094" y="252533"/>
                  </a:lnTo>
                  <a:lnTo>
                    <a:pt x="177953" y="251645"/>
                  </a:lnTo>
                  <a:lnTo>
                    <a:pt x="184548" y="251645"/>
                  </a:lnTo>
                  <a:lnTo>
                    <a:pt x="184548" y="262046"/>
                  </a:lnTo>
                  <a:lnTo>
                    <a:pt x="183407" y="261285"/>
                  </a:lnTo>
                  <a:lnTo>
                    <a:pt x="187212" y="261285"/>
                  </a:lnTo>
                  <a:lnTo>
                    <a:pt x="187212" y="265343"/>
                  </a:lnTo>
                  <a:lnTo>
                    <a:pt x="186197" y="264456"/>
                  </a:lnTo>
                  <a:lnTo>
                    <a:pt x="188480" y="264456"/>
                  </a:lnTo>
                  <a:lnTo>
                    <a:pt x="188480" y="274983"/>
                  </a:lnTo>
                  <a:lnTo>
                    <a:pt x="187465" y="274095"/>
                  </a:lnTo>
                  <a:lnTo>
                    <a:pt x="189875" y="274095"/>
                  </a:lnTo>
                  <a:lnTo>
                    <a:pt x="189875" y="278154"/>
                  </a:lnTo>
                  <a:lnTo>
                    <a:pt x="188861" y="277393"/>
                  </a:lnTo>
                  <a:lnTo>
                    <a:pt x="191271" y="277393"/>
                  </a:lnTo>
                  <a:lnTo>
                    <a:pt x="191271" y="281325"/>
                  </a:lnTo>
                  <a:lnTo>
                    <a:pt x="190129" y="280564"/>
                  </a:lnTo>
                  <a:lnTo>
                    <a:pt x="192666" y="280564"/>
                  </a:lnTo>
                  <a:lnTo>
                    <a:pt x="192666" y="284623"/>
                  </a:lnTo>
                  <a:lnTo>
                    <a:pt x="191524" y="283735"/>
                  </a:lnTo>
                  <a:lnTo>
                    <a:pt x="195329" y="283735"/>
                  </a:lnTo>
                  <a:lnTo>
                    <a:pt x="195329" y="287794"/>
                  </a:lnTo>
                  <a:lnTo>
                    <a:pt x="194315" y="287033"/>
                  </a:lnTo>
                  <a:lnTo>
                    <a:pt x="198120" y="287033"/>
                  </a:lnTo>
                  <a:lnTo>
                    <a:pt x="198120" y="290965"/>
                  </a:lnTo>
                  <a:lnTo>
                    <a:pt x="196978" y="290204"/>
                  </a:lnTo>
                  <a:lnTo>
                    <a:pt x="203447" y="290204"/>
                  </a:lnTo>
                  <a:lnTo>
                    <a:pt x="203447" y="297433"/>
                  </a:lnTo>
                  <a:lnTo>
                    <a:pt x="202432" y="296672"/>
                  </a:lnTo>
                  <a:lnTo>
                    <a:pt x="204842" y="296672"/>
                  </a:lnTo>
                  <a:lnTo>
                    <a:pt x="204842" y="300604"/>
                  </a:lnTo>
                  <a:lnTo>
                    <a:pt x="203827" y="299843"/>
                  </a:lnTo>
                  <a:lnTo>
                    <a:pt x="207633" y="299843"/>
                  </a:lnTo>
                  <a:lnTo>
                    <a:pt x="207633" y="303902"/>
                  </a:lnTo>
                  <a:lnTo>
                    <a:pt x="206491" y="303141"/>
                  </a:lnTo>
                  <a:lnTo>
                    <a:pt x="209028" y="303141"/>
                  </a:lnTo>
                  <a:lnTo>
                    <a:pt x="209028" y="313542"/>
                  </a:lnTo>
                  <a:lnTo>
                    <a:pt x="207886" y="312781"/>
                  </a:lnTo>
                  <a:lnTo>
                    <a:pt x="210296" y="312781"/>
                  </a:lnTo>
                  <a:lnTo>
                    <a:pt x="210296" y="316839"/>
                  </a:lnTo>
                  <a:lnTo>
                    <a:pt x="209281" y="315952"/>
                  </a:lnTo>
                  <a:lnTo>
                    <a:pt x="215750" y="315952"/>
                  </a:lnTo>
                  <a:lnTo>
                    <a:pt x="215750" y="320010"/>
                  </a:lnTo>
                  <a:lnTo>
                    <a:pt x="214609" y="319249"/>
                  </a:lnTo>
                  <a:lnTo>
                    <a:pt x="217145" y="319249"/>
                  </a:lnTo>
                  <a:lnTo>
                    <a:pt x="217145" y="329650"/>
                  </a:lnTo>
                  <a:lnTo>
                    <a:pt x="216004" y="328889"/>
                  </a:lnTo>
                  <a:lnTo>
                    <a:pt x="218541" y="328889"/>
                  </a:lnTo>
                  <a:lnTo>
                    <a:pt x="218541" y="336119"/>
                  </a:lnTo>
                  <a:lnTo>
                    <a:pt x="217399" y="335358"/>
                  </a:lnTo>
                  <a:lnTo>
                    <a:pt x="222599" y="335358"/>
                  </a:lnTo>
                  <a:lnTo>
                    <a:pt x="222599" y="342587"/>
                  </a:lnTo>
                  <a:lnTo>
                    <a:pt x="221458" y="341826"/>
                  </a:lnTo>
                  <a:lnTo>
                    <a:pt x="223868" y="341826"/>
                  </a:lnTo>
                  <a:lnTo>
                    <a:pt x="223868" y="349056"/>
                  </a:lnTo>
                  <a:lnTo>
                    <a:pt x="222726" y="348295"/>
                  </a:lnTo>
                  <a:lnTo>
                    <a:pt x="225263" y="348295"/>
                  </a:lnTo>
                  <a:lnTo>
                    <a:pt x="225263" y="352354"/>
                  </a:lnTo>
                  <a:lnTo>
                    <a:pt x="224121" y="351466"/>
                  </a:lnTo>
                  <a:lnTo>
                    <a:pt x="230717" y="351466"/>
                  </a:lnTo>
                  <a:lnTo>
                    <a:pt x="230717" y="358696"/>
                  </a:lnTo>
                  <a:lnTo>
                    <a:pt x="229575" y="357935"/>
                  </a:lnTo>
                  <a:lnTo>
                    <a:pt x="233507" y="357935"/>
                  </a:lnTo>
                  <a:lnTo>
                    <a:pt x="233507" y="365291"/>
                  </a:lnTo>
                  <a:lnTo>
                    <a:pt x="232366" y="364403"/>
                  </a:lnTo>
                  <a:lnTo>
                    <a:pt x="233761" y="364403"/>
                  </a:lnTo>
                  <a:lnTo>
                    <a:pt x="236171" y="364403"/>
                  </a:lnTo>
                  <a:lnTo>
                    <a:pt x="236171" y="374931"/>
                  </a:lnTo>
                  <a:lnTo>
                    <a:pt x="235029" y="374170"/>
                  </a:lnTo>
                  <a:lnTo>
                    <a:pt x="237439" y="374170"/>
                  </a:lnTo>
                  <a:lnTo>
                    <a:pt x="237439" y="384570"/>
                  </a:lnTo>
                  <a:lnTo>
                    <a:pt x="236425" y="383809"/>
                  </a:lnTo>
                  <a:lnTo>
                    <a:pt x="238835" y="383809"/>
                  </a:lnTo>
                  <a:lnTo>
                    <a:pt x="238835" y="391039"/>
                  </a:lnTo>
                  <a:lnTo>
                    <a:pt x="237693" y="390278"/>
                  </a:lnTo>
                  <a:lnTo>
                    <a:pt x="243020" y="390278"/>
                  </a:lnTo>
                  <a:lnTo>
                    <a:pt x="243020" y="400806"/>
                  </a:lnTo>
                  <a:lnTo>
                    <a:pt x="241879" y="400045"/>
                  </a:lnTo>
                  <a:lnTo>
                    <a:pt x="244289" y="400045"/>
                  </a:lnTo>
                  <a:lnTo>
                    <a:pt x="244289" y="404103"/>
                  </a:lnTo>
                  <a:lnTo>
                    <a:pt x="243274" y="403342"/>
                  </a:lnTo>
                  <a:lnTo>
                    <a:pt x="245937" y="403342"/>
                  </a:lnTo>
                  <a:lnTo>
                    <a:pt x="248347" y="403342"/>
                  </a:lnTo>
                  <a:lnTo>
                    <a:pt x="248347" y="410572"/>
                  </a:lnTo>
                  <a:lnTo>
                    <a:pt x="247206" y="409811"/>
                  </a:lnTo>
                  <a:lnTo>
                    <a:pt x="249743" y="409811"/>
                  </a:lnTo>
                  <a:lnTo>
                    <a:pt x="249743" y="413743"/>
                  </a:lnTo>
                  <a:lnTo>
                    <a:pt x="248601" y="412982"/>
                  </a:lnTo>
                  <a:lnTo>
                    <a:pt x="251138" y="412982"/>
                  </a:lnTo>
                  <a:lnTo>
                    <a:pt x="251138" y="417041"/>
                  </a:lnTo>
                  <a:lnTo>
                    <a:pt x="249996" y="416280"/>
                  </a:lnTo>
                  <a:lnTo>
                    <a:pt x="252406" y="416280"/>
                  </a:lnTo>
                  <a:lnTo>
                    <a:pt x="252406" y="420339"/>
                  </a:lnTo>
                  <a:lnTo>
                    <a:pt x="251391" y="419451"/>
                  </a:lnTo>
                  <a:lnTo>
                    <a:pt x="253801" y="419451"/>
                  </a:lnTo>
                  <a:lnTo>
                    <a:pt x="253801" y="426807"/>
                  </a:lnTo>
                  <a:lnTo>
                    <a:pt x="252787" y="426046"/>
                  </a:lnTo>
                  <a:lnTo>
                    <a:pt x="255197" y="426046"/>
                  </a:lnTo>
                  <a:lnTo>
                    <a:pt x="255197" y="430105"/>
                  </a:lnTo>
                  <a:lnTo>
                    <a:pt x="254055" y="429344"/>
                  </a:lnTo>
                  <a:lnTo>
                    <a:pt x="256592" y="429344"/>
                  </a:lnTo>
                  <a:lnTo>
                    <a:pt x="256592" y="433403"/>
                  </a:lnTo>
                  <a:lnTo>
                    <a:pt x="255450" y="432515"/>
                  </a:lnTo>
                  <a:lnTo>
                    <a:pt x="257987" y="432515"/>
                  </a:lnTo>
                  <a:lnTo>
                    <a:pt x="257987" y="443042"/>
                  </a:lnTo>
                  <a:lnTo>
                    <a:pt x="256845" y="442281"/>
                  </a:lnTo>
                  <a:lnTo>
                    <a:pt x="260524" y="442281"/>
                  </a:lnTo>
                  <a:lnTo>
                    <a:pt x="260524" y="446340"/>
                  </a:lnTo>
                  <a:lnTo>
                    <a:pt x="259509" y="445579"/>
                  </a:lnTo>
                  <a:lnTo>
                    <a:pt x="263314" y="445579"/>
                  </a:lnTo>
                  <a:lnTo>
                    <a:pt x="263314" y="452809"/>
                  </a:lnTo>
                  <a:lnTo>
                    <a:pt x="262173" y="452048"/>
                  </a:lnTo>
                  <a:lnTo>
                    <a:pt x="264709" y="452048"/>
                  </a:lnTo>
                  <a:lnTo>
                    <a:pt x="264709" y="456107"/>
                  </a:lnTo>
                  <a:lnTo>
                    <a:pt x="263568" y="455346"/>
                  </a:lnTo>
                  <a:lnTo>
                    <a:pt x="268768" y="455346"/>
                  </a:lnTo>
                  <a:lnTo>
                    <a:pt x="268768" y="459278"/>
                  </a:lnTo>
                  <a:lnTo>
                    <a:pt x="267753" y="458517"/>
                  </a:lnTo>
                  <a:lnTo>
                    <a:pt x="272827" y="458517"/>
                  </a:lnTo>
                  <a:lnTo>
                    <a:pt x="272827" y="478937"/>
                  </a:lnTo>
                  <a:lnTo>
                    <a:pt x="271685" y="478049"/>
                  </a:lnTo>
                  <a:lnTo>
                    <a:pt x="276886" y="478049"/>
                  </a:lnTo>
                  <a:lnTo>
                    <a:pt x="276886" y="482235"/>
                  </a:lnTo>
                  <a:lnTo>
                    <a:pt x="275871" y="481347"/>
                  </a:lnTo>
                  <a:lnTo>
                    <a:pt x="278281" y="481347"/>
                  </a:lnTo>
                  <a:lnTo>
                    <a:pt x="278281" y="485406"/>
                  </a:lnTo>
                  <a:lnTo>
                    <a:pt x="277266" y="484645"/>
                  </a:lnTo>
                  <a:lnTo>
                    <a:pt x="278535" y="484645"/>
                  </a:lnTo>
                  <a:lnTo>
                    <a:pt x="279930" y="484645"/>
                  </a:lnTo>
                  <a:lnTo>
                    <a:pt x="285003" y="484645"/>
                  </a:lnTo>
                  <a:lnTo>
                    <a:pt x="285003" y="492002"/>
                  </a:lnTo>
                  <a:lnTo>
                    <a:pt x="283989" y="491114"/>
                  </a:lnTo>
                  <a:lnTo>
                    <a:pt x="286398" y="491114"/>
                  </a:lnTo>
                  <a:lnTo>
                    <a:pt x="286398" y="501768"/>
                  </a:lnTo>
                  <a:lnTo>
                    <a:pt x="285384" y="501007"/>
                  </a:lnTo>
                  <a:lnTo>
                    <a:pt x="293248" y="501007"/>
                  </a:lnTo>
                  <a:lnTo>
                    <a:pt x="293248" y="505066"/>
                  </a:lnTo>
                  <a:lnTo>
                    <a:pt x="292233" y="504305"/>
                  </a:lnTo>
                  <a:lnTo>
                    <a:pt x="294516" y="504305"/>
                  </a:lnTo>
                  <a:lnTo>
                    <a:pt x="294516" y="511534"/>
                  </a:lnTo>
                  <a:lnTo>
                    <a:pt x="293501" y="510773"/>
                  </a:lnTo>
                  <a:lnTo>
                    <a:pt x="298702" y="510773"/>
                  </a:lnTo>
                  <a:lnTo>
                    <a:pt x="298702" y="514832"/>
                  </a:lnTo>
                  <a:lnTo>
                    <a:pt x="297560" y="514071"/>
                  </a:lnTo>
                  <a:lnTo>
                    <a:pt x="300097" y="514071"/>
                  </a:lnTo>
                  <a:lnTo>
                    <a:pt x="300097" y="518130"/>
                  </a:lnTo>
                  <a:lnTo>
                    <a:pt x="298955" y="517369"/>
                  </a:lnTo>
                  <a:lnTo>
                    <a:pt x="301365" y="517369"/>
                  </a:lnTo>
                  <a:lnTo>
                    <a:pt x="301365" y="528023"/>
                  </a:lnTo>
                  <a:lnTo>
                    <a:pt x="300351" y="527135"/>
                  </a:lnTo>
                  <a:lnTo>
                    <a:pt x="302760" y="527135"/>
                  </a:lnTo>
                  <a:lnTo>
                    <a:pt x="302760" y="534492"/>
                  </a:lnTo>
                  <a:lnTo>
                    <a:pt x="301619" y="533731"/>
                  </a:lnTo>
                  <a:lnTo>
                    <a:pt x="304156" y="533731"/>
                  </a:lnTo>
                  <a:lnTo>
                    <a:pt x="304156" y="537790"/>
                  </a:lnTo>
                  <a:lnTo>
                    <a:pt x="303014" y="537029"/>
                  </a:lnTo>
                  <a:lnTo>
                    <a:pt x="305424" y="537029"/>
                  </a:lnTo>
                  <a:lnTo>
                    <a:pt x="305424" y="541088"/>
                  </a:lnTo>
                  <a:lnTo>
                    <a:pt x="304283" y="540327"/>
                  </a:lnTo>
                  <a:lnTo>
                    <a:pt x="306819" y="540327"/>
                  </a:lnTo>
                  <a:lnTo>
                    <a:pt x="306819" y="544385"/>
                  </a:lnTo>
                  <a:lnTo>
                    <a:pt x="305678" y="543497"/>
                  </a:lnTo>
                  <a:lnTo>
                    <a:pt x="308214" y="543497"/>
                  </a:lnTo>
                  <a:lnTo>
                    <a:pt x="308214" y="547556"/>
                  </a:lnTo>
                  <a:lnTo>
                    <a:pt x="307073" y="546795"/>
                  </a:lnTo>
                  <a:lnTo>
                    <a:pt x="310878" y="546795"/>
                  </a:lnTo>
                  <a:lnTo>
                    <a:pt x="310878" y="550854"/>
                  </a:lnTo>
                  <a:lnTo>
                    <a:pt x="309863" y="550093"/>
                  </a:lnTo>
                  <a:lnTo>
                    <a:pt x="312273" y="550093"/>
                  </a:lnTo>
                  <a:lnTo>
                    <a:pt x="312273" y="554152"/>
                  </a:lnTo>
                  <a:lnTo>
                    <a:pt x="311132" y="553391"/>
                  </a:lnTo>
                  <a:lnTo>
                    <a:pt x="315064" y="553391"/>
                  </a:lnTo>
                  <a:lnTo>
                    <a:pt x="315064" y="564045"/>
                  </a:lnTo>
                  <a:lnTo>
                    <a:pt x="313922" y="563284"/>
                  </a:lnTo>
                  <a:lnTo>
                    <a:pt x="317600" y="563284"/>
                  </a:lnTo>
                  <a:lnTo>
                    <a:pt x="317600" y="567343"/>
                  </a:lnTo>
                  <a:lnTo>
                    <a:pt x="316586" y="566455"/>
                  </a:lnTo>
                  <a:lnTo>
                    <a:pt x="318996" y="566455"/>
                  </a:lnTo>
                  <a:lnTo>
                    <a:pt x="318996" y="570514"/>
                  </a:lnTo>
                  <a:lnTo>
                    <a:pt x="317981" y="569753"/>
                  </a:lnTo>
                  <a:lnTo>
                    <a:pt x="325845" y="569753"/>
                  </a:lnTo>
                  <a:lnTo>
                    <a:pt x="325845" y="573812"/>
                  </a:lnTo>
                  <a:lnTo>
                    <a:pt x="324830" y="573051"/>
                  </a:lnTo>
                  <a:lnTo>
                    <a:pt x="328635" y="573051"/>
                  </a:lnTo>
                  <a:lnTo>
                    <a:pt x="328635" y="580407"/>
                  </a:lnTo>
                  <a:lnTo>
                    <a:pt x="327494" y="579646"/>
                  </a:lnTo>
                  <a:lnTo>
                    <a:pt x="331299" y="579646"/>
                  </a:lnTo>
                  <a:lnTo>
                    <a:pt x="331299" y="583705"/>
                  </a:lnTo>
                  <a:lnTo>
                    <a:pt x="330157" y="582944"/>
                  </a:lnTo>
                  <a:lnTo>
                    <a:pt x="332694" y="582944"/>
                  </a:lnTo>
                  <a:lnTo>
                    <a:pt x="332694" y="590300"/>
                  </a:lnTo>
                  <a:lnTo>
                    <a:pt x="331552" y="589413"/>
                  </a:lnTo>
                  <a:lnTo>
                    <a:pt x="333962" y="589413"/>
                  </a:lnTo>
                  <a:lnTo>
                    <a:pt x="333962" y="596769"/>
                  </a:lnTo>
                  <a:lnTo>
                    <a:pt x="332948" y="596008"/>
                  </a:lnTo>
                  <a:lnTo>
                    <a:pt x="336753" y="596008"/>
                  </a:lnTo>
                  <a:lnTo>
                    <a:pt x="336753" y="600067"/>
                  </a:lnTo>
                  <a:lnTo>
                    <a:pt x="335611" y="599306"/>
                  </a:lnTo>
                  <a:lnTo>
                    <a:pt x="339543" y="599306"/>
                  </a:lnTo>
                  <a:lnTo>
                    <a:pt x="339543" y="603365"/>
                  </a:lnTo>
                  <a:lnTo>
                    <a:pt x="338402" y="602604"/>
                  </a:lnTo>
                  <a:lnTo>
                    <a:pt x="342080" y="602604"/>
                  </a:lnTo>
                  <a:lnTo>
                    <a:pt x="342080" y="609960"/>
                  </a:lnTo>
                  <a:lnTo>
                    <a:pt x="341065" y="609199"/>
                  </a:lnTo>
                  <a:lnTo>
                    <a:pt x="343475" y="609199"/>
                  </a:lnTo>
                  <a:lnTo>
                    <a:pt x="343475" y="616556"/>
                  </a:lnTo>
                  <a:lnTo>
                    <a:pt x="342461" y="615795"/>
                  </a:lnTo>
                  <a:lnTo>
                    <a:pt x="344870" y="615795"/>
                  </a:lnTo>
                  <a:lnTo>
                    <a:pt x="344870" y="619853"/>
                  </a:lnTo>
                  <a:lnTo>
                    <a:pt x="343729" y="619092"/>
                  </a:lnTo>
                  <a:lnTo>
                    <a:pt x="347661" y="619092"/>
                  </a:lnTo>
                  <a:lnTo>
                    <a:pt x="347661" y="626449"/>
                  </a:lnTo>
                  <a:lnTo>
                    <a:pt x="346519" y="625688"/>
                  </a:lnTo>
                  <a:lnTo>
                    <a:pt x="350324" y="625688"/>
                  </a:lnTo>
                  <a:lnTo>
                    <a:pt x="350324" y="629747"/>
                  </a:lnTo>
                  <a:lnTo>
                    <a:pt x="349310" y="628859"/>
                  </a:lnTo>
                  <a:lnTo>
                    <a:pt x="352988" y="628859"/>
                  </a:lnTo>
                  <a:lnTo>
                    <a:pt x="352988" y="633045"/>
                  </a:lnTo>
                  <a:lnTo>
                    <a:pt x="351846" y="632157"/>
                  </a:lnTo>
                  <a:lnTo>
                    <a:pt x="354383" y="632157"/>
                  </a:lnTo>
                  <a:lnTo>
                    <a:pt x="354383" y="636342"/>
                  </a:lnTo>
                  <a:lnTo>
                    <a:pt x="353242" y="635581"/>
                  </a:lnTo>
                  <a:lnTo>
                    <a:pt x="355778" y="635581"/>
                  </a:lnTo>
                  <a:lnTo>
                    <a:pt x="355778" y="639640"/>
                  </a:lnTo>
                  <a:lnTo>
                    <a:pt x="354637" y="638879"/>
                  </a:lnTo>
                  <a:lnTo>
                    <a:pt x="358442" y="638879"/>
                  </a:lnTo>
                  <a:lnTo>
                    <a:pt x="358442" y="649407"/>
                  </a:lnTo>
                  <a:lnTo>
                    <a:pt x="357427" y="648646"/>
                  </a:lnTo>
                  <a:lnTo>
                    <a:pt x="359837" y="648646"/>
                  </a:lnTo>
                  <a:lnTo>
                    <a:pt x="359837" y="656002"/>
                  </a:lnTo>
                  <a:lnTo>
                    <a:pt x="358696" y="655241"/>
                  </a:lnTo>
                  <a:lnTo>
                    <a:pt x="361232" y="655241"/>
                  </a:lnTo>
                  <a:lnTo>
                    <a:pt x="361232" y="659300"/>
                  </a:lnTo>
                  <a:lnTo>
                    <a:pt x="360091" y="658539"/>
                  </a:lnTo>
                  <a:lnTo>
                    <a:pt x="363896" y="658539"/>
                  </a:lnTo>
                  <a:lnTo>
                    <a:pt x="363896" y="662598"/>
                  </a:lnTo>
                  <a:lnTo>
                    <a:pt x="362754" y="661837"/>
                  </a:lnTo>
                  <a:lnTo>
                    <a:pt x="365291" y="661837"/>
                  </a:lnTo>
                  <a:lnTo>
                    <a:pt x="365291" y="669193"/>
                  </a:lnTo>
                  <a:lnTo>
                    <a:pt x="364150" y="668432"/>
                  </a:lnTo>
                  <a:lnTo>
                    <a:pt x="366560" y="668432"/>
                  </a:lnTo>
                  <a:lnTo>
                    <a:pt x="366560" y="672491"/>
                  </a:lnTo>
                  <a:lnTo>
                    <a:pt x="365545" y="671730"/>
                  </a:lnTo>
                  <a:lnTo>
                    <a:pt x="367955" y="671730"/>
                  </a:lnTo>
                  <a:lnTo>
                    <a:pt x="367955" y="682384"/>
                  </a:lnTo>
                  <a:lnTo>
                    <a:pt x="366940" y="681496"/>
                  </a:lnTo>
                  <a:lnTo>
                    <a:pt x="370745" y="681496"/>
                  </a:lnTo>
                  <a:lnTo>
                    <a:pt x="370745" y="685555"/>
                  </a:lnTo>
                  <a:lnTo>
                    <a:pt x="369604" y="684794"/>
                  </a:lnTo>
                  <a:lnTo>
                    <a:pt x="376072" y="684794"/>
                  </a:lnTo>
                  <a:lnTo>
                    <a:pt x="376072" y="692278"/>
                  </a:lnTo>
                  <a:lnTo>
                    <a:pt x="375058" y="691517"/>
                  </a:lnTo>
                  <a:lnTo>
                    <a:pt x="377468" y="691517"/>
                  </a:lnTo>
                  <a:lnTo>
                    <a:pt x="377468" y="698746"/>
                  </a:lnTo>
                  <a:lnTo>
                    <a:pt x="376326" y="697985"/>
                  </a:lnTo>
                  <a:lnTo>
                    <a:pt x="378863" y="697985"/>
                  </a:lnTo>
                  <a:lnTo>
                    <a:pt x="378863" y="702044"/>
                  </a:lnTo>
                  <a:lnTo>
                    <a:pt x="377721" y="701283"/>
                  </a:lnTo>
                  <a:lnTo>
                    <a:pt x="382922" y="701283"/>
                  </a:lnTo>
                  <a:lnTo>
                    <a:pt x="382922" y="711937"/>
                  </a:lnTo>
                  <a:lnTo>
                    <a:pt x="381907" y="711176"/>
                  </a:lnTo>
                  <a:lnTo>
                    <a:pt x="384317" y="711176"/>
                  </a:lnTo>
                  <a:lnTo>
                    <a:pt x="384317" y="715235"/>
                  </a:lnTo>
                  <a:lnTo>
                    <a:pt x="383175" y="714474"/>
                  </a:lnTo>
                  <a:lnTo>
                    <a:pt x="388376" y="714474"/>
                  </a:lnTo>
                  <a:lnTo>
                    <a:pt x="388376" y="721831"/>
                  </a:lnTo>
                  <a:lnTo>
                    <a:pt x="387234" y="721070"/>
                  </a:lnTo>
                  <a:lnTo>
                    <a:pt x="393830" y="721070"/>
                  </a:lnTo>
                  <a:lnTo>
                    <a:pt x="393830" y="725128"/>
                  </a:lnTo>
                  <a:lnTo>
                    <a:pt x="392688" y="724367"/>
                  </a:lnTo>
                  <a:lnTo>
                    <a:pt x="395225" y="724367"/>
                  </a:lnTo>
                  <a:lnTo>
                    <a:pt x="395225" y="728426"/>
                  </a:lnTo>
                  <a:lnTo>
                    <a:pt x="394083" y="727665"/>
                  </a:lnTo>
                  <a:lnTo>
                    <a:pt x="396620" y="727665"/>
                  </a:lnTo>
                  <a:lnTo>
                    <a:pt x="396620" y="731724"/>
                  </a:lnTo>
                  <a:lnTo>
                    <a:pt x="395478" y="730836"/>
                  </a:lnTo>
                  <a:lnTo>
                    <a:pt x="399157" y="730836"/>
                  </a:lnTo>
                  <a:lnTo>
                    <a:pt x="399157" y="735022"/>
                  </a:lnTo>
                  <a:lnTo>
                    <a:pt x="398142" y="734134"/>
                  </a:lnTo>
                  <a:lnTo>
                    <a:pt x="401947" y="734134"/>
                  </a:lnTo>
                  <a:lnTo>
                    <a:pt x="401947" y="738193"/>
                  </a:lnTo>
                  <a:lnTo>
                    <a:pt x="400806" y="737432"/>
                  </a:lnTo>
                  <a:lnTo>
                    <a:pt x="402201" y="737432"/>
                  </a:lnTo>
                  <a:lnTo>
                    <a:pt x="406386" y="737432"/>
                  </a:lnTo>
                  <a:lnTo>
                    <a:pt x="411460" y="737432"/>
                  </a:lnTo>
                  <a:lnTo>
                    <a:pt x="411460" y="748213"/>
                  </a:lnTo>
                  <a:lnTo>
                    <a:pt x="410318" y="747325"/>
                  </a:lnTo>
                  <a:lnTo>
                    <a:pt x="412855" y="747325"/>
                  </a:lnTo>
                  <a:lnTo>
                    <a:pt x="412855" y="751511"/>
                  </a:lnTo>
                  <a:lnTo>
                    <a:pt x="411714" y="750749"/>
                  </a:lnTo>
                  <a:lnTo>
                    <a:pt x="414250" y="750749"/>
                  </a:lnTo>
                  <a:lnTo>
                    <a:pt x="414250" y="754808"/>
                  </a:lnTo>
                  <a:lnTo>
                    <a:pt x="413109" y="754047"/>
                  </a:lnTo>
                  <a:lnTo>
                    <a:pt x="415519" y="754047"/>
                  </a:lnTo>
                  <a:lnTo>
                    <a:pt x="415519" y="758106"/>
                  </a:lnTo>
                  <a:lnTo>
                    <a:pt x="414504" y="757345"/>
                  </a:lnTo>
                  <a:lnTo>
                    <a:pt x="416914" y="757345"/>
                  </a:lnTo>
                  <a:lnTo>
                    <a:pt x="416914" y="761404"/>
                  </a:lnTo>
                  <a:lnTo>
                    <a:pt x="415772" y="760643"/>
                  </a:lnTo>
                  <a:lnTo>
                    <a:pt x="418309" y="760643"/>
                  </a:lnTo>
                  <a:lnTo>
                    <a:pt x="418309" y="764702"/>
                  </a:lnTo>
                  <a:lnTo>
                    <a:pt x="417168" y="763941"/>
                  </a:lnTo>
                  <a:lnTo>
                    <a:pt x="419704" y="763941"/>
                  </a:lnTo>
                  <a:lnTo>
                    <a:pt x="419704" y="767999"/>
                  </a:lnTo>
                  <a:lnTo>
                    <a:pt x="418563" y="767238"/>
                  </a:lnTo>
                  <a:lnTo>
                    <a:pt x="422368" y="767238"/>
                  </a:lnTo>
                  <a:lnTo>
                    <a:pt x="422368" y="771424"/>
                  </a:lnTo>
                  <a:lnTo>
                    <a:pt x="421226" y="770663"/>
                  </a:lnTo>
                  <a:lnTo>
                    <a:pt x="426427" y="770663"/>
                  </a:lnTo>
                  <a:lnTo>
                    <a:pt x="426427" y="778019"/>
                  </a:lnTo>
                  <a:lnTo>
                    <a:pt x="425285" y="777258"/>
                  </a:lnTo>
                  <a:lnTo>
                    <a:pt x="427822" y="777258"/>
                  </a:lnTo>
                  <a:lnTo>
                    <a:pt x="427822" y="781317"/>
                  </a:lnTo>
                  <a:lnTo>
                    <a:pt x="426680" y="780556"/>
                  </a:lnTo>
                  <a:lnTo>
                    <a:pt x="430486" y="780556"/>
                  </a:lnTo>
                  <a:lnTo>
                    <a:pt x="430486" y="784615"/>
                  </a:lnTo>
                  <a:lnTo>
                    <a:pt x="429471" y="783854"/>
                  </a:lnTo>
                  <a:lnTo>
                    <a:pt x="431881" y="783854"/>
                  </a:lnTo>
                  <a:lnTo>
                    <a:pt x="431881" y="787913"/>
                  </a:lnTo>
                  <a:lnTo>
                    <a:pt x="430866" y="787152"/>
                  </a:lnTo>
                  <a:lnTo>
                    <a:pt x="435940" y="787152"/>
                  </a:lnTo>
                  <a:lnTo>
                    <a:pt x="435940" y="791211"/>
                  </a:lnTo>
                  <a:lnTo>
                    <a:pt x="434798" y="790450"/>
                  </a:lnTo>
                  <a:lnTo>
                    <a:pt x="439998" y="790450"/>
                  </a:lnTo>
                  <a:lnTo>
                    <a:pt x="439998" y="794508"/>
                  </a:lnTo>
                  <a:lnTo>
                    <a:pt x="438984" y="793747"/>
                  </a:lnTo>
                  <a:lnTo>
                    <a:pt x="441394" y="793747"/>
                  </a:lnTo>
                  <a:lnTo>
                    <a:pt x="441394" y="804528"/>
                  </a:lnTo>
                  <a:lnTo>
                    <a:pt x="440252" y="803767"/>
                  </a:lnTo>
                  <a:lnTo>
                    <a:pt x="442789" y="803767"/>
                  </a:lnTo>
                  <a:lnTo>
                    <a:pt x="442789" y="811124"/>
                  </a:lnTo>
                  <a:lnTo>
                    <a:pt x="441647" y="810363"/>
                  </a:lnTo>
                  <a:lnTo>
                    <a:pt x="448116" y="810363"/>
                  </a:lnTo>
                  <a:lnTo>
                    <a:pt x="448116" y="814422"/>
                  </a:lnTo>
                  <a:lnTo>
                    <a:pt x="447101" y="813661"/>
                  </a:lnTo>
                  <a:lnTo>
                    <a:pt x="452302" y="813661"/>
                  </a:lnTo>
                  <a:lnTo>
                    <a:pt x="452302" y="824442"/>
                  </a:lnTo>
                  <a:lnTo>
                    <a:pt x="451160" y="823681"/>
                  </a:lnTo>
                  <a:lnTo>
                    <a:pt x="456360" y="823681"/>
                  </a:lnTo>
                  <a:lnTo>
                    <a:pt x="456360" y="827740"/>
                  </a:lnTo>
                  <a:lnTo>
                    <a:pt x="455346" y="826852"/>
                  </a:lnTo>
                  <a:lnTo>
                    <a:pt x="461814" y="826852"/>
                  </a:lnTo>
                  <a:lnTo>
                    <a:pt x="461814" y="831037"/>
                  </a:lnTo>
                  <a:lnTo>
                    <a:pt x="460673" y="830276"/>
                  </a:lnTo>
                  <a:lnTo>
                    <a:pt x="465873" y="830276"/>
                  </a:lnTo>
                  <a:lnTo>
                    <a:pt x="465873" y="834335"/>
                  </a:lnTo>
                  <a:lnTo>
                    <a:pt x="464732" y="833574"/>
                  </a:lnTo>
                  <a:lnTo>
                    <a:pt x="471327" y="833574"/>
                  </a:lnTo>
                  <a:lnTo>
                    <a:pt x="471327" y="840931"/>
                  </a:lnTo>
                  <a:lnTo>
                    <a:pt x="470186" y="840170"/>
                  </a:lnTo>
                  <a:lnTo>
                    <a:pt x="472596" y="840170"/>
                  </a:lnTo>
                  <a:lnTo>
                    <a:pt x="472596" y="844355"/>
                  </a:lnTo>
                  <a:lnTo>
                    <a:pt x="471581" y="843467"/>
                  </a:lnTo>
                  <a:lnTo>
                    <a:pt x="473991" y="843467"/>
                  </a:lnTo>
                  <a:lnTo>
                    <a:pt x="473991" y="847653"/>
                  </a:lnTo>
                  <a:lnTo>
                    <a:pt x="472976" y="846892"/>
                  </a:lnTo>
                  <a:lnTo>
                    <a:pt x="475386" y="846892"/>
                  </a:lnTo>
                  <a:lnTo>
                    <a:pt x="475386" y="850951"/>
                  </a:lnTo>
                  <a:lnTo>
                    <a:pt x="474244" y="850190"/>
                  </a:lnTo>
                  <a:lnTo>
                    <a:pt x="479445" y="850190"/>
                  </a:lnTo>
                  <a:lnTo>
                    <a:pt x="479445" y="860844"/>
                  </a:lnTo>
                  <a:lnTo>
                    <a:pt x="478430" y="860083"/>
                  </a:lnTo>
                  <a:lnTo>
                    <a:pt x="480840" y="860083"/>
                  </a:lnTo>
                  <a:lnTo>
                    <a:pt x="480840" y="867567"/>
                  </a:lnTo>
                  <a:lnTo>
                    <a:pt x="479825" y="866805"/>
                  </a:lnTo>
                  <a:lnTo>
                    <a:pt x="484899" y="866805"/>
                  </a:lnTo>
                  <a:lnTo>
                    <a:pt x="484899" y="877460"/>
                  </a:lnTo>
                  <a:lnTo>
                    <a:pt x="483757" y="876699"/>
                  </a:lnTo>
                  <a:lnTo>
                    <a:pt x="487562" y="876699"/>
                  </a:lnTo>
                  <a:lnTo>
                    <a:pt x="487562" y="880884"/>
                  </a:lnTo>
                  <a:lnTo>
                    <a:pt x="486548" y="880123"/>
                  </a:lnTo>
                  <a:lnTo>
                    <a:pt x="488958" y="880123"/>
                  </a:lnTo>
                  <a:lnTo>
                    <a:pt x="488958" y="884182"/>
                  </a:lnTo>
                  <a:lnTo>
                    <a:pt x="487943" y="883421"/>
                  </a:lnTo>
                  <a:lnTo>
                    <a:pt x="491748" y="883421"/>
                  </a:lnTo>
                  <a:lnTo>
                    <a:pt x="491748" y="887480"/>
                  </a:lnTo>
                  <a:lnTo>
                    <a:pt x="490606" y="886719"/>
                  </a:lnTo>
                  <a:lnTo>
                    <a:pt x="496060" y="886719"/>
                  </a:lnTo>
                  <a:lnTo>
                    <a:pt x="501261" y="886719"/>
                  </a:lnTo>
                  <a:lnTo>
                    <a:pt x="501261" y="890778"/>
                  </a:lnTo>
                  <a:lnTo>
                    <a:pt x="500119" y="890017"/>
                  </a:lnTo>
                  <a:lnTo>
                    <a:pt x="505193" y="890017"/>
                  </a:lnTo>
                  <a:lnTo>
                    <a:pt x="505193" y="904096"/>
                  </a:lnTo>
                  <a:lnTo>
                    <a:pt x="504178" y="903335"/>
                  </a:lnTo>
                  <a:lnTo>
                    <a:pt x="506588" y="903335"/>
                  </a:lnTo>
                  <a:lnTo>
                    <a:pt x="506588" y="907520"/>
                  </a:lnTo>
                  <a:lnTo>
                    <a:pt x="505573" y="906759"/>
                  </a:lnTo>
                  <a:lnTo>
                    <a:pt x="507983" y="906759"/>
                  </a:lnTo>
                  <a:lnTo>
                    <a:pt x="507983" y="910818"/>
                  </a:lnTo>
                  <a:lnTo>
                    <a:pt x="506842" y="910057"/>
                  </a:lnTo>
                  <a:lnTo>
                    <a:pt x="509378" y="910057"/>
                  </a:lnTo>
                  <a:lnTo>
                    <a:pt x="509378" y="917414"/>
                  </a:lnTo>
                  <a:lnTo>
                    <a:pt x="508237" y="916653"/>
                  </a:lnTo>
                  <a:lnTo>
                    <a:pt x="510774" y="916653"/>
                  </a:lnTo>
                  <a:lnTo>
                    <a:pt x="510774" y="920838"/>
                  </a:lnTo>
                  <a:lnTo>
                    <a:pt x="509632" y="920077"/>
                  </a:lnTo>
                  <a:lnTo>
                    <a:pt x="512422" y="920077"/>
                  </a:lnTo>
                  <a:lnTo>
                    <a:pt x="514832" y="920077"/>
                  </a:lnTo>
                  <a:lnTo>
                    <a:pt x="514832" y="927561"/>
                  </a:lnTo>
                  <a:lnTo>
                    <a:pt x="513691" y="926673"/>
                  </a:lnTo>
                  <a:lnTo>
                    <a:pt x="517496" y="926673"/>
                  </a:lnTo>
                  <a:lnTo>
                    <a:pt x="517496" y="930858"/>
                  </a:lnTo>
                  <a:lnTo>
                    <a:pt x="516354" y="930097"/>
                  </a:lnTo>
                  <a:lnTo>
                    <a:pt x="520159" y="930097"/>
                  </a:lnTo>
                  <a:lnTo>
                    <a:pt x="520159" y="934156"/>
                  </a:lnTo>
                  <a:lnTo>
                    <a:pt x="519145" y="933395"/>
                  </a:lnTo>
                  <a:lnTo>
                    <a:pt x="524345" y="933395"/>
                  </a:lnTo>
                  <a:lnTo>
                    <a:pt x="524345" y="937454"/>
                  </a:lnTo>
                  <a:lnTo>
                    <a:pt x="523204" y="936693"/>
                  </a:lnTo>
                  <a:lnTo>
                    <a:pt x="525740" y="936693"/>
                  </a:lnTo>
                  <a:lnTo>
                    <a:pt x="525740" y="944176"/>
                  </a:lnTo>
                  <a:lnTo>
                    <a:pt x="524599" y="943415"/>
                  </a:lnTo>
                  <a:lnTo>
                    <a:pt x="529672" y="943415"/>
                  </a:lnTo>
                  <a:lnTo>
                    <a:pt x="529672" y="947474"/>
                  </a:lnTo>
                  <a:lnTo>
                    <a:pt x="528658" y="946713"/>
                  </a:lnTo>
                  <a:lnTo>
                    <a:pt x="531321" y="946713"/>
                  </a:lnTo>
                  <a:lnTo>
                    <a:pt x="533858" y="946713"/>
                  </a:lnTo>
                  <a:lnTo>
                    <a:pt x="533858" y="950899"/>
                  </a:lnTo>
                  <a:lnTo>
                    <a:pt x="532716" y="950138"/>
                  </a:lnTo>
                  <a:lnTo>
                    <a:pt x="544639" y="950138"/>
                  </a:lnTo>
                  <a:lnTo>
                    <a:pt x="544639" y="954196"/>
                  </a:lnTo>
                  <a:lnTo>
                    <a:pt x="543624" y="953435"/>
                  </a:lnTo>
                  <a:lnTo>
                    <a:pt x="546034" y="953435"/>
                  </a:lnTo>
                  <a:lnTo>
                    <a:pt x="546034" y="960919"/>
                  </a:lnTo>
                  <a:lnTo>
                    <a:pt x="545020" y="960158"/>
                  </a:lnTo>
                  <a:lnTo>
                    <a:pt x="550220" y="960158"/>
                  </a:lnTo>
                  <a:lnTo>
                    <a:pt x="550220" y="964343"/>
                  </a:lnTo>
                  <a:lnTo>
                    <a:pt x="549078" y="963582"/>
                  </a:lnTo>
                  <a:lnTo>
                    <a:pt x="552883" y="963582"/>
                  </a:lnTo>
                  <a:lnTo>
                    <a:pt x="552883" y="967641"/>
                  </a:lnTo>
                  <a:lnTo>
                    <a:pt x="551742" y="966880"/>
                  </a:lnTo>
                  <a:lnTo>
                    <a:pt x="554406" y="966880"/>
                  </a:lnTo>
                  <a:lnTo>
                    <a:pt x="559733" y="966880"/>
                  </a:lnTo>
                  <a:lnTo>
                    <a:pt x="559733" y="971066"/>
                  </a:lnTo>
                  <a:lnTo>
                    <a:pt x="558591" y="970178"/>
                  </a:lnTo>
                  <a:lnTo>
                    <a:pt x="562396" y="970178"/>
                  </a:lnTo>
                  <a:lnTo>
                    <a:pt x="562396" y="974363"/>
                  </a:lnTo>
                  <a:lnTo>
                    <a:pt x="561255" y="973602"/>
                  </a:lnTo>
                  <a:lnTo>
                    <a:pt x="562650" y="973602"/>
                  </a:lnTo>
                  <a:lnTo>
                    <a:pt x="565060" y="973602"/>
                  </a:lnTo>
                  <a:lnTo>
                    <a:pt x="565060" y="977788"/>
                  </a:lnTo>
                  <a:lnTo>
                    <a:pt x="563918" y="977027"/>
                  </a:lnTo>
                  <a:lnTo>
                    <a:pt x="565314" y="977027"/>
                  </a:lnTo>
                  <a:lnTo>
                    <a:pt x="568104" y="977027"/>
                  </a:lnTo>
                  <a:lnTo>
                    <a:pt x="570514" y="977027"/>
                  </a:lnTo>
                  <a:lnTo>
                    <a:pt x="570514" y="981086"/>
                  </a:lnTo>
                  <a:lnTo>
                    <a:pt x="569499" y="980325"/>
                  </a:lnTo>
                  <a:lnTo>
                    <a:pt x="571909" y="980325"/>
                  </a:lnTo>
                  <a:lnTo>
                    <a:pt x="571909" y="984510"/>
                  </a:lnTo>
                  <a:lnTo>
                    <a:pt x="570768" y="983749"/>
                  </a:lnTo>
                  <a:lnTo>
                    <a:pt x="573304" y="983749"/>
                  </a:lnTo>
                  <a:lnTo>
                    <a:pt x="573304" y="987935"/>
                  </a:lnTo>
                  <a:lnTo>
                    <a:pt x="572163" y="987174"/>
                  </a:lnTo>
                  <a:lnTo>
                    <a:pt x="578631" y="987174"/>
                  </a:lnTo>
                  <a:lnTo>
                    <a:pt x="578631" y="991360"/>
                  </a:lnTo>
                  <a:lnTo>
                    <a:pt x="577617" y="990472"/>
                  </a:lnTo>
                  <a:lnTo>
                    <a:pt x="580027" y="990472"/>
                  </a:lnTo>
                  <a:lnTo>
                    <a:pt x="580027" y="994657"/>
                  </a:lnTo>
                  <a:lnTo>
                    <a:pt x="578885" y="993896"/>
                  </a:lnTo>
                  <a:lnTo>
                    <a:pt x="581676" y="993896"/>
                  </a:lnTo>
                  <a:lnTo>
                    <a:pt x="584085" y="993896"/>
                  </a:lnTo>
                  <a:lnTo>
                    <a:pt x="584085" y="998082"/>
                  </a:lnTo>
                  <a:lnTo>
                    <a:pt x="583071" y="997321"/>
                  </a:lnTo>
                  <a:lnTo>
                    <a:pt x="593598" y="997321"/>
                  </a:lnTo>
                  <a:lnTo>
                    <a:pt x="593598" y="1001507"/>
                  </a:lnTo>
                  <a:lnTo>
                    <a:pt x="592584" y="1000746"/>
                  </a:lnTo>
                  <a:lnTo>
                    <a:pt x="594993" y="1000746"/>
                  </a:lnTo>
                  <a:lnTo>
                    <a:pt x="594993" y="1004931"/>
                  </a:lnTo>
                  <a:lnTo>
                    <a:pt x="593979" y="1004170"/>
                  </a:lnTo>
                  <a:lnTo>
                    <a:pt x="603111" y="1004170"/>
                  </a:lnTo>
                  <a:lnTo>
                    <a:pt x="603111" y="1008356"/>
                  </a:lnTo>
                  <a:lnTo>
                    <a:pt x="602096" y="1007595"/>
                  </a:lnTo>
                  <a:lnTo>
                    <a:pt x="604506" y="1007595"/>
                  </a:lnTo>
                  <a:lnTo>
                    <a:pt x="604506" y="1011654"/>
                  </a:lnTo>
                  <a:lnTo>
                    <a:pt x="603365" y="1010893"/>
                  </a:lnTo>
                  <a:lnTo>
                    <a:pt x="622137" y="1010893"/>
                  </a:lnTo>
                  <a:lnTo>
                    <a:pt x="622137" y="1015078"/>
                  </a:lnTo>
                  <a:lnTo>
                    <a:pt x="620995" y="1014317"/>
                  </a:lnTo>
                  <a:lnTo>
                    <a:pt x="626195" y="1014317"/>
                  </a:lnTo>
                  <a:lnTo>
                    <a:pt x="626195" y="1018503"/>
                  </a:lnTo>
                  <a:lnTo>
                    <a:pt x="625181" y="1017742"/>
                  </a:lnTo>
                  <a:lnTo>
                    <a:pt x="628986" y="1017742"/>
                  </a:lnTo>
                  <a:lnTo>
                    <a:pt x="628986" y="1021927"/>
                  </a:lnTo>
                  <a:lnTo>
                    <a:pt x="627844" y="1021166"/>
                  </a:lnTo>
                  <a:lnTo>
                    <a:pt x="630381" y="1021166"/>
                  </a:lnTo>
                  <a:lnTo>
                    <a:pt x="630381" y="1025352"/>
                  </a:lnTo>
                  <a:lnTo>
                    <a:pt x="629239" y="1024591"/>
                  </a:lnTo>
                  <a:lnTo>
                    <a:pt x="641162" y="1024591"/>
                  </a:lnTo>
                  <a:lnTo>
                    <a:pt x="641162" y="1028777"/>
                  </a:lnTo>
                  <a:lnTo>
                    <a:pt x="640147" y="1028016"/>
                  </a:lnTo>
                  <a:lnTo>
                    <a:pt x="646616" y="1028016"/>
                  </a:lnTo>
                  <a:lnTo>
                    <a:pt x="646616" y="1032201"/>
                  </a:lnTo>
                  <a:lnTo>
                    <a:pt x="645475" y="1031440"/>
                  </a:lnTo>
                  <a:lnTo>
                    <a:pt x="648011" y="1031440"/>
                  </a:lnTo>
                  <a:lnTo>
                    <a:pt x="648011" y="1035499"/>
                  </a:lnTo>
                  <a:lnTo>
                    <a:pt x="646870" y="1034738"/>
                  </a:lnTo>
                  <a:lnTo>
                    <a:pt x="651056" y="1034738"/>
                  </a:lnTo>
                  <a:lnTo>
                    <a:pt x="657778" y="1034738"/>
                  </a:lnTo>
                  <a:lnTo>
                    <a:pt x="662978" y="1034738"/>
                  </a:lnTo>
                  <a:lnTo>
                    <a:pt x="662978" y="1039050"/>
                  </a:lnTo>
                  <a:lnTo>
                    <a:pt x="661837" y="1038163"/>
                  </a:lnTo>
                  <a:lnTo>
                    <a:pt x="664373" y="1038163"/>
                  </a:lnTo>
                  <a:lnTo>
                    <a:pt x="664373" y="1042475"/>
                  </a:lnTo>
                  <a:lnTo>
                    <a:pt x="663232" y="1041587"/>
                  </a:lnTo>
                  <a:lnTo>
                    <a:pt x="665642" y="1041587"/>
                  </a:lnTo>
                  <a:lnTo>
                    <a:pt x="665642" y="1045773"/>
                  </a:lnTo>
                  <a:lnTo>
                    <a:pt x="664627" y="1045012"/>
                  </a:lnTo>
                  <a:lnTo>
                    <a:pt x="668559" y="1045012"/>
                  </a:lnTo>
                  <a:lnTo>
                    <a:pt x="672491" y="1045012"/>
                  </a:lnTo>
                  <a:lnTo>
                    <a:pt x="672491" y="1049197"/>
                  </a:lnTo>
                  <a:lnTo>
                    <a:pt x="671349" y="1048436"/>
                  </a:lnTo>
                  <a:lnTo>
                    <a:pt x="673886" y="1048436"/>
                  </a:lnTo>
                  <a:lnTo>
                    <a:pt x="673886" y="1052749"/>
                  </a:lnTo>
                  <a:lnTo>
                    <a:pt x="672745" y="1051988"/>
                  </a:lnTo>
                  <a:lnTo>
                    <a:pt x="675155" y="1051988"/>
                  </a:lnTo>
                  <a:lnTo>
                    <a:pt x="675155" y="1056173"/>
                  </a:lnTo>
                  <a:lnTo>
                    <a:pt x="674140" y="1055286"/>
                  </a:lnTo>
                  <a:lnTo>
                    <a:pt x="684667" y="1055286"/>
                  </a:lnTo>
                  <a:lnTo>
                    <a:pt x="684667" y="1059598"/>
                  </a:lnTo>
                  <a:lnTo>
                    <a:pt x="683653" y="1058837"/>
                  </a:lnTo>
                  <a:lnTo>
                    <a:pt x="688853" y="1058837"/>
                  </a:lnTo>
                  <a:lnTo>
                    <a:pt x="688853" y="1063023"/>
                  </a:lnTo>
                  <a:lnTo>
                    <a:pt x="687711" y="1062262"/>
                  </a:lnTo>
                  <a:lnTo>
                    <a:pt x="690121" y="1062262"/>
                  </a:lnTo>
                  <a:lnTo>
                    <a:pt x="690121" y="1066447"/>
                  </a:lnTo>
                  <a:lnTo>
                    <a:pt x="689107" y="1065686"/>
                  </a:lnTo>
                  <a:lnTo>
                    <a:pt x="691770" y="1065686"/>
                  </a:lnTo>
                  <a:lnTo>
                    <a:pt x="701029" y="1065686"/>
                  </a:lnTo>
                  <a:lnTo>
                    <a:pt x="701029" y="1069872"/>
                  </a:lnTo>
                  <a:lnTo>
                    <a:pt x="699888" y="1069111"/>
                  </a:lnTo>
                  <a:lnTo>
                    <a:pt x="703693" y="1069111"/>
                  </a:lnTo>
                  <a:lnTo>
                    <a:pt x="703693" y="1076848"/>
                  </a:lnTo>
                  <a:lnTo>
                    <a:pt x="702551" y="1075960"/>
                  </a:lnTo>
                  <a:lnTo>
                    <a:pt x="713333" y="1075960"/>
                  </a:lnTo>
                  <a:lnTo>
                    <a:pt x="713333" y="1080273"/>
                  </a:lnTo>
                  <a:lnTo>
                    <a:pt x="712191" y="1079512"/>
                  </a:lnTo>
                  <a:lnTo>
                    <a:pt x="720055" y="1079512"/>
                  </a:lnTo>
                  <a:lnTo>
                    <a:pt x="720055" y="1083697"/>
                  </a:lnTo>
                  <a:lnTo>
                    <a:pt x="718913" y="1082936"/>
                  </a:lnTo>
                  <a:lnTo>
                    <a:pt x="720309" y="1082936"/>
                  </a:lnTo>
                  <a:lnTo>
                    <a:pt x="722719" y="1082936"/>
                  </a:lnTo>
                  <a:lnTo>
                    <a:pt x="722719" y="1087122"/>
                  </a:lnTo>
                  <a:lnTo>
                    <a:pt x="721704" y="1086361"/>
                  </a:lnTo>
                  <a:lnTo>
                    <a:pt x="730963" y="1086361"/>
                  </a:lnTo>
                  <a:lnTo>
                    <a:pt x="730963" y="1090673"/>
                  </a:lnTo>
                  <a:lnTo>
                    <a:pt x="729821" y="1089912"/>
                  </a:lnTo>
                  <a:lnTo>
                    <a:pt x="733880" y="1089912"/>
                  </a:lnTo>
                  <a:lnTo>
                    <a:pt x="747579" y="1089912"/>
                  </a:lnTo>
                  <a:lnTo>
                    <a:pt x="748847" y="1089912"/>
                  </a:lnTo>
                  <a:lnTo>
                    <a:pt x="751257" y="1089912"/>
                  </a:lnTo>
                  <a:lnTo>
                    <a:pt x="751257" y="1094225"/>
                  </a:lnTo>
                  <a:lnTo>
                    <a:pt x="750115" y="1093464"/>
                  </a:lnTo>
                  <a:lnTo>
                    <a:pt x="766224" y="1093464"/>
                  </a:lnTo>
                  <a:lnTo>
                    <a:pt x="766224" y="1097649"/>
                  </a:lnTo>
                  <a:lnTo>
                    <a:pt x="765209" y="1096888"/>
                  </a:lnTo>
                  <a:lnTo>
                    <a:pt x="767619" y="1096888"/>
                  </a:lnTo>
                  <a:lnTo>
                    <a:pt x="767619" y="1101201"/>
                  </a:lnTo>
                  <a:lnTo>
                    <a:pt x="766477" y="1100440"/>
                  </a:lnTo>
                  <a:lnTo>
                    <a:pt x="769014" y="1100440"/>
                  </a:lnTo>
                  <a:lnTo>
                    <a:pt x="769014" y="1104752"/>
                  </a:lnTo>
                  <a:lnTo>
                    <a:pt x="767873" y="1103991"/>
                  </a:lnTo>
                  <a:lnTo>
                    <a:pt x="773327" y="1103991"/>
                  </a:lnTo>
                  <a:lnTo>
                    <a:pt x="779795" y="1103991"/>
                  </a:lnTo>
                  <a:lnTo>
                    <a:pt x="779795" y="1108304"/>
                  </a:lnTo>
                  <a:lnTo>
                    <a:pt x="778781" y="1107543"/>
                  </a:lnTo>
                  <a:lnTo>
                    <a:pt x="782586" y="1107543"/>
                  </a:lnTo>
                  <a:lnTo>
                    <a:pt x="782586" y="1115280"/>
                  </a:lnTo>
                  <a:lnTo>
                    <a:pt x="781444" y="1114519"/>
                  </a:lnTo>
                  <a:lnTo>
                    <a:pt x="788040" y="1114519"/>
                  </a:lnTo>
                  <a:lnTo>
                    <a:pt x="788040" y="1118831"/>
                  </a:lnTo>
                  <a:lnTo>
                    <a:pt x="786898" y="1118070"/>
                  </a:lnTo>
                  <a:lnTo>
                    <a:pt x="790703" y="1118070"/>
                  </a:lnTo>
                  <a:lnTo>
                    <a:pt x="790703" y="1122383"/>
                  </a:lnTo>
                  <a:lnTo>
                    <a:pt x="789689" y="1121622"/>
                  </a:lnTo>
                  <a:lnTo>
                    <a:pt x="790957" y="1121622"/>
                  </a:lnTo>
                  <a:lnTo>
                    <a:pt x="793494" y="1121622"/>
                  </a:lnTo>
                  <a:lnTo>
                    <a:pt x="793494" y="1126061"/>
                  </a:lnTo>
                  <a:lnTo>
                    <a:pt x="792352" y="1125300"/>
                  </a:lnTo>
                  <a:lnTo>
                    <a:pt x="797426" y="1125300"/>
                  </a:lnTo>
                  <a:lnTo>
                    <a:pt x="797426" y="1129612"/>
                  </a:lnTo>
                  <a:lnTo>
                    <a:pt x="796411" y="1128724"/>
                  </a:lnTo>
                  <a:lnTo>
                    <a:pt x="801611" y="1128724"/>
                  </a:lnTo>
                  <a:lnTo>
                    <a:pt x="801611" y="1133164"/>
                  </a:lnTo>
                  <a:lnTo>
                    <a:pt x="800470" y="1132276"/>
                  </a:lnTo>
                  <a:lnTo>
                    <a:pt x="808460" y="1132276"/>
                  </a:lnTo>
                  <a:lnTo>
                    <a:pt x="808460" y="1136715"/>
                  </a:lnTo>
                  <a:lnTo>
                    <a:pt x="807319" y="1135954"/>
                  </a:lnTo>
                  <a:lnTo>
                    <a:pt x="809729" y="1135954"/>
                  </a:lnTo>
                  <a:lnTo>
                    <a:pt x="809729" y="1140267"/>
                  </a:lnTo>
                  <a:lnTo>
                    <a:pt x="808587" y="1139506"/>
                  </a:lnTo>
                  <a:lnTo>
                    <a:pt x="812392" y="1139506"/>
                  </a:lnTo>
                  <a:lnTo>
                    <a:pt x="812392" y="1147369"/>
                  </a:lnTo>
                  <a:lnTo>
                    <a:pt x="811378" y="1146608"/>
                  </a:lnTo>
                  <a:lnTo>
                    <a:pt x="817973" y="1146608"/>
                  </a:lnTo>
                  <a:lnTo>
                    <a:pt x="817973" y="1151048"/>
                  </a:lnTo>
                  <a:lnTo>
                    <a:pt x="816832" y="1150287"/>
                  </a:lnTo>
                  <a:lnTo>
                    <a:pt x="818227" y="1150287"/>
                  </a:lnTo>
                  <a:lnTo>
                    <a:pt x="820637" y="1150287"/>
                  </a:lnTo>
                  <a:lnTo>
                    <a:pt x="820637" y="1154599"/>
                  </a:lnTo>
                  <a:lnTo>
                    <a:pt x="819495" y="1153838"/>
                  </a:lnTo>
                  <a:lnTo>
                    <a:pt x="821905" y="1153838"/>
                  </a:lnTo>
                  <a:lnTo>
                    <a:pt x="821905" y="1158151"/>
                  </a:lnTo>
                  <a:lnTo>
                    <a:pt x="820891" y="1157390"/>
                  </a:lnTo>
                  <a:lnTo>
                    <a:pt x="827486" y="1157390"/>
                  </a:lnTo>
                  <a:lnTo>
                    <a:pt x="827486" y="1161829"/>
                  </a:lnTo>
                  <a:lnTo>
                    <a:pt x="826345" y="1161068"/>
                  </a:lnTo>
                  <a:lnTo>
                    <a:pt x="829135" y="1161068"/>
                  </a:lnTo>
                  <a:lnTo>
                    <a:pt x="834208" y="1161068"/>
                  </a:lnTo>
                  <a:lnTo>
                    <a:pt x="834208" y="1165380"/>
                  </a:lnTo>
                  <a:lnTo>
                    <a:pt x="833067" y="1164619"/>
                  </a:lnTo>
                  <a:lnTo>
                    <a:pt x="838267" y="1164619"/>
                  </a:lnTo>
                  <a:lnTo>
                    <a:pt x="838267" y="1169059"/>
                  </a:lnTo>
                  <a:lnTo>
                    <a:pt x="837253" y="1168171"/>
                  </a:lnTo>
                  <a:lnTo>
                    <a:pt x="839916" y="1168171"/>
                  </a:lnTo>
                  <a:lnTo>
                    <a:pt x="853615" y="1168171"/>
                  </a:lnTo>
                  <a:lnTo>
                    <a:pt x="864396" y="1168171"/>
                  </a:lnTo>
                  <a:lnTo>
                    <a:pt x="866932" y="1168171"/>
                  </a:lnTo>
                  <a:lnTo>
                    <a:pt x="866932" y="1172610"/>
                  </a:lnTo>
                  <a:lnTo>
                    <a:pt x="865791" y="1171849"/>
                  </a:lnTo>
                  <a:lnTo>
                    <a:pt x="868201" y="1171849"/>
                  </a:lnTo>
                  <a:lnTo>
                    <a:pt x="868201" y="1176288"/>
                  </a:lnTo>
                  <a:lnTo>
                    <a:pt x="867059" y="1175527"/>
                  </a:lnTo>
                  <a:lnTo>
                    <a:pt x="869596" y="1175527"/>
                  </a:lnTo>
                  <a:lnTo>
                    <a:pt x="869596" y="1179967"/>
                  </a:lnTo>
                  <a:lnTo>
                    <a:pt x="868454" y="1179206"/>
                  </a:lnTo>
                  <a:lnTo>
                    <a:pt x="873655" y="1179206"/>
                  </a:lnTo>
                  <a:lnTo>
                    <a:pt x="873655" y="1183645"/>
                  </a:lnTo>
                  <a:lnTo>
                    <a:pt x="872513" y="1182884"/>
                  </a:lnTo>
                  <a:lnTo>
                    <a:pt x="902193" y="1182884"/>
                  </a:lnTo>
                  <a:lnTo>
                    <a:pt x="902193" y="1187323"/>
                  </a:lnTo>
                  <a:lnTo>
                    <a:pt x="901052" y="1186562"/>
                  </a:lnTo>
                  <a:lnTo>
                    <a:pt x="904857" y="1186562"/>
                  </a:lnTo>
                  <a:lnTo>
                    <a:pt x="904857" y="1191001"/>
                  </a:lnTo>
                  <a:lnTo>
                    <a:pt x="903842" y="1190240"/>
                  </a:lnTo>
                  <a:lnTo>
                    <a:pt x="910311" y="1190240"/>
                  </a:lnTo>
                  <a:lnTo>
                    <a:pt x="910311" y="1198358"/>
                  </a:lnTo>
                  <a:lnTo>
                    <a:pt x="909296" y="1197597"/>
                  </a:lnTo>
                  <a:lnTo>
                    <a:pt x="911706" y="1197597"/>
                  </a:lnTo>
                  <a:lnTo>
                    <a:pt x="911706" y="1202036"/>
                  </a:lnTo>
                  <a:lnTo>
                    <a:pt x="910691" y="1201275"/>
                  </a:lnTo>
                  <a:lnTo>
                    <a:pt x="913101" y="1201275"/>
                  </a:lnTo>
                  <a:lnTo>
                    <a:pt x="913101" y="1205715"/>
                  </a:lnTo>
                  <a:lnTo>
                    <a:pt x="911960" y="1204954"/>
                  </a:lnTo>
                  <a:lnTo>
                    <a:pt x="914623" y="1204954"/>
                  </a:lnTo>
                  <a:lnTo>
                    <a:pt x="921219" y="1204954"/>
                  </a:lnTo>
                  <a:lnTo>
                    <a:pt x="921219" y="1209520"/>
                  </a:lnTo>
                  <a:lnTo>
                    <a:pt x="920077" y="1208759"/>
                  </a:lnTo>
                  <a:lnTo>
                    <a:pt x="922614" y="1208759"/>
                  </a:lnTo>
                  <a:lnTo>
                    <a:pt x="922614" y="1213198"/>
                  </a:lnTo>
                  <a:lnTo>
                    <a:pt x="921472" y="1212437"/>
                  </a:lnTo>
                  <a:lnTo>
                    <a:pt x="924009" y="1212437"/>
                  </a:lnTo>
                  <a:lnTo>
                    <a:pt x="924009" y="1216876"/>
                  </a:lnTo>
                  <a:lnTo>
                    <a:pt x="922868" y="1216115"/>
                  </a:lnTo>
                  <a:lnTo>
                    <a:pt x="924263" y="1216115"/>
                  </a:lnTo>
                  <a:lnTo>
                    <a:pt x="926673" y="1216115"/>
                  </a:lnTo>
                  <a:lnTo>
                    <a:pt x="926673" y="1220554"/>
                  </a:lnTo>
                  <a:lnTo>
                    <a:pt x="925531" y="1219793"/>
                  </a:lnTo>
                  <a:lnTo>
                    <a:pt x="943288" y="1219793"/>
                  </a:lnTo>
                  <a:lnTo>
                    <a:pt x="955211" y="1219793"/>
                  </a:lnTo>
                  <a:lnTo>
                    <a:pt x="955211" y="1224360"/>
                  </a:lnTo>
                  <a:lnTo>
                    <a:pt x="954070" y="1223599"/>
                  </a:lnTo>
                  <a:lnTo>
                    <a:pt x="959524" y="1223599"/>
                  </a:lnTo>
                  <a:lnTo>
                    <a:pt x="966119" y="1223599"/>
                  </a:lnTo>
                  <a:lnTo>
                    <a:pt x="966119" y="1228165"/>
                  </a:lnTo>
                  <a:lnTo>
                    <a:pt x="964978" y="1227404"/>
                  </a:lnTo>
                  <a:lnTo>
                    <a:pt x="967388" y="1227404"/>
                  </a:lnTo>
                  <a:lnTo>
                    <a:pt x="967388" y="1231843"/>
                  </a:lnTo>
                  <a:lnTo>
                    <a:pt x="966373" y="1231082"/>
                  </a:lnTo>
                  <a:lnTo>
                    <a:pt x="968783" y="1231082"/>
                  </a:lnTo>
                  <a:lnTo>
                    <a:pt x="968783" y="1239453"/>
                  </a:lnTo>
                  <a:lnTo>
                    <a:pt x="967768" y="1238692"/>
                  </a:lnTo>
                  <a:lnTo>
                    <a:pt x="975505" y="1238692"/>
                  </a:lnTo>
                  <a:lnTo>
                    <a:pt x="975505" y="1243258"/>
                  </a:lnTo>
                  <a:lnTo>
                    <a:pt x="974490" y="1242497"/>
                  </a:lnTo>
                  <a:lnTo>
                    <a:pt x="978296" y="1242497"/>
                  </a:lnTo>
                  <a:lnTo>
                    <a:pt x="978296" y="1246937"/>
                  </a:lnTo>
                  <a:lnTo>
                    <a:pt x="977154" y="1246176"/>
                  </a:lnTo>
                  <a:lnTo>
                    <a:pt x="978549" y="1246176"/>
                  </a:lnTo>
                  <a:lnTo>
                    <a:pt x="981086" y="1246176"/>
                  </a:lnTo>
                  <a:lnTo>
                    <a:pt x="981086" y="1250742"/>
                  </a:lnTo>
                  <a:lnTo>
                    <a:pt x="979944" y="1249981"/>
                  </a:lnTo>
                  <a:lnTo>
                    <a:pt x="981340" y="1249981"/>
                  </a:lnTo>
                  <a:lnTo>
                    <a:pt x="982735" y="1249981"/>
                  </a:lnTo>
                  <a:lnTo>
                    <a:pt x="985272" y="1249981"/>
                  </a:lnTo>
                  <a:lnTo>
                    <a:pt x="986667" y="1249981"/>
                  </a:lnTo>
                  <a:lnTo>
                    <a:pt x="990599" y="1249981"/>
                  </a:lnTo>
                  <a:lnTo>
                    <a:pt x="990599" y="1254674"/>
                  </a:lnTo>
                  <a:lnTo>
                    <a:pt x="989457" y="1253913"/>
                  </a:lnTo>
                  <a:lnTo>
                    <a:pt x="990852" y="1253913"/>
                  </a:lnTo>
                  <a:lnTo>
                    <a:pt x="994657" y="1253913"/>
                  </a:lnTo>
                  <a:lnTo>
                    <a:pt x="994657" y="1258479"/>
                  </a:lnTo>
                  <a:lnTo>
                    <a:pt x="993516" y="1257718"/>
                  </a:lnTo>
                  <a:lnTo>
                    <a:pt x="1004170" y="1257718"/>
                  </a:lnTo>
                  <a:lnTo>
                    <a:pt x="1004170" y="1262411"/>
                  </a:lnTo>
                  <a:lnTo>
                    <a:pt x="1003029" y="1261650"/>
                  </a:lnTo>
                  <a:lnTo>
                    <a:pt x="1013683" y="1261650"/>
                  </a:lnTo>
                  <a:lnTo>
                    <a:pt x="1013683" y="1270275"/>
                  </a:lnTo>
                  <a:lnTo>
                    <a:pt x="1012542" y="1269514"/>
                  </a:lnTo>
                  <a:lnTo>
                    <a:pt x="1044885" y="1269514"/>
                  </a:lnTo>
                  <a:lnTo>
                    <a:pt x="1044885" y="1274207"/>
                  </a:lnTo>
                  <a:lnTo>
                    <a:pt x="1043744" y="1273319"/>
                  </a:lnTo>
                  <a:lnTo>
                    <a:pt x="1050339" y="1273319"/>
                  </a:lnTo>
                  <a:lnTo>
                    <a:pt x="1050339" y="1278012"/>
                  </a:lnTo>
                  <a:lnTo>
                    <a:pt x="1049198" y="1277251"/>
                  </a:lnTo>
                  <a:lnTo>
                    <a:pt x="1057442" y="1277251"/>
                  </a:lnTo>
                  <a:lnTo>
                    <a:pt x="1059852" y="1277251"/>
                  </a:lnTo>
                  <a:lnTo>
                    <a:pt x="1059852" y="1281944"/>
                  </a:lnTo>
                  <a:lnTo>
                    <a:pt x="1058710" y="1281183"/>
                  </a:lnTo>
                  <a:lnTo>
                    <a:pt x="1069365" y="1281183"/>
                  </a:lnTo>
                  <a:lnTo>
                    <a:pt x="1069365" y="1285876"/>
                  </a:lnTo>
                  <a:lnTo>
                    <a:pt x="1068223" y="1285115"/>
                  </a:lnTo>
                  <a:lnTo>
                    <a:pt x="1076214" y="1285115"/>
                  </a:lnTo>
                  <a:lnTo>
                    <a:pt x="1076214" y="1289808"/>
                  </a:lnTo>
                  <a:lnTo>
                    <a:pt x="1075072" y="1289047"/>
                  </a:lnTo>
                  <a:lnTo>
                    <a:pt x="1077609" y="1289047"/>
                  </a:lnTo>
                  <a:lnTo>
                    <a:pt x="1077609" y="1293740"/>
                  </a:lnTo>
                  <a:lnTo>
                    <a:pt x="1076468" y="1292852"/>
                  </a:lnTo>
                  <a:lnTo>
                    <a:pt x="1085727" y="1292852"/>
                  </a:lnTo>
                  <a:lnTo>
                    <a:pt x="1085727" y="1297672"/>
                  </a:lnTo>
                  <a:lnTo>
                    <a:pt x="1084585" y="1296911"/>
                  </a:lnTo>
                  <a:lnTo>
                    <a:pt x="1088644" y="1296911"/>
                  </a:lnTo>
                  <a:lnTo>
                    <a:pt x="1094098" y="1296911"/>
                  </a:lnTo>
                  <a:lnTo>
                    <a:pt x="1099298" y="1296911"/>
                  </a:lnTo>
                  <a:lnTo>
                    <a:pt x="1099298" y="1301604"/>
                  </a:lnTo>
                  <a:lnTo>
                    <a:pt x="1098157" y="1300842"/>
                  </a:lnTo>
                  <a:lnTo>
                    <a:pt x="1100820" y="1300842"/>
                  </a:lnTo>
                  <a:lnTo>
                    <a:pt x="1115533" y="1300842"/>
                  </a:lnTo>
                  <a:lnTo>
                    <a:pt x="1115533" y="1305535"/>
                  </a:lnTo>
                  <a:lnTo>
                    <a:pt x="1114519" y="1304774"/>
                  </a:lnTo>
                  <a:lnTo>
                    <a:pt x="1115787" y="1304774"/>
                  </a:lnTo>
                  <a:lnTo>
                    <a:pt x="1117182" y="1304774"/>
                  </a:lnTo>
                  <a:lnTo>
                    <a:pt x="1123778" y="1304774"/>
                  </a:lnTo>
                  <a:lnTo>
                    <a:pt x="1123778" y="1313653"/>
                  </a:lnTo>
                  <a:lnTo>
                    <a:pt x="1122636" y="1312892"/>
                  </a:lnTo>
                  <a:lnTo>
                    <a:pt x="1125046" y="1312892"/>
                  </a:lnTo>
                  <a:lnTo>
                    <a:pt x="1125046" y="1317712"/>
                  </a:lnTo>
                  <a:lnTo>
                    <a:pt x="1123905" y="1316824"/>
                  </a:lnTo>
                  <a:lnTo>
                    <a:pt x="1126441" y="1316824"/>
                  </a:lnTo>
                  <a:lnTo>
                    <a:pt x="1126441" y="1321644"/>
                  </a:lnTo>
                  <a:lnTo>
                    <a:pt x="1125300" y="1320883"/>
                  </a:lnTo>
                  <a:lnTo>
                    <a:pt x="1130754" y="1320883"/>
                  </a:lnTo>
                  <a:lnTo>
                    <a:pt x="1134686" y="1320883"/>
                  </a:lnTo>
                  <a:lnTo>
                    <a:pt x="1134686" y="1325703"/>
                  </a:lnTo>
                  <a:lnTo>
                    <a:pt x="1133544" y="1324942"/>
                  </a:lnTo>
                  <a:lnTo>
                    <a:pt x="1134940" y="1324942"/>
                  </a:lnTo>
                  <a:lnTo>
                    <a:pt x="1143057" y="1324942"/>
                  </a:lnTo>
                  <a:lnTo>
                    <a:pt x="1145467" y="1324942"/>
                  </a:lnTo>
                  <a:lnTo>
                    <a:pt x="1145467" y="1333820"/>
                  </a:lnTo>
                  <a:lnTo>
                    <a:pt x="1144452" y="1333059"/>
                  </a:lnTo>
                  <a:lnTo>
                    <a:pt x="1150921" y="1333059"/>
                  </a:lnTo>
                  <a:lnTo>
                    <a:pt x="1150921" y="1338006"/>
                  </a:lnTo>
                  <a:lnTo>
                    <a:pt x="1149779" y="1337245"/>
                  </a:lnTo>
                  <a:lnTo>
                    <a:pt x="1163478" y="1337245"/>
                  </a:lnTo>
                  <a:lnTo>
                    <a:pt x="1179459" y="1337245"/>
                  </a:lnTo>
                  <a:lnTo>
                    <a:pt x="1179459" y="1342191"/>
                  </a:lnTo>
                  <a:lnTo>
                    <a:pt x="1178445" y="1341304"/>
                  </a:lnTo>
                  <a:lnTo>
                    <a:pt x="1182250" y="1341304"/>
                  </a:lnTo>
                  <a:lnTo>
                    <a:pt x="1182250" y="1346250"/>
                  </a:lnTo>
                  <a:lnTo>
                    <a:pt x="1181108" y="1345489"/>
                  </a:lnTo>
                  <a:lnTo>
                    <a:pt x="1184913" y="1345489"/>
                  </a:lnTo>
                  <a:lnTo>
                    <a:pt x="1184913" y="1350436"/>
                  </a:lnTo>
                  <a:lnTo>
                    <a:pt x="1183772" y="1349675"/>
                  </a:lnTo>
                  <a:lnTo>
                    <a:pt x="1185167" y="1349675"/>
                  </a:lnTo>
                  <a:lnTo>
                    <a:pt x="1187577" y="1349675"/>
                  </a:lnTo>
                  <a:lnTo>
                    <a:pt x="1187577" y="1354495"/>
                  </a:lnTo>
                  <a:lnTo>
                    <a:pt x="1186562" y="1353734"/>
                  </a:lnTo>
                  <a:lnTo>
                    <a:pt x="1217764" y="1353734"/>
                  </a:lnTo>
                  <a:lnTo>
                    <a:pt x="1229941" y="1353734"/>
                  </a:lnTo>
                  <a:lnTo>
                    <a:pt x="1233873" y="1353734"/>
                  </a:lnTo>
                  <a:lnTo>
                    <a:pt x="1233873" y="1358680"/>
                  </a:lnTo>
                  <a:lnTo>
                    <a:pt x="1232731" y="1357919"/>
                  </a:lnTo>
                  <a:lnTo>
                    <a:pt x="1251757" y="1357919"/>
                  </a:lnTo>
                  <a:lnTo>
                    <a:pt x="1268119" y="1357919"/>
                  </a:lnTo>
                  <a:lnTo>
                    <a:pt x="1271924" y="1357919"/>
                  </a:lnTo>
                  <a:lnTo>
                    <a:pt x="1271924" y="1362993"/>
                  </a:lnTo>
                  <a:lnTo>
                    <a:pt x="1270782" y="1362232"/>
                  </a:lnTo>
                  <a:lnTo>
                    <a:pt x="1286890" y="1362232"/>
                  </a:lnTo>
                  <a:lnTo>
                    <a:pt x="1286890" y="1367305"/>
                  </a:lnTo>
                  <a:lnTo>
                    <a:pt x="1285749" y="1366417"/>
                  </a:lnTo>
                  <a:lnTo>
                    <a:pt x="1293613" y="1366417"/>
                  </a:lnTo>
                  <a:lnTo>
                    <a:pt x="1293613" y="1371491"/>
                  </a:lnTo>
                  <a:lnTo>
                    <a:pt x="1292598" y="1370730"/>
                  </a:lnTo>
                  <a:lnTo>
                    <a:pt x="1301731" y="1370730"/>
                  </a:lnTo>
                  <a:lnTo>
                    <a:pt x="1301731" y="1375803"/>
                  </a:lnTo>
                  <a:lnTo>
                    <a:pt x="1300716" y="1375042"/>
                  </a:lnTo>
                  <a:lnTo>
                    <a:pt x="1311370" y="1375042"/>
                  </a:lnTo>
                  <a:lnTo>
                    <a:pt x="1311370" y="1380116"/>
                  </a:lnTo>
                  <a:lnTo>
                    <a:pt x="1310229" y="1379228"/>
                  </a:lnTo>
                  <a:lnTo>
                    <a:pt x="1318346" y="1379228"/>
                  </a:lnTo>
                  <a:lnTo>
                    <a:pt x="1332045" y="1379228"/>
                  </a:lnTo>
                  <a:lnTo>
                    <a:pt x="1333313" y="1379228"/>
                  </a:lnTo>
                  <a:lnTo>
                    <a:pt x="1334708" y="1379228"/>
                  </a:lnTo>
                  <a:lnTo>
                    <a:pt x="1343967" y="1379228"/>
                  </a:lnTo>
                  <a:lnTo>
                    <a:pt x="1343967" y="1384428"/>
                  </a:lnTo>
                  <a:lnTo>
                    <a:pt x="1342826" y="1383667"/>
                  </a:lnTo>
                  <a:lnTo>
                    <a:pt x="1344221" y="1383667"/>
                  </a:lnTo>
                  <a:lnTo>
                    <a:pt x="1379609" y="1383667"/>
                  </a:lnTo>
                  <a:lnTo>
                    <a:pt x="1384936" y="1383667"/>
                  </a:lnTo>
                  <a:lnTo>
                    <a:pt x="1387726" y="1383667"/>
                  </a:lnTo>
                  <a:lnTo>
                    <a:pt x="1395590" y="1383667"/>
                  </a:lnTo>
                  <a:lnTo>
                    <a:pt x="1395590" y="1388868"/>
                  </a:lnTo>
                  <a:lnTo>
                    <a:pt x="1394449" y="1388107"/>
                  </a:lnTo>
                  <a:lnTo>
                    <a:pt x="1399649" y="1388107"/>
                  </a:lnTo>
                  <a:lnTo>
                    <a:pt x="1399649" y="1397873"/>
                  </a:lnTo>
                  <a:lnTo>
                    <a:pt x="1398634" y="1397112"/>
                  </a:lnTo>
                  <a:lnTo>
                    <a:pt x="1402693" y="1397112"/>
                  </a:lnTo>
                  <a:lnTo>
                    <a:pt x="1409162" y="1397112"/>
                  </a:lnTo>
                  <a:lnTo>
                    <a:pt x="1409162" y="1402566"/>
                  </a:lnTo>
                  <a:lnTo>
                    <a:pt x="1408020" y="1401678"/>
                  </a:lnTo>
                  <a:lnTo>
                    <a:pt x="1416138" y="1401678"/>
                  </a:lnTo>
                  <a:lnTo>
                    <a:pt x="1418928" y="1401678"/>
                  </a:lnTo>
                  <a:lnTo>
                    <a:pt x="1421465" y="1401678"/>
                  </a:lnTo>
                  <a:lnTo>
                    <a:pt x="1421465" y="1407132"/>
                  </a:lnTo>
                  <a:lnTo>
                    <a:pt x="1420323" y="1406371"/>
                  </a:lnTo>
                  <a:lnTo>
                    <a:pt x="1425524" y="1406371"/>
                  </a:lnTo>
                  <a:lnTo>
                    <a:pt x="1425524" y="1411698"/>
                  </a:lnTo>
                  <a:lnTo>
                    <a:pt x="1424382" y="1410937"/>
                  </a:lnTo>
                  <a:lnTo>
                    <a:pt x="1426919" y="1410937"/>
                  </a:lnTo>
                  <a:lnTo>
                    <a:pt x="1426919" y="1416391"/>
                  </a:lnTo>
                  <a:lnTo>
                    <a:pt x="1425777" y="1415503"/>
                  </a:lnTo>
                  <a:lnTo>
                    <a:pt x="1442012" y="1415503"/>
                  </a:lnTo>
                  <a:lnTo>
                    <a:pt x="1446198" y="1415503"/>
                  </a:lnTo>
                  <a:lnTo>
                    <a:pt x="1452667" y="1415503"/>
                  </a:lnTo>
                  <a:lnTo>
                    <a:pt x="1452667" y="1421084"/>
                  </a:lnTo>
                  <a:lnTo>
                    <a:pt x="1451525" y="1420323"/>
                  </a:lnTo>
                  <a:lnTo>
                    <a:pt x="1459770" y="1420323"/>
                  </a:lnTo>
                  <a:lnTo>
                    <a:pt x="1475751" y="1420323"/>
                  </a:lnTo>
                  <a:lnTo>
                    <a:pt x="1475751" y="1425777"/>
                  </a:lnTo>
                  <a:lnTo>
                    <a:pt x="1474610" y="1425016"/>
                  </a:lnTo>
                  <a:lnTo>
                    <a:pt x="1476005" y="1425016"/>
                  </a:lnTo>
                  <a:lnTo>
                    <a:pt x="1486659" y="1425016"/>
                  </a:lnTo>
                  <a:lnTo>
                    <a:pt x="1486659" y="1430470"/>
                  </a:lnTo>
                  <a:lnTo>
                    <a:pt x="1485644" y="1429709"/>
                  </a:lnTo>
                  <a:lnTo>
                    <a:pt x="1488308" y="1429709"/>
                  </a:lnTo>
                  <a:lnTo>
                    <a:pt x="1494777" y="1429709"/>
                  </a:lnTo>
                  <a:lnTo>
                    <a:pt x="1494777" y="1435417"/>
                  </a:lnTo>
                  <a:lnTo>
                    <a:pt x="1493762" y="1434656"/>
                  </a:lnTo>
                  <a:lnTo>
                    <a:pt x="1509870" y="1434656"/>
                  </a:lnTo>
                  <a:lnTo>
                    <a:pt x="1509870" y="1440237"/>
                  </a:lnTo>
                  <a:lnTo>
                    <a:pt x="1508729" y="1439349"/>
                  </a:lnTo>
                  <a:lnTo>
                    <a:pt x="1512407" y="1439349"/>
                  </a:lnTo>
                  <a:lnTo>
                    <a:pt x="1512407" y="1444930"/>
                  </a:lnTo>
                  <a:lnTo>
                    <a:pt x="1511392" y="1444169"/>
                  </a:lnTo>
                  <a:lnTo>
                    <a:pt x="1515451" y="1444169"/>
                  </a:lnTo>
                  <a:lnTo>
                    <a:pt x="1531813" y="1444169"/>
                  </a:lnTo>
                  <a:lnTo>
                    <a:pt x="1549190" y="1444169"/>
                  </a:lnTo>
                  <a:lnTo>
                    <a:pt x="1549190" y="1449876"/>
                  </a:lnTo>
                  <a:lnTo>
                    <a:pt x="1548048" y="1448988"/>
                  </a:lnTo>
                  <a:lnTo>
                    <a:pt x="1563015" y="1448988"/>
                  </a:lnTo>
                  <a:lnTo>
                    <a:pt x="1565806" y="1448988"/>
                  </a:lnTo>
                  <a:lnTo>
                    <a:pt x="1579123" y="1448988"/>
                  </a:lnTo>
                  <a:lnTo>
                    <a:pt x="1579123" y="1454823"/>
                  </a:lnTo>
                  <a:lnTo>
                    <a:pt x="1577982" y="1454062"/>
                  </a:lnTo>
                  <a:lnTo>
                    <a:pt x="1594344" y="1454062"/>
                  </a:lnTo>
                  <a:lnTo>
                    <a:pt x="1616033" y="1454062"/>
                  </a:lnTo>
                  <a:lnTo>
                    <a:pt x="1625292" y="1454062"/>
                  </a:lnTo>
                  <a:lnTo>
                    <a:pt x="1625292" y="1459769"/>
                  </a:lnTo>
                  <a:lnTo>
                    <a:pt x="1624277" y="1459008"/>
                  </a:lnTo>
                  <a:lnTo>
                    <a:pt x="1628209" y="1459008"/>
                  </a:lnTo>
                  <a:lnTo>
                    <a:pt x="1664739" y="1459008"/>
                  </a:lnTo>
                  <a:lnTo>
                    <a:pt x="1664739" y="1464970"/>
                  </a:lnTo>
                  <a:lnTo>
                    <a:pt x="1663597" y="1464082"/>
                  </a:lnTo>
                  <a:lnTo>
                    <a:pt x="1666388" y="1464082"/>
                  </a:lnTo>
                  <a:lnTo>
                    <a:pt x="1679705" y="1464082"/>
                  </a:lnTo>
                  <a:lnTo>
                    <a:pt x="1679705" y="1470043"/>
                  </a:lnTo>
                  <a:lnTo>
                    <a:pt x="1678564" y="1469282"/>
                  </a:lnTo>
                  <a:lnTo>
                    <a:pt x="1681101" y="1469282"/>
                  </a:lnTo>
                  <a:lnTo>
                    <a:pt x="1681101" y="1475244"/>
                  </a:lnTo>
                  <a:lnTo>
                    <a:pt x="1679959" y="1474483"/>
                  </a:lnTo>
                  <a:lnTo>
                    <a:pt x="1689218" y="1474483"/>
                  </a:lnTo>
                  <a:lnTo>
                    <a:pt x="1689218" y="1480444"/>
                  </a:lnTo>
                  <a:lnTo>
                    <a:pt x="1688077" y="1479556"/>
                  </a:lnTo>
                  <a:lnTo>
                    <a:pt x="1696067" y="1479556"/>
                  </a:lnTo>
                  <a:lnTo>
                    <a:pt x="1696067" y="1485644"/>
                  </a:lnTo>
                  <a:lnTo>
                    <a:pt x="1694926" y="1484756"/>
                  </a:lnTo>
                  <a:lnTo>
                    <a:pt x="1697336" y="1484756"/>
                  </a:lnTo>
                  <a:lnTo>
                    <a:pt x="1697336" y="1490718"/>
                  </a:lnTo>
                  <a:lnTo>
                    <a:pt x="1696321" y="1489957"/>
                  </a:lnTo>
                  <a:lnTo>
                    <a:pt x="1704439" y="1489957"/>
                  </a:lnTo>
                  <a:lnTo>
                    <a:pt x="1705834" y="1489957"/>
                  </a:lnTo>
                  <a:lnTo>
                    <a:pt x="1707102" y="1489957"/>
                  </a:lnTo>
                  <a:lnTo>
                    <a:pt x="1716361" y="1489957"/>
                  </a:lnTo>
                  <a:lnTo>
                    <a:pt x="1716361" y="1496045"/>
                  </a:lnTo>
                  <a:lnTo>
                    <a:pt x="1715347" y="1495284"/>
                  </a:lnTo>
                  <a:lnTo>
                    <a:pt x="1727523" y="1495284"/>
                  </a:lnTo>
                  <a:lnTo>
                    <a:pt x="1737036" y="1495284"/>
                  </a:lnTo>
                  <a:lnTo>
                    <a:pt x="1739826" y="1495284"/>
                  </a:lnTo>
                  <a:lnTo>
                    <a:pt x="1742236" y="1495284"/>
                  </a:lnTo>
                  <a:lnTo>
                    <a:pt x="1742236" y="1501499"/>
                  </a:lnTo>
                  <a:lnTo>
                    <a:pt x="1741095" y="1500738"/>
                  </a:lnTo>
                  <a:lnTo>
                    <a:pt x="1754413" y="1500738"/>
                  </a:lnTo>
                  <a:lnTo>
                    <a:pt x="1754413" y="1506953"/>
                  </a:lnTo>
                  <a:lnTo>
                    <a:pt x="1753398" y="1506192"/>
                  </a:lnTo>
                  <a:lnTo>
                    <a:pt x="1762657" y="1506192"/>
                  </a:lnTo>
                  <a:lnTo>
                    <a:pt x="1762657" y="1512534"/>
                  </a:lnTo>
                  <a:lnTo>
                    <a:pt x="1761515" y="1511646"/>
                  </a:lnTo>
                  <a:lnTo>
                    <a:pt x="1769379" y="1511646"/>
                  </a:lnTo>
                  <a:lnTo>
                    <a:pt x="1769379" y="1523442"/>
                  </a:lnTo>
                  <a:lnTo>
                    <a:pt x="1768238" y="1522681"/>
                  </a:lnTo>
                  <a:lnTo>
                    <a:pt x="1769633" y="1522681"/>
                  </a:lnTo>
                  <a:lnTo>
                    <a:pt x="1783205" y="1522681"/>
                  </a:lnTo>
                  <a:lnTo>
                    <a:pt x="1817197" y="1522681"/>
                  </a:lnTo>
                  <a:lnTo>
                    <a:pt x="1837618" y="1522681"/>
                  </a:lnTo>
                  <a:lnTo>
                    <a:pt x="1853599" y="1522681"/>
                  </a:lnTo>
                  <a:lnTo>
                    <a:pt x="1853599" y="1529276"/>
                  </a:lnTo>
                  <a:lnTo>
                    <a:pt x="1852584" y="1528388"/>
                  </a:lnTo>
                  <a:lnTo>
                    <a:pt x="1877064" y="1528388"/>
                  </a:lnTo>
                  <a:lnTo>
                    <a:pt x="1881123" y="1528388"/>
                  </a:lnTo>
                  <a:lnTo>
                    <a:pt x="1905603" y="1528388"/>
                  </a:lnTo>
                  <a:lnTo>
                    <a:pt x="1912071" y="1528388"/>
                  </a:lnTo>
                  <a:lnTo>
                    <a:pt x="1912071" y="1535111"/>
                  </a:lnTo>
                  <a:lnTo>
                    <a:pt x="1911056" y="1534350"/>
                  </a:lnTo>
                  <a:lnTo>
                    <a:pt x="1915115" y="1534350"/>
                  </a:lnTo>
                  <a:lnTo>
                    <a:pt x="1933887" y="1534350"/>
                  </a:lnTo>
                  <a:lnTo>
                    <a:pt x="1933887" y="1541072"/>
                  </a:lnTo>
                  <a:lnTo>
                    <a:pt x="1932746" y="1540311"/>
                  </a:lnTo>
                  <a:lnTo>
                    <a:pt x="1942385" y="1540311"/>
                  </a:lnTo>
                  <a:lnTo>
                    <a:pt x="1998067" y="1540311"/>
                  </a:lnTo>
                  <a:lnTo>
                    <a:pt x="2010243" y="1540311"/>
                  </a:lnTo>
                  <a:lnTo>
                    <a:pt x="2023815" y="1540311"/>
                  </a:lnTo>
                  <a:lnTo>
                    <a:pt x="2035991" y="1540311"/>
                  </a:lnTo>
                  <a:lnTo>
                    <a:pt x="2045631" y="1540311"/>
                  </a:lnTo>
                  <a:lnTo>
                    <a:pt x="2048294" y="1540311"/>
                  </a:lnTo>
                  <a:lnTo>
                    <a:pt x="2054890" y="1540311"/>
                  </a:lnTo>
                  <a:lnTo>
                    <a:pt x="2054890" y="1547668"/>
                  </a:lnTo>
                  <a:lnTo>
                    <a:pt x="2053748" y="1546907"/>
                  </a:lnTo>
                  <a:lnTo>
                    <a:pt x="2055144" y="1546907"/>
                  </a:lnTo>
                  <a:lnTo>
                    <a:pt x="2083555" y="1546907"/>
                  </a:lnTo>
                  <a:lnTo>
                    <a:pt x="2098522" y="1546907"/>
                  </a:lnTo>
                  <a:lnTo>
                    <a:pt x="2105371" y="1546907"/>
                  </a:lnTo>
                  <a:lnTo>
                    <a:pt x="2133910" y="1546907"/>
                  </a:lnTo>
                  <a:lnTo>
                    <a:pt x="2171961" y="1546907"/>
                  </a:lnTo>
                  <a:lnTo>
                    <a:pt x="2184264" y="1546907"/>
                  </a:lnTo>
                  <a:lnTo>
                    <a:pt x="2196440" y="1546907"/>
                  </a:lnTo>
                  <a:lnTo>
                    <a:pt x="2200499" y="1546907"/>
                  </a:lnTo>
                  <a:lnTo>
                    <a:pt x="2229038" y="1546907"/>
                  </a:lnTo>
                  <a:lnTo>
                    <a:pt x="2244004" y="1546907"/>
                  </a:lnTo>
                  <a:lnTo>
                    <a:pt x="2253517" y="1546907"/>
                  </a:lnTo>
                  <a:lnTo>
                    <a:pt x="2261381" y="1546907"/>
                  </a:lnTo>
                  <a:lnTo>
                    <a:pt x="2261381" y="1555532"/>
                  </a:lnTo>
                  <a:lnTo>
                    <a:pt x="2260366" y="1554771"/>
                  </a:lnTo>
                  <a:lnTo>
                    <a:pt x="2263030" y="1554771"/>
                  </a:lnTo>
                  <a:lnTo>
                    <a:pt x="2271021" y="1554771"/>
                  </a:lnTo>
                  <a:lnTo>
                    <a:pt x="2271021" y="1563522"/>
                  </a:lnTo>
                  <a:lnTo>
                    <a:pt x="2269879" y="1562634"/>
                  </a:lnTo>
                  <a:lnTo>
                    <a:pt x="2291695" y="1562634"/>
                  </a:lnTo>
                  <a:lnTo>
                    <a:pt x="2292963" y="1562634"/>
                  </a:lnTo>
                  <a:lnTo>
                    <a:pt x="2299432" y="1562634"/>
                  </a:lnTo>
                  <a:lnTo>
                    <a:pt x="2299432" y="1571767"/>
                  </a:lnTo>
                  <a:lnTo>
                    <a:pt x="2298418" y="1571006"/>
                  </a:lnTo>
                  <a:lnTo>
                    <a:pt x="2310594" y="1571006"/>
                  </a:lnTo>
                  <a:lnTo>
                    <a:pt x="2342937" y="1571006"/>
                  </a:lnTo>
                  <a:lnTo>
                    <a:pt x="2342937" y="1580265"/>
                  </a:lnTo>
                  <a:lnTo>
                    <a:pt x="2341923" y="1579504"/>
                  </a:lnTo>
                  <a:lnTo>
                    <a:pt x="2350040" y="1579504"/>
                  </a:lnTo>
                  <a:lnTo>
                    <a:pt x="2365007" y="1579504"/>
                  </a:lnTo>
                  <a:lnTo>
                    <a:pt x="2420435" y="1579504"/>
                  </a:lnTo>
                  <a:lnTo>
                    <a:pt x="2420435" y="1589017"/>
                  </a:lnTo>
                  <a:lnTo>
                    <a:pt x="2419420" y="1588256"/>
                  </a:lnTo>
                  <a:lnTo>
                    <a:pt x="2441109" y="1588256"/>
                  </a:lnTo>
                  <a:lnTo>
                    <a:pt x="2464194" y="1588256"/>
                  </a:lnTo>
                  <a:lnTo>
                    <a:pt x="2482966" y="1588256"/>
                  </a:lnTo>
                  <a:lnTo>
                    <a:pt x="2482966" y="1598149"/>
                  </a:lnTo>
                  <a:lnTo>
                    <a:pt x="2481824" y="1597388"/>
                  </a:lnTo>
                  <a:lnTo>
                    <a:pt x="2518353" y="1597388"/>
                  </a:lnTo>
                  <a:lnTo>
                    <a:pt x="2518353" y="1607281"/>
                  </a:lnTo>
                  <a:lnTo>
                    <a:pt x="2517212" y="1606520"/>
                  </a:lnTo>
                  <a:lnTo>
                    <a:pt x="2605617" y="1606520"/>
                  </a:lnTo>
                  <a:lnTo>
                    <a:pt x="2607012" y="1606520"/>
                  </a:lnTo>
                  <a:lnTo>
                    <a:pt x="2627306" y="1606520"/>
                  </a:lnTo>
                  <a:lnTo>
                    <a:pt x="2659904" y="1606520"/>
                  </a:lnTo>
                  <a:lnTo>
                    <a:pt x="2713048" y="1606520"/>
                  </a:lnTo>
                  <a:lnTo>
                    <a:pt x="2716980" y="1606520"/>
                  </a:lnTo>
                  <a:lnTo>
                    <a:pt x="2718376" y="1606520"/>
                  </a:lnTo>
                  <a:lnTo>
                    <a:pt x="2722561" y="1606520"/>
                  </a:lnTo>
                  <a:lnTo>
                    <a:pt x="2823016" y="1606520"/>
                  </a:lnTo>
                  <a:lnTo>
                    <a:pt x="2829865" y="1606520"/>
                  </a:lnTo>
                  <a:lnTo>
                    <a:pt x="2831261" y="1606520"/>
                  </a:lnTo>
                  <a:lnTo>
                    <a:pt x="2867917" y="1606520"/>
                  </a:lnTo>
                  <a:lnTo>
                    <a:pt x="2897850" y="1606520"/>
                  </a:lnTo>
                  <a:lnTo>
                    <a:pt x="2931842" y="1606520"/>
                  </a:lnTo>
                  <a:lnTo>
                    <a:pt x="2941355" y="1606520"/>
                  </a:lnTo>
                  <a:lnTo>
                    <a:pt x="2961649" y="1606520"/>
                  </a:lnTo>
                  <a:lnTo>
                    <a:pt x="3009213" y="1606520"/>
                  </a:lnTo>
                  <a:lnTo>
                    <a:pt x="3051450" y="1606520"/>
                  </a:lnTo>
                  <a:lnTo>
                    <a:pt x="3059568" y="1606520"/>
                  </a:lnTo>
                  <a:lnTo>
                    <a:pt x="3118039" y="1606520"/>
                  </a:lnTo>
                  <a:lnTo>
                    <a:pt x="3141124" y="1606520"/>
                  </a:lnTo>
                  <a:lnTo>
                    <a:pt x="3146578" y="1606520"/>
                  </a:lnTo>
                  <a:lnTo>
                    <a:pt x="3158881" y="1606520"/>
                  </a:lnTo>
                  <a:lnTo>
                    <a:pt x="3173721" y="1606520"/>
                  </a:lnTo>
                  <a:lnTo>
                    <a:pt x="3186024" y="1606520"/>
                  </a:lnTo>
                  <a:lnTo>
                    <a:pt x="3194142" y="1606520"/>
                  </a:lnTo>
                  <a:lnTo>
                    <a:pt x="3196806" y="1606520"/>
                  </a:lnTo>
                  <a:lnTo>
                    <a:pt x="3214563" y="1606520"/>
                  </a:lnTo>
                  <a:lnTo>
                    <a:pt x="3222680" y="1606520"/>
                  </a:lnTo>
                  <a:lnTo>
                    <a:pt x="3264790" y="1606520"/>
                  </a:lnTo>
                  <a:lnTo>
                    <a:pt x="3304237" y="1606520"/>
                  </a:lnTo>
                  <a:lnTo>
                    <a:pt x="3307027" y="1606520"/>
                  </a:lnTo>
                  <a:lnTo>
                    <a:pt x="3312354" y="1606520"/>
                  </a:lnTo>
                  <a:lnTo>
                    <a:pt x="3313750" y="1606520"/>
                  </a:lnTo>
                  <a:lnTo>
                    <a:pt x="3323262" y="1606520"/>
                  </a:lnTo>
                  <a:lnTo>
                    <a:pt x="3334170" y="1606520"/>
                  </a:lnTo>
                  <a:lnTo>
                    <a:pt x="3426635" y="1606520"/>
                  </a:lnTo>
                  <a:lnTo>
                    <a:pt x="3475467" y="1606520"/>
                  </a:lnTo>
                  <a:lnTo>
                    <a:pt x="3516309" y="1606520"/>
                  </a:lnTo>
                  <a:lnTo>
                    <a:pt x="3552964" y="1606520"/>
                  </a:lnTo>
                  <a:lnTo>
                    <a:pt x="3599260" y="1606520"/>
                  </a:lnTo>
                  <a:lnTo>
                    <a:pt x="3635916" y="1606520"/>
                  </a:lnTo>
                  <a:lnTo>
                    <a:pt x="3699715" y="1606520"/>
                  </a:lnTo>
                  <a:lnTo>
                    <a:pt x="3750069" y="1606520"/>
                  </a:lnTo>
                  <a:lnTo>
                    <a:pt x="3786852" y="1606520"/>
                  </a:lnTo>
                  <a:lnTo>
                    <a:pt x="3800424" y="1606520"/>
                  </a:lnTo>
                  <a:lnTo>
                    <a:pt x="3838348" y="1606520"/>
                  </a:lnTo>
                  <a:lnTo>
                    <a:pt x="3849383" y="1606520"/>
                  </a:lnTo>
                  <a:lnTo>
                    <a:pt x="3901006" y="1606520"/>
                  </a:lnTo>
                  <a:lnTo>
                    <a:pt x="3956687" y="1606520"/>
                  </a:lnTo>
                  <a:lnTo>
                    <a:pt x="4042303" y="1606520"/>
                  </a:lnTo>
                  <a:lnTo>
                    <a:pt x="4042303" y="1608169"/>
                  </a:lnTo>
                  <a:lnTo>
                    <a:pt x="3956687" y="1608169"/>
                  </a:lnTo>
                  <a:lnTo>
                    <a:pt x="3901006" y="1608169"/>
                  </a:lnTo>
                  <a:lnTo>
                    <a:pt x="3849383" y="1608169"/>
                  </a:lnTo>
                  <a:lnTo>
                    <a:pt x="3838348" y="1608169"/>
                  </a:lnTo>
                  <a:lnTo>
                    <a:pt x="3800424" y="1608169"/>
                  </a:lnTo>
                  <a:lnTo>
                    <a:pt x="3786852" y="1608169"/>
                  </a:lnTo>
                  <a:lnTo>
                    <a:pt x="3750069" y="1608169"/>
                  </a:lnTo>
                  <a:lnTo>
                    <a:pt x="3699715" y="1608169"/>
                  </a:lnTo>
                  <a:lnTo>
                    <a:pt x="3635916" y="1608169"/>
                  </a:lnTo>
                  <a:lnTo>
                    <a:pt x="3599260" y="1608169"/>
                  </a:lnTo>
                  <a:lnTo>
                    <a:pt x="3552964" y="1608169"/>
                  </a:lnTo>
                  <a:lnTo>
                    <a:pt x="3516309" y="1608169"/>
                  </a:lnTo>
                  <a:lnTo>
                    <a:pt x="3475467" y="1608169"/>
                  </a:lnTo>
                  <a:lnTo>
                    <a:pt x="3426635" y="1608169"/>
                  </a:lnTo>
                  <a:lnTo>
                    <a:pt x="3334170" y="1608169"/>
                  </a:lnTo>
                  <a:lnTo>
                    <a:pt x="3323262" y="1608169"/>
                  </a:lnTo>
                  <a:lnTo>
                    <a:pt x="3313750" y="1608169"/>
                  </a:lnTo>
                  <a:lnTo>
                    <a:pt x="3312354" y="1608169"/>
                  </a:lnTo>
                  <a:lnTo>
                    <a:pt x="3307027" y="1608169"/>
                  </a:lnTo>
                  <a:lnTo>
                    <a:pt x="3304237" y="1608169"/>
                  </a:lnTo>
                  <a:lnTo>
                    <a:pt x="3264790" y="1608169"/>
                  </a:lnTo>
                  <a:lnTo>
                    <a:pt x="3222680" y="1608169"/>
                  </a:lnTo>
                  <a:lnTo>
                    <a:pt x="3214563" y="1608169"/>
                  </a:lnTo>
                  <a:lnTo>
                    <a:pt x="3196806" y="1608169"/>
                  </a:lnTo>
                  <a:lnTo>
                    <a:pt x="3194142" y="1608169"/>
                  </a:lnTo>
                  <a:lnTo>
                    <a:pt x="3186024" y="1608169"/>
                  </a:lnTo>
                  <a:lnTo>
                    <a:pt x="3173721" y="1608169"/>
                  </a:lnTo>
                  <a:lnTo>
                    <a:pt x="3158881" y="1608169"/>
                  </a:lnTo>
                  <a:lnTo>
                    <a:pt x="3146578" y="1608169"/>
                  </a:lnTo>
                  <a:lnTo>
                    <a:pt x="3141124" y="1608169"/>
                  </a:lnTo>
                  <a:lnTo>
                    <a:pt x="3118039" y="1608169"/>
                  </a:lnTo>
                  <a:lnTo>
                    <a:pt x="3059568" y="1608169"/>
                  </a:lnTo>
                  <a:lnTo>
                    <a:pt x="3051450" y="1608169"/>
                  </a:lnTo>
                  <a:lnTo>
                    <a:pt x="3009213" y="1608169"/>
                  </a:lnTo>
                  <a:lnTo>
                    <a:pt x="2961649" y="1608169"/>
                  </a:lnTo>
                  <a:lnTo>
                    <a:pt x="2941355" y="1608169"/>
                  </a:lnTo>
                  <a:lnTo>
                    <a:pt x="2931842" y="1608169"/>
                  </a:lnTo>
                  <a:lnTo>
                    <a:pt x="2897850" y="1608169"/>
                  </a:lnTo>
                  <a:lnTo>
                    <a:pt x="2867917" y="1608169"/>
                  </a:lnTo>
                  <a:lnTo>
                    <a:pt x="2831261" y="1608169"/>
                  </a:lnTo>
                  <a:lnTo>
                    <a:pt x="2829865" y="1608169"/>
                  </a:lnTo>
                  <a:lnTo>
                    <a:pt x="2823016" y="1608169"/>
                  </a:lnTo>
                  <a:lnTo>
                    <a:pt x="2722561" y="1608169"/>
                  </a:lnTo>
                  <a:lnTo>
                    <a:pt x="2718376" y="1608169"/>
                  </a:lnTo>
                  <a:lnTo>
                    <a:pt x="2716980" y="1608169"/>
                  </a:lnTo>
                  <a:lnTo>
                    <a:pt x="2713048" y="1608169"/>
                  </a:lnTo>
                  <a:lnTo>
                    <a:pt x="2659904" y="1608169"/>
                  </a:lnTo>
                  <a:lnTo>
                    <a:pt x="2627306" y="1608169"/>
                  </a:lnTo>
                  <a:lnTo>
                    <a:pt x="2607012" y="1608169"/>
                  </a:lnTo>
                  <a:lnTo>
                    <a:pt x="2605617" y="1608169"/>
                  </a:lnTo>
                  <a:lnTo>
                    <a:pt x="2516070" y="1608169"/>
                  </a:lnTo>
                  <a:lnTo>
                    <a:pt x="2516070" y="1598149"/>
                  </a:lnTo>
                  <a:lnTo>
                    <a:pt x="2517212" y="1599037"/>
                  </a:lnTo>
                  <a:lnTo>
                    <a:pt x="2480809" y="1599037"/>
                  </a:lnTo>
                  <a:lnTo>
                    <a:pt x="2480809" y="1589017"/>
                  </a:lnTo>
                  <a:lnTo>
                    <a:pt x="2481824" y="1589904"/>
                  </a:lnTo>
                  <a:lnTo>
                    <a:pt x="2464194" y="1589904"/>
                  </a:lnTo>
                  <a:lnTo>
                    <a:pt x="2441109" y="1589904"/>
                  </a:lnTo>
                  <a:lnTo>
                    <a:pt x="2418279" y="1589904"/>
                  </a:lnTo>
                  <a:lnTo>
                    <a:pt x="2418279" y="1580265"/>
                  </a:lnTo>
                  <a:lnTo>
                    <a:pt x="2419420" y="1581026"/>
                  </a:lnTo>
                  <a:lnTo>
                    <a:pt x="2365007" y="1581026"/>
                  </a:lnTo>
                  <a:lnTo>
                    <a:pt x="2350040" y="1581026"/>
                  </a:lnTo>
                  <a:lnTo>
                    <a:pt x="2340781" y="1581026"/>
                  </a:lnTo>
                  <a:lnTo>
                    <a:pt x="2340781" y="1571767"/>
                  </a:lnTo>
                  <a:lnTo>
                    <a:pt x="2341923" y="1572528"/>
                  </a:lnTo>
                  <a:lnTo>
                    <a:pt x="2310594" y="1572528"/>
                  </a:lnTo>
                  <a:lnTo>
                    <a:pt x="2297276" y="1572528"/>
                  </a:lnTo>
                  <a:lnTo>
                    <a:pt x="2297276" y="1563522"/>
                  </a:lnTo>
                  <a:lnTo>
                    <a:pt x="2298418" y="1564283"/>
                  </a:lnTo>
                  <a:lnTo>
                    <a:pt x="2292963" y="1564283"/>
                  </a:lnTo>
                  <a:lnTo>
                    <a:pt x="2291695" y="1564283"/>
                  </a:lnTo>
                  <a:lnTo>
                    <a:pt x="2268864" y="1564283"/>
                  </a:lnTo>
                  <a:lnTo>
                    <a:pt x="2268864" y="1555532"/>
                  </a:lnTo>
                  <a:lnTo>
                    <a:pt x="2269879" y="1556293"/>
                  </a:lnTo>
                  <a:lnTo>
                    <a:pt x="2263030" y="1556293"/>
                  </a:lnTo>
                  <a:lnTo>
                    <a:pt x="2259225" y="1556293"/>
                  </a:lnTo>
                  <a:lnTo>
                    <a:pt x="2259225" y="1547668"/>
                  </a:lnTo>
                  <a:lnTo>
                    <a:pt x="2260366" y="1548429"/>
                  </a:lnTo>
                  <a:lnTo>
                    <a:pt x="2253517" y="1548429"/>
                  </a:lnTo>
                  <a:lnTo>
                    <a:pt x="2244004" y="1548429"/>
                  </a:lnTo>
                  <a:lnTo>
                    <a:pt x="2229038" y="1548429"/>
                  </a:lnTo>
                  <a:lnTo>
                    <a:pt x="2200499" y="1548429"/>
                  </a:lnTo>
                  <a:lnTo>
                    <a:pt x="2196440" y="1548429"/>
                  </a:lnTo>
                  <a:lnTo>
                    <a:pt x="2184264" y="1548429"/>
                  </a:lnTo>
                  <a:lnTo>
                    <a:pt x="2171961" y="1548429"/>
                  </a:lnTo>
                  <a:lnTo>
                    <a:pt x="2133910" y="1548429"/>
                  </a:lnTo>
                  <a:lnTo>
                    <a:pt x="2105371" y="1548429"/>
                  </a:lnTo>
                  <a:lnTo>
                    <a:pt x="2098522" y="1548429"/>
                  </a:lnTo>
                  <a:lnTo>
                    <a:pt x="2083555" y="1548429"/>
                  </a:lnTo>
                  <a:lnTo>
                    <a:pt x="2055144" y="1548429"/>
                  </a:lnTo>
                  <a:lnTo>
                    <a:pt x="2052607" y="1548429"/>
                  </a:lnTo>
                  <a:lnTo>
                    <a:pt x="2052607" y="1541072"/>
                  </a:lnTo>
                  <a:lnTo>
                    <a:pt x="2053748" y="1541833"/>
                  </a:lnTo>
                  <a:lnTo>
                    <a:pt x="2048294" y="1541833"/>
                  </a:lnTo>
                  <a:lnTo>
                    <a:pt x="2045631" y="1541833"/>
                  </a:lnTo>
                  <a:lnTo>
                    <a:pt x="2035991" y="1541833"/>
                  </a:lnTo>
                  <a:lnTo>
                    <a:pt x="2023815" y="1541833"/>
                  </a:lnTo>
                  <a:lnTo>
                    <a:pt x="2010243" y="1541833"/>
                  </a:lnTo>
                  <a:lnTo>
                    <a:pt x="1998067" y="1541833"/>
                  </a:lnTo>
                  <a:lnTo>
                    <a:pt x="1942385" y="1541833"/>
                  </a:lnTo>
                  <a:lnTo>
                    <a:pt x="1931604" y="1541833"/>
                  </a:lnTo>
                  <a:lnTo>
                    <a:pt x="1931604" y="1535111"/>
                  </a:lnTo>
                  <a:lnTo>
                    <a:pt x="1932746" y="1535872"/>
                  </a:lnTo>
                  <a:lnTo>
                    <a:pt x="1915115" y="1535872"/>
                  </a:lnTo>
                  <a:lnTo>
                    <a:pt x="1909915" y="1535872"/>
                  </a:lnTo>
                  <a:lnTo>
                    <a:pt x="1909915" y="1529276"/>
                  </a:lnTo>
                  <a:lnTo>
                    <a:pt x="1911056" y="1530037"/>
                  </a:lnTo>
                  <a:lnTo>
                    <a:pt x="1905603" y="1530037"/>
                  </a:lnTo>
                  <a:lnTo>
                    <a:pt x="1881123" y="1530037"/>
                  </a:lnTo>
                  <a:lnTo>
                    <a:pt x="1877064" y="1530037"/>
                  </a:lnTo>
                  <a:lnTo>
                    <a:pt x="1851443" y="1530037"/>
                  </a:lnTo>
                  <a:lnTo>
                    <a:pt x="1851443" y="1523442"/>
                  </a:lnTo>
                  <a:lnTo>
                    <a:pt x="1852584" y="1524203"/>
                  </a:lnTo>
                  <a:lnTo>
                    <a:pt x="1837618" y="1524203"/>
                  </a:lnTo>
                  <a:lnTo>
                    <a:pt x="1817197" y="1524203"/>
                  </a:lnTo>
                  <a:lnTo>
                    <a:pt x="1783205" y="1524203"/>
                  </a:lnTo>
                  <a:lnTo>
                    <a:pt x="1769633" y="1524203"/>
                  </a:lnTo>
                  <a:lnTo>
                    <a:pt x="1767223" y="1524203"/>
                  </a:lnTo>
                  <a:lnTo>
                    <a:pt x="1767223" y="1512534"/>
                  </a:lnTo>
                  <a:lnTo>
                    <a:pt x="1768238" y="1513295"/>
                  </a:lnTo>
                  <a:lnTo>
                    <a:pt x="1760374" y="1513295"/>
                  </a:lnTo>
                  <a:lnTo>
                    <a:pt x="1760374" y="1506953"/>
                  </a:lnTo>
                  <a:lnTo>
                    <a:pt x="1761515" y="1507714"/>
                  </a:lnTo>
                  <a:lnTo>
                    <a:pt x="1752256" y="1507714"/>
                  </a:lnTo>
                  <a:lnTo>
                    <a:pt x="1752256" y="1501499"/>
                  </a:lnTo>
                  <a:lnTo>
                    <a:pt x="1753398" y="1502260"/>
                  </a:lnTo>
                  <a:lnTo>
                    <a:pt x="1740080" y="1502260"/>
                  </a:lnTo>
                  <a:lnTo>
                    <a:pt x="1740080" y="1496045"/>
                  </a:lnTo>
                  <a:lnTo>
                    <a:pt x="1741095" y="1496806"/>
                  </a:lnTo>
                  <a:lnTo>
                    <a:pt x="1739826" y="1496806"/>
                  </a:lnTo>
                  <a:lnTo>
                    <a:pt x="1737036" y="1496806"/>
                  </a:lnTo>
                  <a:lnTo>
                    <a:pt x="1727523" y="1496806"/>
                  </a:lnTo>
                  <a:lnTo>
                    <a:pt x="1714205" y="1496806"/>
                  </a:lnTo>
                  <a:lnTo>
                    <a:pt x="1714205" y="1490718"/>
                  </a:lnTo>
                  <a:lnTo>
                    <a:pt x="1715347" y="1491479"/>
                  </a:lnTo>
                  <a:lnTo>
                    <a:pt x="1707102" y="1491479"/>
                  </a:lnTo>
                  <a:lnTo>
                    <a:pt x="1705834" y="1491479"/>
                  </a:lnTo>
                  <a:lnTo>
                    <a:pt x="1704439" y="1491479"/>
                  </a:lnTo>
                  <a:lnTo>
                    <a:pt x="1695179" y="1491479"/>
                  </a:lnTo>
                  <a:lnTo>
                    <a:pt x="1695179" y="1485644"/>
                  </a:lnTo>
                  <a:lnTo>
                    <a:pt x="1696321" y="1486405"/>
                  </a:lnTo>
                  <a:lnTo>
                    <a:pt x="1693784" y="1486405"/>
                  </a:lnTo>
                  <a:lnTo>
                    <a:pt x="1693784" y="1480444"/>
                  </a:lnTo>
                  <a:lnTo>
                    <a:pt x="1694926" y="1481205"/>
                  </a:lnTo>
                  <a:lnTo>
                    <a:pt x="1686935" y="1481205"/>
                  </a:lnTo>
                  <a:lnTo>
                    <a:pt x="1686935" y="1475244"/>
                  </a:lnTo>
                  <a:lnTo>
                    <a:pt x="1688077" y="1476005"/>
                  </a:lnTo>
                  <a:lnTo>
                    <a:pt x="1678818" y="1476005"/>
                  </a:lnTo>
                  <a:lnTo>
                    <a:pt x="1678818" y="1470043"/>
                  </a:lnTo>
                  <a:lnTo>
                    <a:pt x="1679959" y="1470931"/>
                  </a:lnTo>
                  <a:lnTo>
                    <a:pt x="1677422" y="1470931"/>
                  </a:lnTo>
                  <a:lnTo>
                    <a:pt x="1677422" y="1464970"/>
                  </a:lnTo>
                  <a:lnTo>
                    <a:pt x="1678564" y="1465731"/>
                  </a:lnTo>
                  <a:lnTo>
                    <a:pt x="1666388" y="1465731"/>
                  </a:lnTo>
                  <a:lnTo>
                    <a:pt x="1662456" y="1465731"/>
                  </a:lnTo>
                  <a:lnTo>
                    <a:pt x="1662456" y="1459769"/>
                  </a:lnTo>
                  <a:lnTo>
                    <a:pt x="1663597" y="1460531"/>
                  </a:lnTo>
                  <a:lnTo>
                    <a:pt x="1628209" y="1460531"/>
                  </a:lnTo>
                  <a:lnTo>
                    <a:pt x="1623136" y="1460531"/>
                  </a:lnTo>
                  <a:lnTo>
                    <a:pt x="1623136" y="1454823"/>
                  </a:lnTo>
                  <a:lnTo>
                    <a:pt x="1624277" y="1455584"/>
                  </a:lnTo>
                  <a:lnTo>
                    <a:pt x="1616033" y="1455584"/>
                  </a:lnTo>
                  <a:lnTo>
                    <a:pt x="1594344" y="1455584"/>
                  </a:lnTo>
                  <a:lnTo>
                    <a:pt x="1576967" y="1455584"/>
                  </a:lnTo>
                  <a:lnTo>
                    <a:pt x="1576967" y="1449876"/>
                  </a:lnTo>
                  <a:lnTo>
                    <a:pt x="1577982" y="1450637"/>
                  </a:lnTo>
                  <a:lnTo>
                    <a:pt x="1565806" y="1450637"/>
                  </a:lnTo>
                  <a:lnTo>
                    <a:pt x="1563015" y="1450637"/>
                  </a:lnTo>
                  <a:lnTo>
                    <a:pt x="1547034" y="1450637"/>
                  </a:lnTo>
                  <a:lnTo>
                    <a:pt x="1547034" y="1444930"/>
                  </a:lnTo>
                  <a:lnTo>
                    <a:pt x="1548048" y="1445691"/>
                  </a:lnTo>
                  <a:lnTo>
                    <a:pt x="1531813" y="1445691"/>
                  </a:lnTo>
                  <a:lnTo>
                    <a:pt x="1515451" y="1445691"/>
                  </a:lnTo>
                  <a:lnTo>
                    <a:pt x="1510251" y="1445691"/>
                  </a:lnTo>
                  <a:lnTo>
                    <a:pt x="1510251" y="1440237"/>
                  </a:lnTo>
                  <a:lnTo>
                    <a:pt x="1511392" y="1440998"/>
                  </a:lnTo>
                  <a:lnTo>
                    <a:pt x="1507587" y="1440998"/>
                  </a:lnTo>
                  <a:lnTo>
                    <a:pt x="1507587" y="1435417"/>
                  </a:lnTo>
                  <a:lnTo>
                    <a:pt x="1508729" y="1436178"/>
                  </a:lnTo>
                  <a:lnTo>
                    <a:pt x="1492621" y="1436178"/>
                  </a:lnTo>
                  <a:lnTo>
                    <a:pt x="1492621" y="1430470"/>
                  </a:lnTo>
                  <a:lnTo>
                    <a:pt x="1493762" y="1431358"/>
                  </a:lnTo>
                  <a:lnTo>
                    <a:pt x="1488308" y="1431358"/>
                  </a:lnTo>
                  <a:lnTo>
                    <a:pt x="1484503" y="1431358"/>
                  </a:lnTo>
                  <a:lnTo>
                    <a:pt x="1484503" y="1425777"/>
                  </a:lnTo>
                  <a:lnTo>
                    <a:pt x="1485644" y="1426538"/>
                  </a:lnTo>
                  <a:lnTo>
                    <a:pt x="1476005" y="1426538"/>
                  </a:lnTo>
                  <a:lnTo>
                    <a:pt x="1473595" y="1426538"/>
                  </a:lnTo>
                  <a:lnTo>
                    <a:pt x="1473595" y="1421084"/>
                  </a:lnTo>
                  <a:lnTo>
                    <a:pt x="1474610" y="1421845"/>
                  </a:lnTo>
                  <a:lnTo>
                    <a:pt x="1459770" y="1421845"/>
                  </a:lnTo>
                  <a:lnTo>
                    <a:pt x="1450511" y="1421845"/>
                  </a:lnTo>
                  <a:lnTo>
                    <a:pt x="1450511" y="1416391"/>
                  </a:lnTo>
                  <a:lnTo>
                    <a:pt x="1451525" y="1417152"/>
                  </a:lnTo>
                  <a:lnTo>
                    <a:pt x="1446198" y="1417152"/>
                  </a:lnTo>
                  <a:lnTo>
                    <a:pt x="1442012" y="1417152"/>
                  </a:lnTo>
                  <a:lnTo>
                    <a:pt x="1424636" y="1417152"/>
                  </a:lnTo>
                  <a:lnTo>
                    <a:pt x="1424636" y="1411698"/>
                  </a:lnTo>
                  <a:lnTo>
                    <a:pt x="1425777" y="1412586"/>
                  </a:lnTo>
                  <a:lnTo>
                    <a:pt x="1423367" y="1412586"/>
                  </a:lnTo>
                  <a:lnTo>
                    <a:pt x="1423367" y="1407132"/>
                  </a:lnTo>
                  <a:lnTo>
                    <a:pt x="1424382" y="1407893"/>
                  </a:lnTo>
                  <a:lnTo>
                    <a:pt x="1419182" y="1407893"/>
                  </a:lnTo>
                  <a:lnTo>
                    <a:pt x="1419182" y="1402566"/>
                  </a:lnTo>
                  <a:lnTo>
                    <a:pt x="1420323" y="1403327"/>
                  </a:lnTo>
                  <a:lnTo>
                    <a:pt x="1418928" y="1403327"/>
                  </a:lnTo>
                  <a:lnTo>
                    <a:pt x="1416138" y="1403327"/>
                  </a:lnTo>
                  <a:lnTo>
                    <a:pt x="1407005" y="1403327"/>
                  </a:lnTo>
                  <a:lnTo>
                    <a:pt x="1407005" y="1397873"/>
                  </a:lnTo>
                  <a:lnTo>
                    <a:pt x="1408020" y="1398761"/>
                  </a:lnTo>
                  <a:lnTo>
                    <a:pt x="1402693" y="1398761"/>
                  </a:lnTo>
                  <a:lnTo>
                    <a:pt x="1397493" y="1398761"/>
                  </a:lnTo>
                  <a:lnTo>
                    <a:pt x="1397493" y="1388868"/>
                  </a:lnTo>
                  <a:lnTo>
                    <a:pt x="1398634" y="1389755"/>
                  </a:lnTo>
                  <a:lnTo>
                    <a:pt x="1393434" y="1389755"/>
                  </a:lnTo>
                  <a:lnTo>
                    <a:pt x="1393434" y="1384428"/>
                  </a:lnTo>
                  <a:lnTo>
                    <a:pt x="1394449" y="1385189"/>
                  </a:lnTo>
                  <a:lnTo>
                    <a:pt x="1387726" y="1385189"/>
                  </a:lnTo>
                  <a:lnTo>
                    <a:pt x="1384936" y="1385189"/>
                  </a:lnTo>
                  <a:lnTo>
                    <a:pt x="1379609" y="1385189"/>
                  </a:lnTo>
                  <a:lnTo>
                    <a:pt x="1344221" y="1385189"/>
                  </a:lnTo>
                  <a:lnTo>
                    <a:pt x="1341811" y="1385189"/>
                  </a:lnTo>
                  <a:lnTo>
                    <a:pt x="1341811" y="1380116"/>
                  </a:lnTo>
                  <a:lnTo>
                    <a:pt x="1342826" y="1380877"/>
                  </a:lnTo>
                  <a:lnTo>
                    <a:pt x="1334708" y="1380877"/>
                  </a:lnTo>
                  <a:lnTo>
                    <a:pt x="1333313" y="1380877"/>
                  </a:lnTo>
                  <a:lnTo>
                    <a:pt x="1332045" y="1380877"/>
                  </a:lnTo>
                  <a:lnTo>
                    <a:pt x="1318346" y="1380877"/>
                  </a:lnTo>
                  <a:lnTo>
                    <a:pt x="1309214" y="1380877"/>
                  </a:lnTo>
                  <a:lnTo>
                    <a:pt x="1309214" y="1375803"/>
                  </a:lnTo>
                  <a:lnTo>
                    <a:pt x="1310229" y="1376564"/>
                  </a:lnTo>
                  <a:lnTo>
                    <a:pt x="1299574" y="1376564"/>
                  </a:lnTo>
                  <a:lnTo>
                    <a:pt x="1299574" y="1371491"/>
                  </a:lnTo>
                  <a:lnTo>
                    <a:pt x="1300716" y="1372379"/>
                  </a:lnTo>
                  <a:lnTo>
                    <a:pt x="1291457" y="1372379"/>
                  </a:lnTo>
                  <a:lnTo>
                    <a:pt x="1291457" y="1367305"/>
                  </a:lnTo>
                  <a:lnTo>
                    <a:pt x="1292598" y="1368066"/>
                  </a:lnTo>
                  <a:lnTo>
                    <a:pt x="1284734" y="1368066"/>
                  </a:lnTo>
                  <a:lnTo>
                    <a:pt x="1284734" y="1362993"/>
                  </a:lnTo>
                  <a:lnTo>
                    <a:pt x="1285749" y="1363754"/>
                  </a:lnTo>
                  <a:lnTo>
                    <a:pt x="1269767" y="1363754"/>
                  </a:lnTo>
                  <a:lnTo>
                    <a:pt x="1269767" y="1358680"/>
                  </a:lnTo>
                  <a:lnTo>
                    <a:pt x="1270782" y="1359568"/>
                  </a:lnTo>
                  <a:lnTo>
                    <a:pt x="1268119" y="1359568"/>
                  </a:lnTo>
                  <a:lnTo>
                    <a:pt x="1251757" y="1359568"/>
                  </a:lnTo>
                  <a:lnTo>
                    <a:pt x="1231589" y="1359568"/>
                  </a:lnTo>
                  <a:lnTo>
                    <a:pt x="1231589" y="1354495"/>
                  </a:lnTo>
                  <a:lnTo>
                    <a:pt x="1232731" y="1355383"/>
                  </a:lnTo>
                  <a:lnTo>
                    <a:pt x="1229941" y="1355383"/>
                  </a:lnTo>
                  <a:lnTo>
                    <a:pt x="1217764" y="1355383"/>
                  </a:lnTo>
                  <a:lnTo>
                    <a:pt x="1185421" y="1355383"/>
                  </a:lnTo>
                  <a:lnTo>
                    <a:pt x="1185421" y="1350436"/>
                  </a:lnTo>
                  <a:lnTo>
                    <a:pt x="1186562" y="1351197"/>
                  </a:lnTo>
                  <a:lnTo>
                    <a:pt x="1185167" y="1351197"/>
                  </a:lnTo>
                  <a:lnTo>
                    <a:pt x="1182630" y="1351197"/>
                  </a:lnTo>
                  <a:lnTo>
                    <a:pt x="1182630" y="1346250"/>
                  </a:lnTo>
                  <a:lnTo>
                    <a:pt x="1183772" y="1347011"/>
                  </a:lnTo>
                  <a:lnTo>
                    <a:pt x="1180094" y="1347011"/>
                  </a:lnTo>
                  <a:lnTo>
                    <a:pt x="1180094" y="1342191"/>
                  </a:lnTo>
                  <a:lnTo>
                    <a:pt x="1181108" y="1342952"/>
                  </a:lnTo>
                  <a:lnTo>
                    <a:pt x="1177303" y="1342952"/>
                  </a:lnTo>
                  <a:lnTo>
                    <a:pt x="1177303" y="1338006"/>
                  </a:lnTo>
                  <a:lnTo>
                    <a:pt x="1178445" y="1338767"/>
                  </a:lnTo>
                  <a:lnTo>
                    <a:pt x="1163478" y="1338767"/>
                  </a:lnTo>
                  <a:lnTo>
                    <a:pt x="1148765" y="1338767"/>
                  </a:lnTo>
                  <a:lnTo>
                    <a:pt x="1148765" y="1333820"/>
                  </a:lnTo>
                  <a:lnTo>
                    <a:pt x="1149779" y="1334708"/>
                  </a:lnTo>
                  <a:lnTo>
                    <a:pt x="1143311" y="1334708"/>
                  </a:lnTo>
                  <a:lnTo>
                    <a:pt x="1143311" y="1325703"/>
                  </a:lnTo>
                  <a:lnTo>
                    <a:pt x="1144452" y="1326464"/>
                  </a:lnTo>
                  <a:lnTo>
                    <a:pt x="1143057" y="1326464"/>
                  </a:lnTo>
                  <a:lnTo>
                    <a:pt x="1134940" y="1326464"/>
                  </a:lnTo>
                  <a:lnTo>
                    <a:pt x="1132403" y="1326464"/>
                  </a:lnTo>
                  <a:lnTo>
                    <a:pt x="1132403" y="1321644"/>
                  </a:lnTo>
                  <a:lnTo>
                    <a:pt x="1133544" y="1322405"/>
                  </a:lnTo>
                  <a:lnTo>
                    <a:pt x="1130754" y="1322405"/>
                  </a:lnTo>
                  <a:lnTo>
                    <a:pt x="1124285" y="1322405"/>
                  </a:lnTo>
                  <a:lnTo>
                    <a:pt x="1124285" y="1317712"/>
                  </a:lnTo>
                  <a:lnTo>
                    <a:pt x="1125300" y="1318473"/>
                  </a:lnTo>
                  <a:lnTo>
                    <a:pt x="1122890" y="1318473"/>
                  </a:lnTo>
                  <a:lnTo>
                    <a:pt x="1122890" y="1313653"/>
                  </a:lnTo>
                  <a:lnTo>
                    <a:pt x="1123905" y="1314414"/>
                  </a:lnTo>
                  <a:lnTo>
                    <a:pt x="1121622" y="1314414"/>
                  </a:lnTo>
                  <a:lnTo>
                    <a:pt x="1121622" y="1305535"/>
                  </a:lnTo>
                  <a:lnTo>
                    <a:pt x="1122636" y="1306423"/>
                  </a:lnTo>
                  <a:lnTo>
                    <a:pt x="1117182" y="1306423"/>
                  </a:lnTo>
                  <a:lnTo>
                    <a:pt x="1115787" y="1306423"/>
                  </a:lnTo>
                  <a:lnTo>
                    <a:pt x="1113377" y="1306423"/>
                  </a:lnTo>
                  <a:lnTo>
                    <a:pt x="1113377" y="1301604"/>
                  </a:lnTo>
                  <a:lnTo>
                    <a:pt x="1114519" y="1302365"/>
                  </a:lnTo>
                  <a:lnTo>
                    <a:pt x="1100820" y="1302365"/>
                  </a:lnTo>
                  <a:lnTo>
                    <a:pt x="1097142" y="1302365"/>
                  </a:lnTo>
                  <a:lnTo>
                    <a:pt x="1097142" y="1297672"/>
                  </a:lnTo>
                  <a:lnTo>
                    <a:pt x="1098157" y="1298433"/>
                  </a:lnTo>
                  <a:lnTo>
                    <a:pt x="1094098" y="1298433"/>
                  </a:lnTo>
                  <a:lnTo>
                    <a:pt x="1088644" y="1298433"/>
                  </a:lnTo>
                  <a:lnTo>
                    <a:pt x="1083444" y="1298433"/>
                  </a:lnTo>
                  <a:lnTo>
                    <a:pt x="1083444" y="1293740"/>
                  </a:lnTo>
                  <a:lnTo>
                    <a:pt x="1084585" y="1294501"/>
                  </a:lnTo>
                  <a:lnTo>
                    <a:pt x="1075326" y="1294501"/>
                  </a:lnTo>
                  <a:lnTo>
                    <a:pt x="1075326" y="1289808"/>
                  </a:lnTo>
                  <a:lnTo>
                    <a:pt x="1076468" y="1290569"/>
                  </a:lnTo>
                  <a:lnTo>
                    <a:pt x="1074058" y="1290569"/>
                  </a:lnTo>
                  <a:lnTo>
                    <a:pt x="1074058" y="1285876"/>
                  </a:lnTo>
                  <a:lnTo>
                    <a:pt x="1075072" y="1286637"/>
                  </a:lnTo>
                  <a:lnTo>
                    <a:pt x="1067208" y="1286637"/>
                  </a:lnTo>
                  <a:lnTo>
                    <a:pt x="1067208" y="1281944"/>
                  </a:lnTo>
                  <a:lnTo>
                    <a:pt x="1068223" y="1282705"/>
                  </a:lnTo>
                  <a:lnTo>
                    <a:pt x="1057696" y="1282705"/>
                  </a:lnTo>
                  <a:lnTo>
                    <a:pt x="1057696" y="1278012"/>
                  </a:lnTo>
                  <a:lnTo>
                    <a:pt x="1058710" y="1278773"/>
                  </a:lnTo>
                  <a:lnTo>
                    <a:pt x="1057442" y="1278773"/>
                  </a:lnTo>
                  <a:lnTo>
                    <a:pt x="1048183" y="1278773"/>
                  </a:lnTo>
                  <a:lnTo>
                    <a:pt x="1048183" y="1274207"/>
                  </a:lnTo>
                  <a:lnTo>
                    <a:pt x="1049198" y="1274968"/>
                  </a:lnTo>
                  <a:lnTo>
                    <a:pt x="1042729" y="1274968"/>
                  </a:lnTo>
                  <a:lnTo>
                    <a:pt x="1042729" y="1270275"/>
                  </a:lnTo>
                  <a:lnTo>
                    <a:pt x="1043744" y="1271036"/>
                  </a:lnTo>
                  <a:lnTo>
                    <a:pt x="1011400" y="1271036"/>
                  </a:lnTo>
                  <a:lnTo>
                    <a:pt x="1011400" y="1262411"/>
                  </a:lnTo>
                  <a:lnTo>
                    <a:pt x="1012542" y="1263299"/>
                  </a:lnTo>
                  <a:lnTo>
                    <a:pt x="1002014" y="1263299"/>
                  </a:lnTo>
                  <a:lnTo>
                    <a:pt x="1002014" y="1258479"/>
                  </a:lnTo>
                  <a:lnTo>
                    <a:pt x="1003029" y="1259367"/>
                  </a:lnTo>
                  <a:lnTo>
                    <a:pt x="992501" y="1259367"/>
                  </a:lnTo>
                  <a:lnTo>
                    <a:pt x="992501" y="1254674"/>
                  </a:lnTo>
                  <a:lnTo>
                    <a:pt x="993516" y="1255435"/>
                  </a:lnTo>
                  <a:lnTo>
                    <a:pt x="990852" y="1255435"/>
                  </a:lnTo>
                  <a:lnTo>
                    <a:pt x="988316" y="1255435"/>
                  </a:lnTo>
                  <a:lnTo>
                    <a:pt x="988316" y="1250742"/>
                  </a:lnTo>
                  <a:lnTo>
                    <a:pt x="989457" y="1251630"/>
                  </a:lnTo>
                  <a:lnTo>
                    <a:pt x="986667" y="1251630"/>
                  </a:lnTo>
                  <a:lnTo>
                    <a:pt x="985272" y="1251630"/>
                  </a:lnTo>
                  <a:lnTo>
                    <a:pt x="982735" y="1251630"/>
                  </a:lnTo>
                  <a:lnTo>
                    <a:pt x="981340" y="1251630"/>
                  </a:lnTo>
                  <a:lnTo>
                    <a:pt x="978803" y="1251630"/>
                  </a:lnTo>
                  <a:lnTo>
                    <a:pt x="978803" y="1246937"/>
                  </a:lnTo>
                  <a:lnTo>
                    <a:pt x="979944" y="1247825"/>
                  </a:lnTo>
                  <a:lnTo>
                    <a:pt x="978549" y="1247825"/>
                  </a:lnTo>
                  <a:lnTo>
                    <a:pt x="976139" y="1247825"/>
                  </a:lnTo>
                  <a:lnTo>
                    <a:pt x="976139" y="1243258"/>
                  </a:lnTo>
                  <a:lnTo>
                    <a:pt x="977154" y="1244019"/>
                  </a:lnTo>
                  <a:lnTo>
                    <a:pt x="973349" y="1244019"/>
                  </a:lnTo>
                  <a:lnTo>
                    <a:pt x="973349" y="1239453"/>
                  </a:lnTo>
                  <a:lnTo>
                    <a:pt x="974490" y="1240214"/>
                  </a:lnTo>
                  <a:lnTo>
                    <a:pt x="966626" y="1240214"/>
                  </a:lnTo>
                  <a:lnTo>
                    <a:pt x="966626" y="1231843"/>
                  </a:lnTo>
                  <a:lnTo>
                    <a:pt x="967768" y="1232731"/>
                  </a:lnTo>
                  <a:lnTo>
                    <a:pt x="965231" y="1232731"/>
                  </a:lnTo>
                  <a:lnTo>
                    <a:pt x="965231" y="1228165"/>
                  </a:lnTo>
                  <a:lnTo>
                    <a:pt x="966373" y="1228926"/>
                  </a:lnTo>
                  <a:lnTo>
                    <a:pt x="963836" y="1228926"/>
                  </a:lnTo>
                  <a:lnTo>
                    <a:pt x="963836" y="1224360"/>
                  </a:lnTo>
                  <a:lnTo>
                    <a:pt x="964978" y="1225121"/>
                  </a:lnTo>
                  <a:lnTo>
                    <a:pt x="959524" y="1225121"/>
                  </a:lnTo>
                  <a:lnTo>
                    <a:pt x="953055" y="1225121"/>
                  </a:lnTo>
                  <a:lnTo>
                    <a:pt x="953055" y="1220554"/>
                  </a:lnTo>
                  <a:lnTo>
                    <a:pt x="954070" y="1221442"/>
                  </a:lnTo>
                  <a:lnTo>
                    <a:pt x="943288" y="1221442"/>
                  </a:lnTo>
                  <a:lnTo>
                    <a:pt x="924390" y="1221442"/>
                  </a:lnTo>
                  <a:lnTo>
                    <a:pt x="924390" y="1216876"/>
                  </a:lnTo>
                  <a:lnTo>
                    <a:pt x="925531" y="1217764"/>
                  </a:lnTo>
                  <a:lnTo>
                    <a:pt x="924263" y="1217764"/>
                  </a:lnTo>
                  <a:lnTo>
                    <a:pt x="921726" y="1217764"/>
                  </a:lnTo>
                  <a:lnTo>
                    <a:pt x="921726" y="1213198"/>
                  </a:lnTo>
                  <a:lnTo>
                    <a:pt x="922868" y="1213959"/>
                  </a:lnTo>
                  <a:lnTo>
                    <a:pt x="920458" y="1213959"/>
                  </a:lnTo>
                  <a:lnTo>
                    <a:pt x="920458" y="1209520"/>
                  </a:lnTo>
                  <a:lnTo>
                    <a:pt x="921472" y="1210281"/>
                  </a:lnTo>
                  <a:lnTo>
                    <a:pt x="919063" y="1210281"/>
                  </a:lnTo>
                  <a:lnTo>
                    <a:pt x="919063" y="1205715"/>
                  </a:lnTo>
                  <a:lnTo>
                    <a:pt x="920077" y="1206602"/>
                  </a:lnTo>
                  <a:lnTo>
                    <a:pt x="914623" y="1206602"/>
                  </a:lnTo>
                  <a:lnTo>
                    <a:pt x="910945" y="1206602"/>
                  </a:lnTo>
                  <a:lnTo>
                    <a:pt x="910945" y="1202036"/>
                  </a:lnTo>
                  <a:lnTo>
                    <a:pt x="911960" y="1202924"/>
                  </a:lnTo>
                  <a:lnTo>
                    <a:pt x="909550" y="1202924"/>
                  </a:lnTo>
                  <a:lnTo>
                    <a:pt x="909550" y="1198358"/>
                  </a:lnTo>
                  <a:lnTo>
                    <a:pt x="910691" y="1199119"/>
                  </a:lnTo>
                  <a:lnTo>
                    <a:pt x="908155" y="1199119"/>
                  </a:lnTo>
                  <a:lnTo>
                    <a:pt x="908155" y="1191001"/>
                  </a:lnTo>
                  <a:lnTo>
                    <a:pt x="909296" y="1191762"/>
                  </a:lnTo>
                  <a:lnTo>
                    <a:pt x="902701" y="1191762"/>
                  </a:lnTo>
                  <a:lnTo>
                    <a:pt x="902701" y="1187323"/>
                  </a:lnTo>
                  <a:lnTo>
                    <a:pt x="903842" y="1188084"/>
                  </a:lnTo>
                  <a:lnTo>
                    <a:pt x="899910" y="1188084"/>
                  </a:lnTo>
                  <a:lnTo>
                    <a:pt x="899910" y="1183645"/>
                  </a:lnTo>
                  <a:lnTo>
                    <a:pt x="901052" y="1184406"/>
                  </a:lnTo>
                  <a:lnTo>
                    <a:pt x="871499" y="1184406"/>
                  </a:lnTo>
                  <a:lnTo>
                    <a:pt x="871499" y="1179967"/>
                  </a:lnTo>
                  <a:lnTo>
                    <a:pt x="872513" y="1180728"/>
                  </a:lnTo>
                  <a:lnTo>
                    <a:pt x="867313" y="1180728"/>
                  </a:lnTo>
                  <a:lnTo>
                    <a:pt x="867313" y="1176288"/>
                  </a:lnTo>
                  <a:lnTo>
                    <a:pt x="868454" y="1177049"/>
                  </a:lnTo>
                  <a:lnTo>
                    <a:pt x="865918" y="1177049"/>
                  </a:lnTo>
                  <a:lnTo>
                    <a:pt x="865918" y="1172610"/>
                  </a:lnTo>
                  <a:lnTo>
                    <a:pt x="867059" y="1173371"/>
                  </a:lnTo>
                  <a:lnTo>
                    <a:pt x="864649" y="1173371"/>
                  </a:lnTo>
                  <a:lnTo>
                    <a:pt x="864649" y="1169059"/>
                  </a:lnTo>
                  <a:lnTo>
                    <a:pt x="865791" y="1169820"/>
                  </a:lnTo>
                  <a:lnTo>
                    <a:pt x="864396" y="1169820"/>
                  </a:lnTo>
                  <a:lnTo>
                    <a:pt x="853615" y="1169820"/>
                  </a:lnTo>
                  <a:lnTo>
                    <a:pt x="839916" y="1169820"/>
                  </a:lnTo>
                  <a:lnTo>
                    <a:pt x="836111" y="1169820"/>
                  </a:lnTo>
                  <a:lnTo>
                    <a:pt x="836111" y="1165380"/>
                  </a:lnTo>
                  <a:lnTo>
                    <a:pt x="837253" y="1166141"/>
                  </a:lnTo>
                  <a:lnTo>
                    <a:pt x="832052" y="1166141"/>
                  </a:lnTo>
                  <a:lnTo>
                    <a:pt x="832052" y="1161829"/>
                  </a:lnTo>
                  <a:lnTo>
                    <a:pt x="833067" y="1162590"/>
                  </a:lnTo>
                  <a:lnTo>
                    <a:pt x="829135" y="1162590"/>
                  </a:lnTo>
                  <a:lnTo>
                    <a:pt x="825203" y="1162590"/>
                  </a:lnTo>
                  <a:lnTo>
                    <a:pt x="825203" y="1158151"/>
                  </a:lnTo>
                  <a:lnTo>
                    <a:pt x="826345" y="1158912"/>
                  </a:lnTo>
                  <a:lnTo>
                    <a:pt x="819749" y="1158912"/>
                  </a:lnTo>
                  <a:lnTo>
                    <a:pt x="819749" y="1154599"/>
                  </a:lnTo>
                  <a:lnTo>
                    <a:pt x="820891" y="1155360"/>
                  </a:lnTo>
                  <a:lnTo>
                    <a:pt x="818354" y="1155360"/>
                  </a:lnTo>
                  <a:lnTo>
                    <a:pt x="818354" y="1151048"/>
                  </a:lnTo>
                  <a:lnTo>
                    <a:pt x="819495" y="1151809"/>
                  </a:lnTo>
                  <a:lnTo>
                    <a:pt x="818227" y="1151809"/>
                  </a:lnTo>
                  <a:lnTo>
                    <a:pt x="815690" y="1151809"/>
                  </a:lnTo>
                  <a:lnTo>
                    <a:pt x="815690" y="1147369"/>
                  </a:lnTo>
                  <a:lnTo>
                    <a:pt x="816832" y="1148257"/>
                  </a:lnTo>
                  <a:lnTo>
                    <a:pt x="810236" y="1148257"/>
                  </a:lnTo>
                  <a:lnTo>
                    <a:pt x="810236" y="1140267"/>
                  </a:lnTo>
                  <a:lnTo>
                    <a:pt x="811378" y="1141028"/>
                  </a:lnTo>
                  <a:lnTo>
                    <a:pt x="807573" y="1141028"/>
                  </a:lnTo>
                  <a:lnTo>
                    <a:pt x="807573" y="1136715"/>
                  </a:lnTo>
                  <a:lnTo>
                    <a:pt x="808587" y="1137476"/>
                  </a:lnTo>
                  <a:lnTo>
                    <a:pt x="806304" y="1137476"/>
                  </a:lnTo>
                  <a:lnTo>
                    <a:pt x="806304" y="1133164"/>
                  </a:lnTo>
                  <a:lnTo>
                    <a:pt x="807319" y="1133925"/>
                  </a:lnTo>
                  <a:lnTo>
                    <a:pt x="799455" y="1133925"/>
                  </a:lnTo>
                  <a:lnTo>
                    <a:pt x="799455" y="1129612"/>
                  </a:lnTo>
                  <a:lnTo>
                    <a:pt x="800470" y="1130373"/>
                  </a:lnTo>
                  <a:lnTo>
                    <a:pt x="795269" y="1130373"/>
                  </a:lnTo>
                  <a:lnTo>
                    <a:pt x="795269" y="1126061"/>
                  </a:lnTo>
                  <a:lnTo>
                    <a:pt x="796411" y="1126822"/>
                  </a:lnTo>
                  <a:lnTo>
                    <a:pt x="791211" y="1126822"/>
                  </a:lnTo>
                  <a:lnTo>
                    <a:pt x="791211" y="1122383"/>
                  </a:lnTo>
                  <a:lnTo>
                    <a:pt x="792352" y="1123144"/>
                  </a:lnTo>
                  <a:lnTo>
                    <a:pt x="790957" y="1123144"/>
                  </a:lnTo>
                  <a:lnTo>
                    <a:pt x="788547" y="1123144"/>
                  </a:lnTo>
                  <a:lnTo>
                    <a:pt x="788547" y="1118831"/>
                  </a:lnTo>
                  <a:lnTo>
                    <a:pt x="789689" y="1119719"/>
                  </a:lnTo>
                  <a:lnTo>
                    <a:pt x="785757" y="1119719"/>
                  </a:lnTo>
                  <a:lnTo>
                    <a:pt x="785757" y="1115280"/>
                  </a:lnTo>
                  <a:lnTo>
                    <a:pt x="786898" y="1116168"/>
                  </a:lnTo>
                  <a:lnTo>
                    <a:pt x="780429" y="1116168"/>
                  </a:lnTo>
                  <a:lnTo>
                    <a:pt x="780429" y="1108304"/>
                  </a:lnTo>
                  <a:lnTo>
                    <a:pt x="781444" y="1109065"/>
                  </a:lnTo>
                  <a:lnTo>
                    <a:pt x="777639" y="1109065"/>
                  </a:lnTo>
                  <a:lnTo>
                    <a:pt x="777639" y="1104752"/>
                  </a:lnTo>
                  <a:lnTo>
                    <a:pt x="778781" y="1105513"/>
                  </a:lnTo>
                  <a:lnTo>
                    <a:pt x="773327" y="1105513"/>
                  </a:lnTo>
                  <a:lnTo>
                    <a:pt x="766858" y="1105513"/>
                  </a:lnTo>
                  <a:lnTo>
                    <a:pt x="766858" y="1101201"/>
                  </a:lnTo>
                  <a:lnTo>
                    <a:pt x="767873" y="1101962"/>
                  </a:lnTo>
                  <a:lnTo>
                    <a:pt x="765463" y="1101962"/>
                  </a:lnTo>
                  <a:lnTo>
                    <a:pt x="765463" y="1097649"/>
                  </a:lnTo>
                  <a:lnTo>
                    <a:pt x="766477" y="1098410"/>
                  </a:lnTo>
                  <a:lnTo>
                    <a:pt x="764067" y="1098410"/>
                  </a:lnTo>
                  <a:lnTo>
                    <a:pt x="764067" y="1094225"/>
                  </a:lnTo>
                  <a:lnTo>
                    <a:pt x="765209" y="1094986"/>
                  </a:lnTo>
                  <a:lnTo>
                    <a:pt x="749101" y="1094986"/>
                  </a:lnTo>
                  <a:lnTo>
                    <a:pt x="749101" y="1090673"/>
                  </a:lnTo>
                  <a:lnTo>
                    <a:pt x="750115" y="1091434"/>
                  </a:lnTo>
                  <a:lnTo>
                    <a:pt x="748847" y="1091434"/>
                  </a:lnTo>
                  <a:lnTo>
                    <a:pt x="747579" y="1091434"/>
                  </a:lnTo>
                  <a:lnTo>
                    <a:pt x="733880" y="1091434"/>
                  </a:lnTo>
                  <a:lnTo>
                    <a:pt x="728680" y="1091434"/>
                  </a:lnTo>
                  <a:lnTo>
                    <a:pt x="728680" y="1087122"/>
                  </a:lnTo>
                  <a:lnTo>
                    <a:pt x="729821" y="1088010"/>
                  </a:lnTo>
                  <a:lnTo>
                    <a:pt x="720562" y="1088010"/>
                  </a:lnTo>
                  <a:lnTo>
                    <a:pt x="720562" y="1083697"/>
                  </a:lnTo>
                  <a:lnTo>
                    <a:pt x="721704" y="1084458"/>
                  </a:lnTo>
                  <a:lnTo>
                    <a:pt x="720309" y="1084458"/>
                  </a:lnTo>
                  <a:lnTo>
                    <a:pt x="717899" y="1084458"/>
                  </a:lnTo>
                  <a:lnTo>
                    <a:pt x="717899" y="1080273"/>
                  </a:lnTo>
                  <a:lnTo>
                    <a:pt x="718913" y="1081034"/>
                  </a:lnTo>
                  <a:lnTo>
                    <a:pt x="711049" y="1081034"/>
                  </a:lnTo>
                  <a:lnTo>
                    <a:pt x="711049" y="1076848"/>
                  </a:lnTo>
                  <a:lnTo>
                    <a:pt x="712191" y="1077609"/>
                  </a:lnTo>
                  <a:lnTo>
                    <a:pt x="701537" y="1077609"/>
                  </a:lnTo>
                  <a:lnTo>
                    <a:pt x="701537" y="1069872"/>
                  </a:lnTo>
                  <a:lnTo>
                    <a:pt x="702551" y="1070760"/>
                  </a:lnTo>
                  <a:lnTo>
                    <a:pt x="698873" y="1070760"/>
                  </a:lnTo>
                  <a:lnTo>
                    <a:pt x="698873" y="1066447"/>
                  </a:lnTo>
                  <a:lnTo>
                    <a:pt x="699888" y="1067208"/>
                  </a:lnTo>
                  <a:lnTo>
                    <a:pt x="691770" y="1067208"/>
                  </a:lnTo>
                  <a:lnTo>
                    <a:pt x="687965" y="1067208"/>
                  </a:lnTo>
                  <a:lnTo>
                    <a:pt x="687965" y="1063023"/>
                  </a:lnTo>
                  <a:lnTo>
                    <a:pt x="689107" y="1063784"/>
                  </a:lnTo>
                  <a:lnTo>
                    <a:pt x="686570" y="1063784"/>
                  </a:lnTo>
                  <a:lnTo>
                    <a:pt x="686570" y="1059598"/>
                  </a:lnTo>
                  <a:lnTo>
                    <a:pt x="687711" y="1060359"/>
                  </a:lnTo>
                  <a:lnTo>
                    <a:pt x="682511" y="1060359"/>
                  </a:lnTo>
                  <a:lnTo>
                    <a:pt x="682511" y="1056173"/>
                  </a:lnTo>
                  <a:lnTo>
                    <a:pt x="683653" y="1056935"/>
                  </a:lnTo>
                  <a:lnTo>
                    <a:pt x="672998" y="1056935"/>
                  </a:lnTo>
                  <a:lnTo>
                    <a:pt x="672998" y="1052749"/>
                  </a:lnTo>
                  <a:lnTo>
                    <a:pt x="674140" y="1053510"/>
                  </a:lnTo>
                  <a:lnTo>
                    <a:pt x="671603" y="1053510"/>
                  </a:lnTo>
                  <a:lnTo>
                    <a:pt x="671603" y="1049197"/>
                  </a:lnTo>
                  <a:lnTo>
                    <a:pt x="672745" y="1050085"/>
                  </a:lnTo>
                  <a:lnTo>
                    <a:pt x="670208" y="1050085"/>
                  </a:lnTo>
                  <a:lnTo>
                    <a:pt x="670208" y="1045773"/>
                  </a:lnTo>
                  <a:lnTo>
                    <a:pt x="671349" y="1046661"/>
                  </a:lnTo>
                  <a:lnTo>
                    <a:pt x="668559" y="1046661"/>
                  </a:lnTo>
                  <a:lnTo>
                    <a:pt x="663485" y="1046661"/>
                  </a:lnTo>
                  <a:lnTo>
                    <a:pt x="663485" y="1042475"/>
                  </a:lnTo>
                  <a:lnTo>
                    <a:pt x="664627" y="1043236"/>
                  </a:lnTo>
                  <a:lnTo>
                    <a:pt x="662090" y="1043236"/>
                  </a:lnTo>
                  <a:lnTo>
                    <a:pt x="662090" y="1039050"/>
                  </a:lnTo>
                  <a:lnTo>
                    <a:pt x="663232" y="1039811"/>
                  </a:lnTo>
                  <a:lnTo>
                    <a:pt x="660822" y="1039811"/>
                  </a:lnTo>
                  <a:lnTo>
                    <a:pt x="660822" y="1035499"/>
                  </a:lnTo>
                  <a:lnTo>
                    <a:pt x="661837" y="1036260"/>
                  </a:lnTo>
                  <a:lnTo>
                    <a:pt x="657778" y="1036260"/>
                  </a:lnTo>
                  <a:lnTo>
                    <a:pt x="651056" y="1036260"/>
                  </a:lnTo>
                  <a:lnTo>
                    <a:pt x="645728" y="1036260"/>
                  </a:lnTo>
                  <a:lnTo>
                    <a:pt x="645728" y="1032201"/>
                  </a:lnTo>
                  <a:lnTo>
                    <a:pt x="646870" y="1032962"/>
                  </a:lnTo>
                  <a:lnTo>
                    <a:pt x="644460" y="1032962"/>
                  </a:lnTo>
                  <a:lnTo>
                    <a:pt x="644460" y="1028777"/>
                  </a:lnTo>
                  <a:lnTo>
                    <a:pt x="645475" y="1029538"/>
                  </a:lnTo>
                  <a:lnTo>
                    <a:pt x="639006" y="1029538"/>
                  </a:lnTo>
                  <a:lnTo>
                    <a:pt x="639006" y="1025352"/>
                  </a:lnTo>
                  <a:lnTo>
                    <a:pt x="640147" y="1026113"/>
                  </a:lnTo>
                  <a:lnTo>
                    <a:pt x="628225" y="1026113"/>
                  </a:lnTo>
                  <a:lnTo>
                    <a:pt x="628225" y="1021927"/>
                  </a:lnTo>
                  <a:lnTo>
                    <a:pt x="629239" y="1022688"/>
                  </a:lnTo>
                  <a:lnTo>
                    <a:pt x="626830" y="1022688"/>
                  </a:lnTo>
                  <a:lnTo>
                    <a:pt x="626830" y="1018503"/>
                  </a:lnTo>
                  <a:lnTo>
                    <a:pt x="627844" y="1019264"/>
                  </a:lnTo>
                  <a:lnTo>
                    <a:pt x="624039" y="1019264"/>
                  </a:lnTo>
                  <a:lnTo>
                    <a:pt x="624039" y="1015078"/>
                  </a:lnTo>
                  <a:lnTo>
                    <a:pt x="625181" y="1015966"/>
                  </a:lnTo>
                  <a:lnTo>
                    <a:pt x="619980" y="1015966"/>
                  </a:lnTo>
                  <a:lnTo>
                    <a:pt x="619980" y="1011654"/>
                  </a:lnTo>
                  <a:lnTo>
                    <a:pt x="620995" y="1012542"/>
                  </a:lnTo>
                  <a:lnTo>
                    <a:pt x="602350" y="1012542"/>
                  </a:lnTo>
                  <a:lnTo>
                    <a:pt x="602350" y="1008356"/>
                  </a:lnTo>
                  <a:lnTo>
                    <a:pt x="603365" y="1009117"/>
                  </a:lnTo>
                  <a:lnTo>
                    <a:pt x="600955" y="1009117"/>
                  </a:lnTo>
                  <a:lnTo>
                    <a:pt x="600955" y="1004931"/>
                  </a:lnTo>
                  <a:lnTo>
                    <a:pt x="602096" y="1005692"/>
                  </a:lnTo>
                  <a:lnTo>
                    <a:pt x="592837" y="1005692"/>
                  </a:lnTo>
                  <a:lnTo>
                    <a:pt x="592837" y="1001507"/>
                  </a:lnTo>
                  <a:lnTo>
                    <a:pt x="593979" y="1002268"/>
                  </a:lnTo>
                  <a:lnTo>
                    <a:pt x="591442" y="1002268"/>
                  </a:lnTo>
                  <a:lnTo>
                    <a:pt x="591442" y="998082"/>
                  </a:lnTo>
                  <a:lnTo>
                    <a:pt x="592584" y="998970"/>
                  </a:lnTo>
                  <a:lnTo>
                    <a:pt x="581929" y="998970"/>
                  </a:lnTo>
                  <a:lnTo>
                    <a:pt x="581929" y="994657"/>
                  </a:lnTo>
                  <a:lnTo>
                    <a:pt x="583071" y="995545"/>
                  </a:lnTo>
                  <a:lnTo>
                    <a:pt x="581676" y="995545"/>
                  </a:lnTo>
                  <a:lnTo>
                    <a:pt x="577870" y="995545"/>
                  </a:lnTo>
                  <a:lnTo>
                    <a:pt x="577870" y="991360"/>
                  </a:lnTo>
                  <a:lnTo>
                    <a:pt x="578885" y="992121"/>
                  </a:lnTo>
                  <a:lnTo>
                    <a:pt x="576475" y="992121"/>
                  </a:lnTo>
                  <a:lnTo>
                    <a:pt x="576475" y="987935"/>
                  </a:lnTo>
                  <a:lnTo>
                    <a:pt x="577617" y="988696"/>
                  </a:lnTo>
                  <a:lnTo>
                    <a:pt x="571148" y="988696"/>
                  </a:lnTo>
                  <a:lnTo>
                    <a:pt x="571148" y="984510"/>
                  </a:lnTo>
                  <a:lnTo>
                    <a:pt x="572163" y="985271"/>
                  </a:lnTo>
                  <a:lnTo>
                    <a:pt x="569753" y="985271"/>
                  </a:lnTo>
                  <a:lnTo>
                    <a:pt x="569753" y="981086"/>
                  </a:lnTo>
                  <a:lnTo>
                    <a:pt x="570768" y="981974"/>
                  </a:lnTo>
                  <a:lnTo>
                    <a:pt x="568358" y="981974"/>
                  </a:lnTo>
                  <a:lnTo>
                    <a:pt x="568358" y="977788"/>
                  </a:lnTo>
                  <a:lnTo>
                    <a:pt x="569499" y="978549"/>
                  </a:lnTo>
                  <a:lnTo>
                    <a:pt x="568104" y="978549"/>
                  </a:lnTo>
                  <a:lnTo>
                    <a:pt x="565314" y="978549"/>
                  </a:lnTo>
                  <a:lnTo>
                    <a:pt x="562904" y="978549"/>
                  </a:lnTo>
                  <a:lnTo>
                    <a:pt x="562904" y="974363"/>
                  </a:lnTo>
                  <a:lnTo>
                    <a:pt x="563918" y="975124"/>
                  </a:lnTo>
                  <a:lnTo>
                    <a:pt x="562650" y="975124"/>
                  </a:lnTo>
                  <a:lnTo>
                    <a:pt x="560240" y="975124"/>
                  </a:lnTo>
                  <a:lnTo>
                    <a:pt x="560240" y="971066"/>
                  </a:lnTo>
                  <a:lnTo>
                    <a:pt x="561255" y="971827"/>
                  </a:lnTo>
                  <a:lnTo>
                    <a:pt x="557450" y="971827"/>
                  </a:lnTo>
                  <a:lnTo>
                    <a:pt x="557450" y="967641"/>
                  </a:lnTo>
                  <a:lnTo>
                    <a:pt x="558591" y="968402"/>
                  </a:lnTo>
                  <a:lnTo>
                    <a:pt x="554406" y="968402"/>
                  </a:lnTo>
                  <a:lnTo>
                    <a:pt x="550600" y="968402"/>
                  </a:lnTo>
                  <a:lnTo>
                    <a:pt x="550600" y="964343"/>
                  </a:lnTo>
                  <a:lnTo>
                    <a:pt x="551742" y="965104"/>
                  </a:lnTo>
                  <a:lnTo>
                    <a:pt x="547937" y="965104"/>
                  </a:lnTo>
                  <a:lnTo>
                    <a:pt x="547937" y="960919"/>
                  </a:lnTo>
                  <a:lnTo>
                    <a:pt x="549078" y="961807"/>
                  </a:lnTo>
                  <a:lnTo>
                    <a:pt x="543878" y="961807"/>
                  </a:lnTo>
                  <a:lnTo>
                    <a:pt x="543878" y="954196"/>
                  </a:lnTo>
                  <a:lnTo>
                    <a:pt x="545020" y="954957"/>
                  </a:lnTo>
                  <a:lnTo>
                    <a:pt x="542483" y="954957"/>
                  </a:lnTo>
                  <a:lnTo>
                    <a:pt x="542483" y="950899"/>
                  </a:lnTo>
                  <a:lnTo>
                    <a:pt x="543624" y="951660"/>
                  </a:lnTo>
                  <a:lnTo>
                    <a:pt x="531575" y="951660"/>
                  </a:lnTo>
                  <a:lnTo>
                    <a:pt x="531575" y="947474"/>
                  </a:lnTo>
                  <a:lnTo>
                    <a:pt x="532716" y="948362"/>
                  </a:lnTo>
                  <a:lnTo>
                    <a:pt x="531321" y="948362"/>
                  </a:lnTo>
                  <a:lnTo>
                    <a:pt x="527516" y="948362"/>
                  </a:lnTo>
                  <a:lnTo>
                    <a:pt x="527516" y="944176"/>
                  </a:lnTo>
                  <a:lnTo>
                    <a:pt x="528658" y="944937"/>
                  </a:lnTo>
                  <a:lnTo>
                    <a:pt x="523457" y="944937"/>
                  </a:lnTo>
                  <a:lnTo>
                    <a:pt x="523457" y="937454"/>
                  </a:lnTo>
                  <a:lnTo>
                    <a:pt x="524599" y="938215"/>
                  </a:lnTo>
                  <a:lnTo>
                    <a:pt x="522189" y="938215"/>
                  </a:lnTo>
                  <a:lnTo>
                    <a:pt x="522189" y="934156"/>
                  </a:lnTo>
                  <a:lnTo>
                    <a:pt x="523204" y="935044"/>
                  </a:lnTo>
                  <a:lnTo>
                    <a:pt x="518003" y="935044"/>
                  </a:lnTo>
                  <a:lnTo>
                    <a:pt x="518003" y="930858"/>
                  </a:lnTo>
                  <a:lnTo>
                    <a:pt x="519145" y="931619"/>
                  </a:lnTo>
                  <a:lnTo>
                    <a:pt x="515340" y="931619"/>
                  </a:lnTo>
                  <a:lnTo>
                    <a:pt x="515340" y="927561"/>
                  </a:lnTo>
                  <a:lnTo>
                    <a:pt x="516354" y="928322"/>
                  </a:lnTo>
                  <a:lnTo>
                    <a:pt x="512676" y="928322"/>
                  </a:lnTo>
                  <a:lnTo>
                    <a:pt x="512676" y="920838"/>
                  </a:lnTo>
                  <a:lnTo>
                    <a:pt x="513691" y="921599"/>
                  </a:lnTo>
                  <a:lnTo>
                    <a:pt x="512422" y="921599"/>
                  </a:lnTo>
                  <a:lnTo>
                    <a:pt x="508490" y="921599"/>
                  </a:lnTo>
                  <a:lnTo>
                    <a:pt x="508490" y="917414"/>
                  </a:lnTo>
                  <a:lnTo>
                    <a:pt x="509632" y="918301"/>
                  </a:lnTo>
                  <a:lnTo>
                    <a:pt x="507222" y="918301"/>
                  </a:lnTo>
                  <a:lnTo>
                    <a:pt x="507222" y="910818"/>
                  </a:lnTo>
                  <a:lnTo>
                    <a:pt x="508237" y="911579"/>
                  </a:lnTo>
                  <a:lnTo>
                    <a:pt x="505827" y="911579"/>
                  </a:lnTo>
                  <a:lnTo>
                    <a:pt x="505827" y="907520"/>
                  </a:lnTo>
                  <a:lnTo>
                    <a:pt x="506842" y="908281"/>
                  </a:lnTo>
                  <a:lnTo>
                    <a:pt x="504432" y="908281"/>
                  </a:lnTo>
                  <a:lnTo>
                    <a:pt x="504432" y="904096"/>
                  </a:lnTo>
                  <a:lnTo>
                    <a:pt x="505573" y="904984"/>
                  </a:lnTo>
                  <a:lnTo>
                    <a:pt x="503036" y="904984"/>
                  </a:lnTo>
                  <a:lnTo>
                    <a:pt x="503036" y="890778"/>
                  </a:lnTo>
                  <a:lnTo>
                    <a:pt x="504178" y="891666"/>
                  </a:lnTo>
                  <a:lnTo>
                    <a:pt x="498978" y="891666"/>
                  </a:lnTo>
                  <a:lnTo>
                    <a:pt x="498978" y="887480"/>
                  </a:lnTo>
                  <a:lnTo>
                    <a:pt x="500119" y="888241"/>
                  </a:lnTo>
                  <a:lnTo>
                    <a:pt x="496060" y="888241"/>
                  </a:lnTo>
                  <a:lnTo>
                    <a:pt x="489592" y="888241"/>
                  </a:lnTo>
                  <a:lnTo>
                    <a:pt x="489592" y="884182"/>
                  </a:lnTo>
                  <a:lnTo>
                    <a:pt x="490606" y="884943"/>
                  </a:lnTo>
                  <a:lnTo>
                    <a:pt x="486801" y="884943"/>
                  </a:lnTo>
                  <a:lnTo>
                    <a:pt x="486801" y="880884"/>
                  </a:lnTo>
                  <a:lnTo>
                    <a:pt x="487943" y="881646"/>
                  </a:lnTo>
                  <a:lnTo>
                    <a:pt x="485406" y="881646"/>
                  </a:lnTo>
                  <a:lnTo>
                    <a:pt x="485406" y="877460"/>
                  </a:lnTo>
                  <a:lnTo>
                    <a:pt x="486548" y="878348"/>
                  </a:lnTo>
                  <a:lnTo>
                    <a:pt x="482742" y="878348"/>
                  </a:lnTo>
                  <a:lnTo>
                    <a:pt x="482742" y="867567"/>
                  </a:lnTo>
                  <a:lnTo>
                    <a:pt x="483757" y="868328"/>
                  </a:lnTo>
                  <a:lnTo>
                    <a:pt x="478684" y="868328"/>
                  </a:lnTo>
                  <a:lnTo>
                    <a:pt x="478684" y="860844"/>
                  </a:lnTo>
                  <a:lnTo>
                    <a:pt x="479825" y="861732"/>
                  </a:lnTo>
                  <a:lnTo>
                    <a:pt x="477288" y="861732"/>
                  </a:lnTo>
                  <a:lnTo>
                    <a:pt x="477288" y="850951"/>
                  </a:lnTo>
                  <a:lnTo>
                    <a:pt x="478430" y="851712"/>
                  </a:lnTo>
                  <a:lnTo>
                    <a:pt x="473230" y="851712"/>
                  </a:lnTo>
                  <a:lnTo>
                    <a:pt x="473230" y="847653"/>
                  </a:lnTo>
                  <a:lnTo>
                    <a:pt x="474244" y="848414"/>
                  </a:lnTo>
                  <a:lnTo>
                    <a:pt x="471834" y="848414"/>
                  </a:lnTo>
                  <a:lnTo>
                    <a:pt x="471834" y="844355"/>
                  </a:lnTo>
                  <a:lnTo>
                    <a:pt x="472976" y="845116"/>
                  </a:lnTo>
                  <a:lnTo>
                    <a:pt x="470439" y="845116"/>
                  </a:lnTo>
                  <a:lnTo>
                    <a:pt x="470439" y="840931"/>
                  </a:lnTo>
                  <a:lnTo>
                    <a:pt x="471581" y="841692"/>
                  </a:lnTo>
                  <a:lnTo>
                    <a:pt x="469044" y="841692"/>
                  </a:lnTo>
                  <a:lnTo>
                    <a:pt x="469044" y="834335"/>
                  </a:lnTo>
                  <a:lnTo>
                    <a:pt x="470186" y="835096"/>
                  </a:lnTo>
                  <a:lnTo>
                    <a:pt x="463717" y="835096"/>
                  </a:lnTo>
                  <a:lnTo>
                    <a:pt x="463717" y="831037"/>
                  </a:lnTo>
                  <a:lnTo>
                    <a:pt x="464732" y="831798"/>
                  </a:lnTo>
                  <a:lnTo>
                    <a:pt x="459531" y="831798"/>
                  </a:lnTo>
                  <a:lnTo>
                    <a:pt x="459531" y="827740"/>
                  </a:lnTo>
                  <a:lnTo>
                    <a:pt x="460673" y="828501"/>
                  </a:lnTo>
                  <a:lnTo>
                    <a:pt x="454204" y="828501"/>
                  </a:lnTo>
                  <a:lnTo>
                    <a:pt x="454204" y="824442"/>
                  </a:lnTo>
                  <a:lnTo>
                    <a:pt x="455346" y="825203"/>
                  </a:lnTo>
                  <a:lnTo>
                    <a:pt x="450018" y="825203"/>
                  </a:lnTo>
                  <a:lnTo>
                    <a:pt x="450018" y="814422"/>
                  </a:lnTo>
                  <a:lnTo>
                    <a:pt x="451160" y="815183"/>
                  </a:lnTo>
                  <a:lnTo>
                    <a:pt x="445960" y="815183"/>
                  </a:lnTo>
                  <a:lnTo>
                    <a:pt x="445960" y="811124"/>
                  </a:lnTo>
                  <a:lnTo>
                    <a:pt x="447101" y="811885"/>
                  </a:lnTo>
                  <a:lnTo>
                    <a:pt x="440633" y="811885"/>
                  </a:lnTo>
                  <a:lnTo>
                    <a:pt x="440633" y="804528"/>
                  </a:lnTo>
                  <a:lnTo>
                    <a:pt x="441647" y="805289"/>
                  </a:lnTo>
                  <a:lnTo>
                    <a:pt x="439237" y="805289"/>
                  </a:lnTo>
                  <a:lnTo>
                    <a:pt x="439237" y="794508"/>
                  </a:lnTo>
                  <a:lnTo>
                    <a:pt x="440252" y="795396"/>
                  </a:lnTo>
                  <a:lnTo>
                    <a:pt x="437842" y="795396"/>
                  </a:lnTo>
                  <a:lnTo>
                    <a:pt x="437842" y="791211"/>
                  </a:lnTo>
                  <a:lnTo>
                    <a:pt x="438984" y="792098"/>
                  </a:lnTo>
                  <a:lnTo>
                    <a:pt x="433783" y="792098"/>
                  </a:lnTo>
                  <a:lnTo>
                    <a:pt x="433783" y="787913"/>
                  </a:lnTo>
                  <a:lnTo>
                    <a:pt x="434798" y="788674"/>
                  </a:lnTo>
                  <a:lnTo>
                    <a:pt x="429725" y="788674"/>
                  </a:lnTo>
                  <a:lnTo>
                    <a:pt x="429725" y="784615"/>
                  </a:lnTo>
                  <a:lnTo>
                    <a:pt x="430866" y="785376"/>
                  </a:lnTo>
                  <a:lnTo>
                    <a:pt x="428329" y="785376"/>
                  </a:lnTo>
                  <a:lnTo>
                    <a:pt x="428329" y="781317"/>
                  </a:lnTo>
                  <a:lnTo>
                    <a:pt x="429471" y="782078"/>
                  </a:lnTo>
                  <a:lnTo>
                    <a:pt x="425666" y="782078"/>
                  </a:lnTo>
                  <a:lnTo>
                    <a:pt x="425666" y="778019"/>
                  </a:lnTo>
                  <a:lnTo>
                    <a:pt x="426680" y="778781"/>
                  </a:lnTo>
                  <a:lnTo>
                    <a:pt x="424271" y="778781"/>
                  </a:lnTo>
                  <a:lnTo>
                    <a:pt x="424271" y="771424"/>
                  </a:lnTo>
                  <a:lnTo>
                    <a:pt x="425285" y="772185"/>
                  </a:lnTo>
                  <a:lnTo>
                    <a:pt x="420085" y="772185"/>
                  </a:lnTo>
                  <a:lnTo>
                    <a:pt x="420085" y="767999"/>
                  </a:lnTo>
                  <a:lnTo>
                    <a:pt x="421226" y="768887"/>
                  </a:lnTo>
                  <a:lnTo>
                    <a:pt x="417421" y="768887"/>
                  </a:lnTo>
                  <a:lnTo>
                    <a:pt x="417421" y="764702"/>
                  </a:lnTo>
                  <a:lnTo>
                    <a:pt x="418563" y="765589"/>
                  </a:lnTo>
                  <a:lnTo>
                    <a:pt x="416153" y="765589"/>
                  </a:lnTo>
                  <a:lnTo>
                    <a:pt x="416153" y="761404"/>
                  </a:lnTo>
                  <a:lnTo>
                    <a:pt x="417168" y="762165"/>
                  </a:lnTo>
                  <a:lnTo>
                    <a:pt x="414758" y="762165"/>
                  </a:lnTo>
                  <a:lnTo>
                    <a:pt x="414758" y="758106"/>
                  </a:lnTo>
                  <a:lnTo>
                    <a:pt x="415772" y="758867"/>
                  </a:lnTo>
                  <a:lnTo>
                    <a:pt x="413363" y="758867"/>
                  </a:lnTo>
                  <a:lnTo>
                    <a:pt x="413363" y="754808"/>
                  </a:lnTo>
                  <a:lnTo>
                    <a:pt x="414504" y="755569"/>
                  </a:lnTo>
                  <a:lnTo>
                    <a:pt x="411967" y="755569"/>
                  </a:lnTo>
                  <a:lnTo>
                    <a:pt x="411967" y="751511"/>
                  </a:lnTo>
                  <a:lnTo>
                    <a:pt x="413109" y="752272"/>
                  </a:lnTo>
                  <a:lnTo>
                    <a:pt x="410572" y="752272"/>
                  </a:lnTo>
                  <a:lnTo>
                    <a:pt x="410572" y="748213"/>
                  </a:lnTo>
                  <a:lnTo>
                    <a:pt x="411714" y="748974"/>
                  </a:lnTo>
                  <a:lnTo>
                    <a:pt x="409304" y="748974"/>
                  </a:lnTo>
                  <a:lnTo>
                    <a:pt x="409304" y="738193"/>
                  </a:lnTo>
                  <a:lnTo>
                    <a:pt x="410318" y="739080"/>
                  </a:lnTo>
                  <a:lnTo>
                    <a:pt x="406386" y="739080"/>
                  </a:lnTo>
                  <a:lnTo>
                    <a:pt x="402201" y="739080"/>
                  </a:lnTo>
                  <a:lnTo>
                    <a:pt x="399791" y="739080"/>
                  </a:lnTo>
                  <a:lnTo>
                    <a:pt x="399791" y="735022"/>
                  </a:lnTo>
                  <a:lnTo>
                    <a:pt x="400806" y="735783"/>
                  </a:lnTo>
                  <a:lnTo>
                    <a:pt x="397001" y="735783"/>
                  </a:lnTo>
                  <a:lnTo>
                    <a:pt x="397001" y="731724"/>
                  </a:lnTo>
                  <a:lnTo>
                    <a:pt x="398142" y="732485"/>
                  </a:lnTo>
                  <a:lnTo>
                    <a:pt x="394337" y="732485"/>
                  </a:lnTo>
                  <a:lnTo>
                    <a:pt x="394337" y="728426"/>
                  </a:lnTo>
                  <a:lnTo>
                    <a:pt x="395478" y="729187"/>
                  </a:lnTo>
                  <a:lnTo>
                    <a:pt x="392942" y="729187"/>
                  </a:lnTo>
                  <a:lnTo>
                    <a:pt x="392942" y="725128"/>
                  </a:lnTo>
                  <a:lnTo>
                    <a:pt x="394083" y="725889"/>
                  </a:lnTo>
                  <a:lnTo>
                    <a:pt x="391673" y="725889"/>
                  </a:lnTo>
                  <a:lnTo>
                    <a:pt x="391673" y="721831"/>
                  </a:lnTo>
                  <a:lnTo>
                    <a:pt x="392688" y="722592"/>
                  </a:lnTo>
                  <a:lnTo>
                    <a:pt x="386093" y="722592"/>
                  </a:lnTo>
                  <a:lnTo>
                    <a:pt x="386093" y="715235"/>
                  </a:lnTo>
                  <a:lnTo>
                    <a:pt x="387234" y="716123"/>
                  </a:lnTo>
                  <a:lnTo>
                    <a:pt x="382161" y="716123"/>
                  </a:lnTo>
                  <a:lnTo>
                    <a:pt x="382161" y="711937"/>
                  </a:lnTo>
                  <a:lnTo>
                    <a:pt x="383175" y="712698"/>
                  </a:lnTo>
                  <a:lnTo>
                    <a:pt x="380765" y="712698"/>
                  </a:lnTo>
                  <a:lnTo>
                    <a:pt x="380765" y="702044"/>
                  </a:lnTo>
                  <a:lnTo>
                    <a:pt x="381907" y="702932"/>
                  </a:lnTo>
                  <a:lnTo>
                    <a:pt x="376707" y="702932"/>
                  </a:lnTo>
                  <a:lnTo>
                    <a:pt x="376707" y="698746"/>
                  </a:lnTo>
                  <a:lnTo>
                    <a:pt x="377721" y="699634"/>
                  </a:lnTo>
                  <a:lnTo>
                    <a:pt x="375311" y="699634"/>
                  </a:lnTo>
                  <a:lnTo>
                    <a:pt x="375311" y="692278"/>
                  </a:lnTo>
                  <a:lnTo>
                    <a:pt x="376326" y="693039"/>
                  </a:lnTo>
                  <a:lnTo>
                    <a:pt x="373916" y="693039"/>
                  </a:lnTo>
                  <a:lnTo>
                    <a:pt x="373916" y="685555"/>
                  </a:lnTo>
                  <a:lnTo>
                    <a:pt x="375058" y="686443"/>
                  </a:lnTo>
                  <a:lnTo>
                    <a:pt x="368589" y="686443"/>
                  </a:lnTo>
                  <a:lnTo>
                    <a:pt x="368589" y="682384"/>
                  </a:lnTo>
                  <a:lnTo>
                    <a:pt x="369604" y="683145"/>
                  </a:lnTo>
                  <a:lnTo>
                    <a:pt x="365799" y="683145"/>
                  </a:lnTo>
                  <a:lnTo>
                    <a:pt x="365799" y="672491"/>
                  </a:lnTo>
                  <a:lnTo>
                    <a:pt x="366940" y="673252"/>
                  </a:lnTo>
                  <a:lnTo>
                    <a:pt x="364403" y="673252"/>
                  </a:lnTo>
                  <a:lnTo>
                    <a:pt x="364403" y="669193"/>
                  </a:lnTo>
                  <a:lnTo>
                    <a:pt x="365545" y="669954"/>
                  </a:lnTo>
                  <a:lnTo>
                    <a:pt x="363008" y="669954"/>
                  </a:lnTo>
                  <a:lnTo>
                    <a:pt x="363008" y="662598"/>
                  </a:lnTo>
                  <a:lnTo>
                    <a:pt x="364150" y="663485"/>
                  </a:lnTo>
                  <a:lnTo>
                    <a:pt x="361740" y="663485"/>
                  </a:lnTo>
                  <a:lnTo>
                    <a:pt x="361740" y="659300"/>
                  </a:lnTo>
                  <a:lnTo>
                    <a:pt x="362754" y="660061"/>
                  </a:lnTo>
                  <a:lnTo>
                    <a:pt x="359076" y="660061"/>
                  </a:lnTo>
                  <a:lnTo>
                    <a:pt x="359076" y="656002"/>
                  </a:lnTo>
                  <a:lnTo>
                    <a:pt x="360091" y="656763"/>
                  </a:lnTo>
                  <a:lnTo>
                    <a:pt x="357681" y="656763"/>
                  </a:lnTo>
                  <a:lnTo>
                    <a:pt x="357681" y="649407"/>
                  </a:lnTo>
                  <a:lnTo>
                    <a:pt x="358696" y="650294"/>
                  </a:lnTo>
                  <a:lnTo>
                    <a:pt x="356286" y="650294"/>
                  </a:lnTo>
                  <a:lnTo>
                    <a:pt x="356286" y="639640"/>
                  </a:lnTo>
                  <a:lnTo>
                    <a:pt x="357427" y="640401"/>
                  </a:lnTo>
                  <a:lnTo>
                    <a:pt x="353495" y="640401"/>
                  </a:lnTo>
                  <a:lnTo>
                    <a:pt x="353495" y="636342"/>
                  </a:lnTo>
                  <a:lnTo>
                    <a:pt x="354637" y="637103"/>
                  </a:lnTo>
                  <a:lnTo>
                    <a:pt x="352227" y="637103"/>
                  </a:lnTo>
                  <a:lnTo>
                    <a:pt x="352227" y="633045"/>
                  </a:lnTo>
                  <a:lnTo>
                    <a:pt x="353242" y="633806"/>
                  </a:lnTo>
                  <a:lnTo>
                    <a:pt x="350832" y="633806"/>
                  </a:lnTo>
                  <a:lnTo>
                    <a:pt x="350832" y="629747"/>
                  </a:lnTo>
                  <a:lnTo>
                    <a:pt x="351846" y="630508"/>
                  </a:lnTo>
                  <a:lnTo>
                    <a:pt x="348168" y="630508"/>
                  </a:lnTo>
                  <a:lnTo>
                    <a:pt x="348168" y="626449"/>
                  </a:lnTo>
                  <a:lnTo>
                    <a:pt x="349310" y="627210"/>
                  </a:lnTo>
                  <a:lnTo>
                    <a:pt x="345378" y="627210"/>
                  </a:lnTo>
                  <a:lnTo>
                    <a:pt x="345378" y="619853"/>
                  </a:lnTo>
                  <a:lnTo>
                    <a:pt x="346519" y="620615"/>
                  </a:lnTo>
                  <a:lnTo>
                    <a:pt x="342714" y="620615"/>
                  </a:lnTo>
                  <a:lnTo>
                    <a:pt x="342714" y="616556"/>
                  </a:lnTo>
                  <a:lnTo>
                    <a:pt x="343729" y="617317"/>
                  </a:lnTo>
                  <a:lnTo>
                    <a:pt x="341319" y="617317"/>
                  </a:lnTo>
                  <a:lnTo>
                    <a:pt x="341319" y="609960"/>
                  </a:lnTo>
                  <a:lnTo>
                    <a:pt x="342461" y="610848"/>
                  </a:lnTo>
                  <a:lnTo>
                    <a:pt x="339924" y="610848"/>
                  </a:lnTo>
                  <a:lnTo>
                    <a:pt x="339924" y="603365"/>
                  </a:lnTo>
                  <a:lnTo>
                    <a:pt x="341065" y="604126"/>
                  </a:lnTo>
                  <a:lnTo>
                    <a:pt x="337260" y="604126"/>
                  </a:lnTo>
                  <a:lnTo>
                    <a:pt x="337260" y="600067"/>
                  </a:lnTo>
                  <a:lnTo>
                    <a:pt x="338402" y="600955"/>
                  </a:lnTo>
                  <a:lnTo>
                    <a:pt x="334597" y="600955"/>
                  </a:lnTo>
                  <a:lnTo>
                    <a:pt x="334597" y="596769"/>
                  </a:lnTo>
                  <a:lnTo>
                    <a:pt x="335611" y="597657"/>
                  </a:lnTo>
                  <a:lnTo>
                    <a:pt x="331806" y="597657"/>
                  </a:lnTo>
                  <a:lnTo>
                    <a:pt x="331806" y="590300"/>
                  </a:lnTo>
                  <a:lnTo>
                    <a:pt x="332948" y="591061"/>
                  </a:lnTo>
                  <a:lnTo>
                    <a:pt x="330411" y="591061"/>
                  </a:lnTo>
                  <a:lnTo>
                    <a:pt x="330411" y="583705"/>
                  </a:lnTo>
                  <a:lnTo>
                    <a:pt x="331552" y="584466"/>
                  </a:lnTo>
                  <a:lnTo>
                    <a:pt x="329016" y="584466"/>
                  </a:lnTo>
                  <a:lnTo>
                    <a:pt x="329016" y="580407"/>
                  </a:lnTo>
                  <a:lnTo>
                    <a:pt x="330157" y="581168"/>
                  </a:lnTo>
                  <a:lnTo>
                    <a:pt x="326479" y="581168"/>
                  </a:lnTo>
                  <a:lnTo>
                    <a:pt x="326479" y="573812"/>
                  </a:lnTo>
                  <a:lnTo>
                    <a:pt x="327494" y="574699"/>
                  </a:lnTo>
                  <a:lnTo>
                    <a:pt x="323689" y="574699"/>
                  </a:lnTo>
                  <a:lnTo>
                    <a:pt x="323689" y="570514"/>
                  </a:lnTo>
                  <a:lnTo>
                    <a:pt x="324830" y="571402"/>
                  </a:lnTo>
                  <a:lnTo>
                    <a:pt x="316839" y="571402"/>
                  </a:lnTo>
                  <a:lnTo>
                    <a:pt x="316839" y="567343"/>
                  </a:lnTo>
                  <a:lnTo>
                    <a:pt x="317981" y="568104"/>
                  </a:lnTo>
                  <a:lnTo>
                    <a:pt x="315444" y="568104"/>
                  </a:lnTo>
                  <a:lnTo>
                    <a:pt x="315444" y="564045"/>
                  </a:lnTo>
                  <a:lnTo>
                    <a:pt x="316586" y="564806"/>
                  </a:lnTo>
                  <a:lnTo>
                    <a:pt x="312781" y="564806"/>
                  </a:lnTo>
                  <a:lnTo>
                    <a:pt x="312781" y="554152"/>
                  </a:lnTo>
                  <a:lnTo>
                    <a:pt x="313922" y="554913"/>
                  </a:lnTo>
                  <a:lnTo>
                    <a:pt x="310117" y="554913"/>
                  </a:lnTo>
                  <a:lnTo>
                    <a:pt x="310117" y="550854"/>
                  </a:lnTo>
                  <a:lnTo>
                    <a:pt x="311132" y="551615"/>
                  </a:lnTo>
                  <a:lnTo>
                    <a:pt x="308722" y="551615"/>
                  </a:lnTo>
                  <a:lnTo>
                    <a:pt x="308722" y="547556"/>
                  </a:lnTo>
                  <a:lnTo>
                    <a:pt x="309863" y="548444"/>
                  </a:lnTo>
                  <a:lnTo>
                    <a:pt x="305931" y="548444"/>
                  </a:lnTo>
                  <a:lnTo>
                    <a:pt x="305931" y="544385"/>
                  </a:lnTo>
                  <a:lnTo>
                    <a:pt x="307073" y="545146"/>
                  </a:lnTo>
                  <a:lnTo>
                    <a:pt x="304663" y="545146"/>
                  </a:lnTo>
                  <a:lnTo>
                    <a:pt x="304663" y="541088"/>
                  </a:lnTo>
                  <a:lnTo>
                    <a:pt x="305678" y="541849"/>
                  </a:lnTo>
                  <a:lnTo>
                    <a:pt x="303268" y="541849"/>
                  </a:lnTo>
                  <a:lnTo>
                    <a:pt x="303268" y="537790"/>
                  </a:lnTo>
                  <a:lnTo>
                    <a:pt x="304283" y="538678"/>
                  </a:lnTo>
                  <a:lnTo>
                    <a:pt x="301999" y="538678"/>
                  </a:lnTo>
                  <a:lnTo>
                    <a:pt x="301999" y="534492"/>
                  </a:lnTo>
                  <a:lnTo>
                    <a:pt x="303014" y="535380"/>
                  </a:lnTo>
                  <a:lnTo>
                    <a:pt x="300604" y="535380"/>
                  </a:lnTo>
                  <a:lnTo>
                    <a:pt x="300604" y="528023"/>
                  </a:lnTo>
                  <a:lnTo>
                    <a:pt x="301619" y="528784"/>
                  </a:lnTo>
                  <a:lnTo>
                    <a:pt x="299209" y="528784"/>
                  </a:lnTo>
                  <a:lnTo>
                    <a:pt x="299209" y="518130"/>
                  </a:lnTo>
                  <a:lnTo>
                    <a:pt x="300351" y="518891"/>
                  </a:lnTo>
                  <a:lnTo>
                    <a:pt x="297814" y="518891"/>
                  </a:lnTo>
                  <a:lnTo>
                    <a:pt x="297814" y="514832"/>
                  </a:lnTo>
                  <a:lnTo>
                    <a:pt x="298955" y="515593"/>
                  </a:lnTo>
                  <a:lnTo>
                    <a:pt x="296419" y="515593"/>
                  </a:lnTo>
                  <a:lnTo>
                    <a:pt x="296419" y="511534"/>
                  </a:lnTo>
                  <a:lnTo>
                    <a:pt x="297560" y="512422"/>
                  </a:lnTo>
                  <a:lnTo>
                    <a:pt x="292360" y="512422"/>
                  </a:lnTo>
                  <a:lnTo>
                    <a:pt x="292360" y="505066"/>
                  </a:lnTo>
                  <a:lnTo>
                    <a:pt x="293501" y="505827"/>
                  </a:lnTo>
                  <a:lnTo>
                    <a:pt x="291091" y="505827"/>
                  </a:lnTo>
                  <a:lnTo>
                    <a:pt x="291091" y="501768"/>
                  </a:lnTo>
                  <a:lnTo>
                    <a:pt x="292233" y="502529"/>
                  </a:lnTo>
                  <a:lnTo>
                    <a:pt x="284242" y="502529"/>
                  </a:lnTo>
                  <a:lnTo>
                    <a:pt x="284242" y="492002"/>
                  </a:lnTo>
                  <a:lnTo>
                    <a:pt x="285384" y="492763"/>
                  </a:lnTo>
                  <a:lnTo>
                    <a:pt x="282847" y="492763"/>
                  </a:lnTo>
                  <a:lnTo>
                    <a:pt x="282847" y="485406"/>
                  </a:lnTo>
                  <a:lnTo>
                    <a:pt x="283989" y="486167"/>
                  </a:lnTo>
                  <a:lnTo>
                    <a:pt x="279930" y="486167"/>
                  </a:lnTo>
                  <a:lnTo>
                    <a:pt x="278535" y="486167"/>
                  </a:lnTo>
                  <a:lnTo>
                    <a:pt x="276125" y="486167"/>
                  </a:lnTo>
                  <a:lnTo>
                    <a:pt x="276125" y="482235"/>
                  </a:lnTo>
                  <a:lnTo>
                    <a:pt x="277266" y="482996"/>
                  </a:lnTo>
                  <a:lnTo>
                    <a:pt x="274729" y="482996"/>
                  </a:lnTo>
                  <a:lnTo>
                    <a:pt x="274729" y="478937"/>
                  </a:lnTo>
                  <a:lnTo>
                    <a:pt x="275871" y="479698"/>
                  </a:lnTo>
                  <a:lnTo>
                    <a:pt x="270671" y="479698"/>
                  </a:lnTo>
                  <a:lnTo>
                    <a:pt x="270671" y="459278"/>
                  </a:lnTo>
                  <a:lnTo>
                    <a:pt x="271685" y="460165"/>
                  </a:lnTo>
                  <a:lnTo>
                    <a:pt x="266612" y="460165"/>
                  </a:lnTo>
                  <a:lnTo>
                    <a:pt x="266612" y="456107"/>
                  </a:lnTo>
                  <a:lnTo>
                    <a:pt x="267753" y="456868"/>
                  </a:lnTo>
                  <a:lnTo>
                    <a:pt x="262553" y="456868"/>
                  </a:lnTo>
                  <a:lnTo>
                    <a:pt x="262553" y="452809"/>
                  </a:lnTo>
                  <a:lnTo>
                    <a:pt x="263568" y="453570"/>
                  </a:lnTo>
                  <a:lnTo>
                    <a:pt x="261158" y="453570"/>
                  </a:lnTo>
                  <a:lnTo>
                    <a:pt x="261158" y="446340"/>
                  </a:lnTo>
                  <a:lnTo>
                    <a:pt x="262173" y="447101"/>
                  </a:lnTo>
                  <a:lnTo>
                    <a:pt x="258367" y="447101"/>
                  </a:lnTo>
                  <a:lnTo>
                    <a:pt x="258367" y="443042"/>
                  </a:lnTo>
                  <a:lnTo>
                    <a:pt x="259509" y="443803"/>
                  </a:lnTo>
                  <a:lnTo>
                    <a:pt x="255704" y="443803"/>
                  </a:lnTo>
                  <a:lnTo>
                    <a:pt x="255704" y="433403"/>
                  </a:lnTo>
                  <a:lnTo>
                    <a:pt x="256845" y="434164"/>
                  </a:lnTo>
                  <a:lnTo>
                    <a:pt x="254435" y="434164"/>
                  </a:lnTo>
                  <a:lnTo>
                    <a:pt x="254435" y="430105"/>
                  </a:lnTo>
                  <a:lnTo>
                    <a:pt x="255450" y="430866"/>
                  </a:lnTo>
                  <a:lnTo>
                    <a:pt x="253040" y="430866"/>
                  </a:lnTo>
                  <a:lnTo>
                    <a:pt x="253040" y="426807"/>
                  </a:lnTo>
                  <a:lnTo>
                    <a:pt x="254055" y="427568"/>
                  </a:lnTo>
                  <a:lnTo>
                    <a:pt x="251645" y="427568"/>
                  </a:lnTo>
                  <a:lnTo>
                    <a:pt x="251645" y="420339"/>
                  </a:lnTo>
                  <a:lnTo>
                    <a:pt x="252787" y="421100"/>
                  </a:lnTo>
                  <a:lnTo>
                    <a:pt x="250250" y="421100"/>
                  </a:lnTo>
                  <a:lnTo>
                    <a:pt x="250250" y="417041"/>
                  </a:lnTo>
                  <a:lnTo>
                    <a:pt x="251391" y="417802"/>
                  </a:lnTo>
                  <a:lnTo>
                    <a:pt x="248855" y="417802"/>
                  </a:lnTo>
                  <a:lnTo>
                    <a:pt x="248855" y="413743"/>
                  </a:lnTo>
                  <a:lnTo>
                    <a:pt x="249996" y="414631"/>
                  </a:lnTo>
                  <a:lnTo>
                    <a:pt x="247586" y="414631"/>
                  </a:lnTo>
                  <a:lnTo>
                    <a:pt x="247586" y="410572"/>
                  </a:lnTo>
                  <a:lnTo>
                    <a:pt x="248601" y="411333"/>
                  </a:lnTo>
                  <a:lnTo>
                    <a:pt x="246191" y="411333"/>
                  </a:lnTo>
                  <a:lnTo>
                    <a:pt x="246191" y="404103"/>
                  </a:lnTo>
                  <a:lnTo>
                    <a:pt x="247206" y="404864"/>
                  </a:lnTo>
                  <a:lnTo>
                    <a:pt x="245937" y="404864"/>
                  </a:lnTo>
                  <a:lnTo>
                    <a:pt x="242132" y="404864"/>
                  </a:lnTo>
                  <a:lnTo>
                    <a:pt x="242132" y="400806"/>
                  </a:lnTo>
                  <a:lnTo>
                    <a:pt x="243274" y="401567"/>
                  </a:lnTo>
                  <a:lnTo>
                    <a:pt x="240737" y="401567"/>
                  </a:lnTo>
                  <a:lnTo>
                    <a:pt x="240737" y="391039"/>
                  </a:lnTo>
                  <a:lnTo>
                    <a:pt x="241879" y="391927"/>
                  </a:lnTo>
                  <a:lnTo>
                    <a:pt x="236678" y="391927"/>
                  </a:lnTo>
                  <a:lnTo>
                    <a:pt x="236678" y="384570"/>
                  </a:lnTo>
                  <a:lnTo>
                    <a:pt x="237693" y="385331"/>
                  </a:lnTo>
                  <a:lnTo>
                    <a:pt x="235283" y="385331"/>
                  </a:lnTo>
                  <a:lnTo>
                    <a:pt x="235283" y="374931"/>
                  </a:lnTo>
                  <a:lnTo>
                    <a:pt x="236425" y="375692"/>
                  </a:lnTo>
                  <a:lnTo>
                    <a:pt x="233888" y="375692"/>
                  </a:lnTo>
                  <a:lnTo>
                    <a:pt x="233888" y="365291"/>
                  </a:lnTo>
                  <a:lnTo>
                    <a:pt x="235029" y="366052"/>
                  </a:lnTo>
                  <a:lnTo>
                    <a:pt x="233761" y="366052"/>
                  </a:lnTo>
                  <a:lnTo>
                    <a:pt x="231224" y="366052"/>
                  </a:lnTo>
                  <a:lnTo>
                    <a:pt x="231224" y="358696"/>
                  </a:lnTo>
                  <a:lnTo>
                    <a:pt x="232366" y="359583"/>
                  </a:lnTo>
                  <a:lnTo>
                    <a:pt x="228561" y="359583"/>
                  </a:lnTo>
                  <a:lnTo>
                    <a:pt x="228561" y="352354"/>
                  </a:lnTo>
                  <a:lnTo>
                    <a:pt x="229575" y="353115"/>
                  </a:lnTo>
                  <a:lnTo>
                    <a:pt x="223107" y="353115"/>
                  </a:lnTo>
                  <a:lnTo>
                    <a:pt x="223107" y="349056"/>
                  </a:lnTo>
                  <a:lnTo>
                    <a:pt x="224121" y="349817"/>
                  </a:lnTo>
                  <a:lnTo>
                    <a:pt x="221711" y="349817"/>
                  </a:lnTo>
                  <a:lnTo>
                    <a:pt x="221711" y="342587"/>
                  </a:lnTo>
                  <a:lnTo>
                    <a:pt x="222726" y="343348"/>
                  </a:lnTo>
                  <a:lnTo>
                    <a:pt x="220443" y="343348"/>
                  </a:lnTo>
                  <a:lnTo>
                    <a:pt x="220443" y="336119"/>
                  </a:lnTo>
                  <a:lnTo>
                    <a:pt x="221458" y="337006"/>
                  </a:lnTo>
                  <a:lnTo>
                    <a:pt x="216257" y="337006"/>
                  </a:lnTo>
                  <a:lnTo>
                    <a:pt x="216257" y="329650"/>
                  </a:lnTo>
                  <a:lnTo>
                    <a:pt x="217399" y="330411"/>
                  </a:lnTo>
                  <a:lnTo>
                    <a:pt x="214862" y="330411"/>
                  </a:lnTo>
                  <a:lnTo>
                    <a:pt x="214862" y="320010"/>
                  </a:lnTo>
                  <a:lnTo>
                    <a:pt x="216004" y="320771"/>
                  </a:lnTo>
                  <a:lnTo>
                    <a:pt x="213594" y="320771"/>
                  </a:lnTo>
                  <a:lnTo>
                    <a:pt x="213594" y="316839"/>
                  </a:lnTo>
                  <a:lnTo>
                    <a:pt x="214609" y="317600"/>
                  </a:lnTo>
                  <a:lnTo>
                    <a:pt x="208140" y="317600"/>
                  </a:lnTo>
                  <a:lnTo>
                    <a:pt x="208140" y="313542"/>
                  </a:lnTo>
                  <a:lnTo>
                    <a:pt x="209281" y="314429"/>
                  </a:lnTo>
                  <a:lnTo>
                    <a:pt x="206745" y="314429"/>
                  </a:lnTo>
                  <a:lnTo>
                    <a:pt x="206745" y="303902"/>
                  </a:lnTo>
                  <a:lnTo>
                    <a:pt x="207886" y="304663"/>
                  </a:lnTo>
                  <a:lnTo>
                    <a:pt x="205476" y="304663"/>
                  </a:lnTo>
                  <a:lnTo>
                    <a:pt x="205476" y="300604"/>
                  </a:lnTo>
                  <a:lnTo>
                    <a:pt x="206491" y="301492"/>
                  </a:lnTo>
                  <a:lnTo>
                    <a:pt x="202686" y="301492"/>
                  </a:lnTo>
                  <a:lnTo>
                    <a:pt x="202686" y="297433"/>
                  </a:lnTo>
                  <a:lnTo>
                    <a:pt x="203827" y="298194"/>
                  </a:lnTo>
                  <a:lnTo>
                    <a:pt x="201291" y="298194"/>
                  </a:lnTo>
                  <a:lnTo>
                    <a:pt x="201291" y="290965"/>
                  </a:lnTo>
                  <a:lnTo>
                    <a:pt x="202432" y="291852"/>
                  </a:lnTo>
                  <a:lnTo>
                    <a:pt x="195964" y="291852"/>
                  </a:lnTo>
                  <a:lnTo>
                    <a:pt x="195964" y="287794"/>
                  </a:lnTo>
                  <a:lnTo>
                    <a:pt x="196978" y="288555"/>
                  </a:lnTo>
                  <a:lnTo>
                    <a:pt x="193173" y="288555"/>
                  </a:lnTo>
                  <a:lnTo>
                    <a:pt x="193173" y="284623"/>
                  </a:lnTo>
                  <a:lnTo>
                    <a:pt x="194315" y="285384"/>
                  </a:lnTo>
                  <a:lnTo>
                    <a:pt x="190383" y="285384"/>
                  </a:lnTo>
                  <a:lnTo>
                    <a:pt x="190383" y="281325"/>
                  </a:lnTo>
                  <a:lnTo>
                    <a:pt x="191524" y="282213"/>
                  </a:lnTo>
                  <a:lnTo>
                    <a:pt x="189114" y="282213"/>
                  </a:lnTo>
                  <a:lnTo>
                    <a:pt x="189114" y="278154"/>
                  </a:lnTo>
                  <a:lnTo>
                    <a:pt x="190129" y="278915"/>
                  </a:lnTo>
                  <a:lnTo>
                    <a:pt x="187719" y="278915"/>
                  </a:lnTo>
                  <a:lnTo>
                    <a:pt x="187719" y="274983"/>
                  </a:lnTo>
                  <a:lnTo>
                    <a:pt x="188861" y="275744"/>
                  </a:lnTo>
                  <a:lnTo>
                    <a:pt x="186324" y="275744"/>
                  </a:lnTo>
                  <a:lnTo>
                    <a:pt x="186324" y="265343"/>
                  </a:lnTo>
                  <a:lnTo>
                    <a:pt x="187465" y="266104"/>
                  </a:lnTo>
                  <a:lnTo>
                    <a:pt x="185056" y="266104"/>
                  </a:lnTo>
                  <a:lnTo>
                    <a:pt x="185056" y="262046"/>
                  </a:lnTo>
                  <a:lnTo>
                    <a:pt x="186197" y="262807"/>
                  </a:lnTo>
                  <a:lnTo>
                    <a:pt x="182265" y="262807"/>
                  </a:lnTo>
                  <a:lnTo>
                    <a:pt x="182265" y="252533"/>
                  </a:lnTo>
                  <a:lnTo>
                    <a:pt x="183407" y="253294"/>
                  </a:lnTo>
                  <a:lnTo>
                    <a:pt x="176811" y="253294"/>
                  </a:lnTo>
                  <a:lnTo>
                    <a:pt x="176811" y="249235"/>
                  </a:lnTo>
                  <a:lnTo>
                    <a:pt x="177953" y="250123"/>
                  </a:lnTo>
                  <a:lnTo>
                    <a:pt x="172879" y="250123"/>
                  </a:lnTo>
                  <a:lnTo>
                    <a:pt x="172879" y="242893"/>
                  </a:lnTo>
                  <a:lnTo>
                    <a:pt x="173894" y="243654"/>
                  </a:lnTo>
                  <a:lnTo>
                    <a:pt x="171484" y="243654"/>
                  </a:lnTo>
                  <a:lnTo>
                    <a:pt x="171484" y="233254"/>
                  </a:lnTo>
                  <a:lnTo>
                    <a:pt x="172499" y="234015"/>
                  </a:lnTo>
                  <a:lnTo>
                    <a:pt x="167298" y="234015"/>
                  </a:lnTo>
                  <a:lnTo>
                    <a:pt x="167298" y="230083"/>
                  </a:lnTo>
                  <a:lnTo>
                    <a:pt x="168440" y="230844"/>
                  </a:lnTo>
                  <a:lnTo>
                    <a:pt x="166030" y="230844"/>
                  </a:lnTo>
                  <a:lnTo>
                    <a:pt x="166030" y="226912"/>
                  </a:lnTo>
                  <a:lnTo>
                    <a:pt x="167045" y="227673"/>
                  </a:lnTo>
                  <a:lnTo>
                    <a:pt x="164635" y="227673"/>
                  </a:lnTo>
                  <a:lnTo>
                    <a:pt x="164635" y="223741"/>
                  </a:lnTo>
                  <a:lnTo>
                    <a:pt x="165649" y="224502"/>
                  </a:lnTo>
                  <a:lnTo>
                    <a:pt x="163240" y="224502"/>
                  </a:lnTo>
                  <a:lnTo>
                    <a:pt x="163240" y="217272"/>
                  </a:lnTo>
                  <a:lnTo>
                    <a:pt x="164381" y="218160"/>
                  </a:lnTo>
                  <a:lnTo>
                    <a:pt x="161971" y="218160"/>
                  </a:lnTo>
                  <a:lnTo>
                    <a:pt x="161971" y="210930"/>
                  </a:lnTo>
                  <a:lnTo>
                    <a:pt x="162986" y="211691"/>
                  </a:lnTo>
                  <a:lnTo>
                    <a:pt x="160576" y="211691"/>
                  </a:lnTo>
                  <a:lnTo>
                    <a:pt x="160576" y="207759"/>
                  </a:lnTo>
                  <a:lnTo>
                    <a:pt x="161717" y="208520"/>
                  </a:lnTo>
                  <a:lnTo>
                    <a:pt x="157786" y="208520"/>
                  </a:lnTo>
                  <a:lnTo>
                    <a:pt x="157786" y="204462"/>
                  </a:lnTo>
                  <a:lnTo>
                    <a:pt x="158927" y="205349"/>
                  </a:lnTo>
                  <a:lnTo>
                    <a:pt x="156517" y="205349"/>
                  </a:lnTo>
                  <a:lnTo>
                    <a:pt x="156517" y="194949"/>
                  </a:lnTo>
                  <a:lnTo>
                    <a:pt x="157532" y="195710"/>
                  </a:lnTo>
                  <a:lnTo>
                    <a:pt x="155122" y="195710"/>
                  </a:lnTo>
                  <a:lnTo>
                    <a:pt x="155122" y="191778"/>
                  </a:lnTo>
                  <a:lnTo>
                    <a:pt x="156137" y="192539"/>
                  </a:lnTo>
                  <a:lnTo>
                    <a:pt x="153727" y="192539"/>
                  </a:lnTo>
                  <a:lnTo>
                    <a:pt x="153727" y="185309"/>
                  </a:lnTo>
                  <a:lnTo>
                    <a:pt x="154868" y="186197"/>
                  </a:lnTo>
                  <a:lnTo>
                    <a:pt x="152332" y="186197"/>
                  </a:lnTo>
                  <a:lnTo>
                    <a:pt x="152332" y="182265"/>
                  </a:lnTo>
                  <a:lnTo>
                    <a:pt x="153473" y="183026"/>
                  </a:lnTo>
                  <a:lnTo>
                    <a:pt x="149668" y="183026"/>
                  </a:lnTo>
                  <a:lnTo>
                    <a:pt x="149668" y="175796"/>
                  </a:lnTo>
                  <a:lnTo>
                    <a:pt x="150809" y="176684"/>
                  </a:lnTo>
                  <a:lnTo>
                    <a:pt x="148400" y="176684"/>
                  </a:lnTo>
                  <a:lnTo>
                    <a:pt x="148400" y="169455"/>
                  </a:lnTo>
                  <a:lnTo>
                    <a:pt x="149414" y="170216"/>
                  </a:lnTo>
                  <a:lnTo>
                    <a:pt x="147004" y="170216"/>
                  </a:lnTo>
                  <a:lnTo>
                    <a:pt x="147004" y="162986"/>
                  </a:lnTo>
                  <a:lnTo>
                    <a:pt x="148019" y="163874"/>
                  </a:lnTo>
                  <a:lnTo>
                    <a:pt x="144214" y="163874"/>
                  </a:lnTo>
                  <a:lnTo>
                    <a:pt x="144214" y="159815"/>
                  </a:lnTo>
                  <a:lnTo>
                    <a:pt x="145355" y="160576"/>
                  </a:lnTo>
                  <a:lnTo>
                    <a:pt x="142819" y="160576"/>
                  </a:lnTo>
                  <a:lnTo>
                    <a:pt x="142819" y="156644"/>
                  </a:lnTo>
                  <a:lnTo>
                    <a:pt x="143960" y="157405"/>
                  </a:lnTo>
                  <a:lnTo>
                    <a:pt x="138887" y="157405"/>
                  </a:lnTo>
                  <a:lnTo>
                    <a:pt x="138887" y="153473"/>
                  </a:lnTo>
                  <a:lnTo>
                    <a:pt x="139901" y="154234"/>
                  </a:lnTo>
                  <a:lnTo>
                    <a:pt x="133306" y="154234"/>
                  </a:lnTo>
                  <a:lnTo>
                    <a:pt x="133306" y="143833"/>
                  </a:lnTo>
                  <a:lnTo>
                    <a:pt x="134447" y="144721"/>
                  </a:lnTo>
                  <a:lnTo>
                    <a:pt x="132038" y="144721"/>
                  </a:lnTo>
                  <a:lnTo>
                    <a:pt x="132038" y="140789"/>
                  </a:lnTo>
                  <a:lnTo>
                    <a:pt x="133052" y="141550"/>
                  </a:lnTo>
                  <a:lnTo>
                    <a:pt x="130642" y="141550"/>
                  </a:lnTo>
                  <a:lnTo>
                    <a:pt x="130642" y="137492"/>
                  </a:lnTo>
                  <a:lnTo>
                    <a:pt x="131784" y="138253"/>
                  </a:lnTo>
                  <a:lnTo>
                    <a:pt x="129247" y="138253"/>
                  </a:lnTo>
                  <a:lnTo>
                    <a:pt x="129247" y="134321"/>
                  </a:lnTo>
                  <a:lnTo>
                    <a:pt x="130389" y="135208"/>
                  </a:lnTo>
                  <a:lnTo>
                    <a:pt x="126584" y="135208"/>
                  </a:lnTo>
                  <a:lnTo>
                    <a:pt x="126584" y="131150"/>
                  </a:lnTo>
                  <a:lnTo>
                    <a:pt x="127725" y="131911"/>
                  </a:lnTo>
                  <a:lnTo>
                    <a:pt x="125188" y="131911"/>
                  </a:lnTo>
                  <a:lnTo>
                    <a:pt x="125188" y="127979"/>
                  </a:lnTo>
                  <a:lnTo>
                    <a:pt x="126330" y="128740"/>
                  </a:lnTo>
                  <a:lnTo>
                    <a:pt x="123920" y="128740"/>
                  </a:lnTo>
                  <a:lnTo>
                    <a:pt x="123920" y="124808"/>
                  </a:lnTo>
                  <a:lnTo>
                    <a:pt x="124935" y="125569"/>
                  </a:lnTo>
                  <a:lnTo>
                    <a:pt x="122525" y="125569"/>
                  </a:lnTo>
                  <a:lnTo>
                    <a:pt x="122525" y="118466"/>
                  </a:lnTo>
                  <a:lnTo>
                    <a:pt x="123539" y="119227"/>
                  </a:lnTo>
                  <a:lnTo>
                    <a:pt x="119734" y="119227"/>
                  </a:lnTo>
                  <a:lnTo>
                    <a:pt x="119734" y="111997"/>
                  </a:lnTo>
                  <a:lnTo>
                    <a:pt x="120876" y="112885"/>
                  </a:lnTo>
                  <a:lnTo>
                    <a:pt x="114407" y="112885"/>
                  </a:lnTo>
                  <a:lnTo>
                    <a:pt x="114407" y="108953"/>
                  </a:lnTo>
                  <a:lnTo>
                    <a:pt x="115422" y="109714"/>
                  </a:lnTo>
                  <a:lnTo>
                    <a:pt x="113012" y="109714"/>
                  </a:lnTo>
                  <a:lnTo>
                    <a:pt x="113012" y="105655"/>
                  </a:lnTo>
                  <a:lnTo>
                    <a:pt x="114154" y="106416"/>
                  </a:lnTo>
                  <a:lnTo>
                    <a:pt x="110222" y="106416"/>
                  </a:lnTo>
                  <a:lnTo>
                    <a:pt x="110222" y="102484"/>
                  </a:lnTo>
                  <a:lnTo>
                    <a:pt x="111363" y="103372"/>
                  </a:lnTo>
                  <a:lnTo>
                    <a:pt x="108953" y="103372"/>
                  </a:lnTo>
                  <a:lnTo>
                    <a:pt x="108953" y="99314"/>
                  </a:lnTo>
                  <a:lnTo>
                    <a:pt x="109968" y="100075"/>
                  </a:lnTo>
                  <a:lnTo>
                    <a:pt x="107558" y="100075"/>
                  </a:lnTo>
                  <a:lnTo>
                    <a:pt x="107558" y="96143"/>
                  </a:lnTo>
                  <a:lnTo>
                    <a:pt x="108573" y="96904"/>
                  </a:lnTo>
                  <a:lnTo>
                    <a:pt x="106163" y="96904"/>
                  </a:lnTo>
                  <a:lnTo>
                    <a:pt x="106163" y="89801"/>
                  </a:lnTo>
                  <a:lnTo>
                    <a:pt x="107304" y="90562"/>
                  </a:lnTo>
                  <a:lnTo>
                    <a:pt x="102104" y="90562"/>
                  </a:lnTo>
                  <a:lnTo>
                    <a:pt x="102104" y="83332"/>
                  </a:lnTo>
                  <a:lnTo>
                    <a:pt x="103246" y="84220"/>
                  </a:lnTo>
                  <a:lnTo>
                    <a:pt x="100709" y="84220"/>
                  </a:lnTo>
                  <a:lnTo>
                    <a:pt x="100709" y="80161"/>
                  </a:lnTo>
                  <a:lnTo>
                    <a:pt x="101850" y="81049"/>
                  </a:lnTo>
                  <a:lnTo>
                    <a:pt x="99440" y="81049"/>
                  </a:lnTo>
                  <a:lnTo>
                    <a:pt x="99440" y="76990"/>
                  </a:lnTo>
                  <a:lnTo>
                    <a:pt x="100455" y="77751"/>
                  </a:lnTo>
                  <a:lnTo>
                    <a:pt x="98045" y="77751"/>
                  </a:lnTo>
                  <a:lnTo>
                    <a:pt x="98045" y="73819"/>
                  </a:lnTo>
                  <a:lnTo>
                    <a:pt x="99060" y="74707"/>
                  </a:lnTo>
                  <a:lnTo>
                    <a:pt x="96650" y="74707"/>
                  </a:lnTo>
                  <a:lnTo>
                    <a:pt x="96650" y="70648"/>
                  </a:lnTo>
                  <a:lnTo>
                    <a:pt x="97792" y="71409"/>
                  </a:lnTo>
                  <a:lnTo>
                    <a:pt x="82825" y="71409"/>
                  </a:lnTo>
                  <a:lnTo>
                    <a:pt x="80415" y="71409"/>
                  </a:lnTo>
                  <a:lnTo>
                    <a:pt x="80415" y="67477"/>
                  </a:lnTo>
                  <a:lnTo>
                    <a:pt x="81556" y="68238"/>
                  </a:lnTo>
                  <a:lnTo>
                    <a:pt x="79020" y="68238"/>
                  </a:lnTo>
                  <a:lnTo>
                    <a:pt x="79020" y="64306"/>
                  </a:lnTo>
                  <a:lnTo>
                    <a:pt x="80161" y="65067"/>
                  </a:lnTo>
                  <a:lnTo>
                    <a:pt x="76229" y="65067"/>
                  </a:lnTo>
                  <a:lnTo>
                    <a:pt x="76229" y="61136"/>
                  </a:lnTo>
                  <a:lnTo>
                    <a:pt x="77371" y="61897"/>
                  </a:lnTo>
                  <a:lnTo>
                    <a:pt x="73566" y="61897"/>
                  </a:lnTo>
                  <a:lnTo>
                    <a:pt x="73566" y="57965"/>
                  </a:lnTo>
                  <a:lnTo>
                    <a:pt x="74707" y="58726"/>
                  </a:lnTo>
                  <a:lnTo>
                    <a:pt x="72170" y="58726"/>
                  </a:lnTo>
                  <a:lnTo>
                    <a:pt x="72170" y="54794"/>
                  </a:lnTo>
                  <a:lnTo>
                    <a:pt x="73312" y="55555"/>
                  </a:lnTo>
                  <a:lnTo>
                    <a:pt x="66843" y="55555"/>
                  </a:lnTo>
                  <a:lnTo>
                    <a:pt x="66843" y="51623"/>
                  </a:lnTo>
                  <a:lnTo>
                    <a:pt x="67858" y="52384"/>
                  </a:lnTo>
                  <a:lnTo>
                    <a:pt x="45027" y="52384"/>
                  </a:lnTo>
                  <a:lnTo>
                    <a:pt x="45027" y="48452"/>
                  </a:lnTo>
                  <a:lnTo>
                    <a:pt x="46169" y="49213"/>
                  </a:lnTo>
                  <a:lnTo>
                    <a:pt x="42364" y="49213"/>
                  </a:lnTo>
                  <a:lnTo>
                    <a:pt x="42364" y="45281"/>
                  </a:lnTo>
                  <a:lnTo>
                    <a:pt x="43378" y="46042"/>
                  </a:lnTo>
                  <a:lnTo>
                    <a:pt x="38178" y="46042"/>
                  </a:lnTo>
                  <a:lnTo>
                    <a:pt x="38178" y="32470"/>
                  </a:lnTo>
                  <a:lnTo>
                    <a:pt x="39320" y="33358"/>
                  </a:lnTo>
                  <a:lnTo>
                    <a:pt x="34119" y="33358"/>
                  </a:lnTo>
                  <a:lnTo>
                    <a:pt x="34119" y="29299"/>
                  </a:lnTo>
                  <a:lnTo>
                    <a:pt x="35134" y="30060"/>
                  </a:lnTo>
                  <a:lnTo>
                    <a:pt x="26002" y="30060"/>
                  </a:lnTo>
                  <a:lnTo>
                    <a:pt x="26002" y="22958"/>
                  </a:lnTo>
                  <a:lnTo>
                    <a:pt x="27016" y="23845"/>
                  </a:lnTo>
                  <a:lnTo>
                    <a:pt x="24606" y="23845"/>
                  </a:lnTo>
                  <a:lnTo>
                    <a:pt x="24606" y="19787"/>
                  </a:lnTo>
                  <a:lnTo>
                    <a:pt x="25748" y="20548"/>
                  </a:lnTo>
                  <a:lnTo>
                    <a:pt x="23211" y="20548"/>
                  </a:lnTo>
                  <a:lnTo>
                    <a:pt x="23211" y="16616"/>
                  </a:lnTo>
                  <a:lnTo>
                    <a:pt x="24353" y="17377"/>
                  </a:lnTo>
                  <a:lnTo>
                    <a:pt x="19152" y="17377"/>
                  </a:lnTo>
                  <a:lnTo>
                    <a:pt x="19152" y="13445"/>
                  </a:lnTo>
                  <a:lnTo>
                    <a:pt x="20294" y="14206"/>
                  </a:lnTo>
                  <a:lnTo>
                    <a:pt x="16489" y="14206"/>
                  </a:lnTo>
                  <a:lnTo>
                    <a:pt x="16489" y="7103"/>
                  </a:lnTo>
                  <a:lnTo>
                    <a:pt x="17630" y="7864"/>
                  </a:lnTo>
                  <a:lnTo>
                    <a:pt x="12303" y="7864"/>
                  </a:lnTo>
                  <a:lnTo>
                    <a:pt x="12303" y="3932"/>
                  </a:lnTo>
                  <a:lnTo>
                    <a:pt x="13445" y="4693"/>
                  </a:lnTo>
                  <a:lnTo>
                    <a:pt x="9766" y="4693"/>
                  </a:lnTo>
                  <a:lnTo>
                    <a:pt x="9766" y="761"/>
                  </a:lnTo>
                  <a:lnTo>
                    <a:pt x="10781" y="1522"/>
                  </a:lnTo>
                  <a:lnTo>
                    <a:pt x="9386" y="1522"/>
                  </a:lnTo>
                  <a:lnTo>
                    <a:pt x="0" y="1522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36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9" name="Freihandform: Form 338">
              <a:extLst>
                <a:ext uri="{FF2B5EF4-FFF2-40B4-BE49-F238E27FC236}">
                  <a16:creationId xmlns:a16="http://schemas.microsoft.com/office/drawing/2014/main" id="{63AA8425-F147-A190-9DF8-0436C0780C31}"/>
                </a:ext>
              </a:extLst>
            </p:cNvPr>
            <p:cNvSpPr/>
            <p:nvPr/>
          </p:nvSpPr>
          <p:spPr>
            <a:xfrm>
              <a:off x="7121284" y="1710565"/>
              <a:ext cx="3813995" cy="1718390"/>
            </a:xfrm>
            <a:custGeom>
              <a:avLst/>
              <a:gdLst>
                <a:gd name="connsiteX0" fmla="*/ 0 w 3813995"/>
                <a:gd name="connsiteY0" fmla="*/ 0 h 1718390"/>
                <a:gd name="connsiteX1" fmla="*/ 3678 w 3813995"/>
                <a:gd name="connsiteY1" fmla="*/ 0 h 1718390"/>
                <a:gd name="connsiteX2" fmla="*/ 3678 w 3813995"/>
                <a:gd name="connsiteY2" fmla="*/ 3932 h 1718390"/>
                <a:gd name="connsiteX3" fmla="*/ 2537 w 3813995"/>
                <a:gd name="connsiteY3" fmla="*/ 3171 h 1718390"/>
                <a:gd name="connsiteX4" fmla="*/ 9132 w 3813995"/>
                <a:gd name="connsiteY4" fmla="*/ 3171 h 1718390"/>
                <a:gd name="connsiteX5" fmla="*/ 9132 w 3813995"/>
                <a:gd name="connsiteY5" fmla="*/ 7103 h 1718390"/>
                <a:gd name="connsiteX6" fmla="*/ 8118 w 3813995"/>
                <a:gd name="connsiteY6" fmla="*/ 6215 h 1718390"/>
                <a:gd name="connsiteX7" fmla="*/ 11923 w 3813995"/>
                <a:gd name="connsiteY7" fmla="*/ 6215 h 1718390"/>
                <a:gd name="connsiteX8" fmla="*/ 11923 w 3813995"/>
                <a:gd name="connsiteY8" fmla="*/ 10274 h 1718390"/>
                <a:gd name="connsiteX9" fmla="*/ 10781 w 3813995"/>
                <a:gd name="connsiteY9" fmla="*/ 9513 h 1718390"/>
                <a:gd name="connsiteX10" fmla="*/ 13191 w 3813995"/>
                <a:gd name="connsiteY10" fmla="*/ 9513 h 1718390"/>
                <a:gd name="connsiteX11" fmla="*/ 13191 w 3813995"/>
                <a:gd name="connsiteY11" fmla="*/ 13445 h 1718390"/>
                <a:gd name="connsiteX12" fmla="*/ 12050 w 3813995"/>
                <a:gd name="connsiteY12" fmla="*/ 12684 h 1718390"/>
                <a:gd name="connsiteX13" fmla="*/ 15981 w 3813995"/>
                <a:gd name="connsiteY13" fmla="*/ 12684 h 1718390"/>
                <a:gd name="connsiteX14" fmla="*/ 15981 w 3813995"/>
                <a:gd name="connsiteY14" fmla="*/ 16616 h 1718390"/>
                <a:gd name="connsiteX15" fmla="*/ 14840 w 3813995"/>
                <a:gd name="connsiteY15" fmla="*/ 15855 h 1718390"/>
                <a:gd name="connsiteX16" fmla="*/ 18645 w 3813995"/>
                <a:gd name="connsiteY16" fmla="*/ 15855 h 1718390"/>
                <a:gd name="connsiteX17" fmla="*/ 18645 w 3813995"/>
                <a:gd name="connsiteY17" fmla="*/ 19787 h 1718390"/>
                <a:gd name="connsiteX18" fmla="*/ 17630 w 3813995"/>
                <a:gd name="connsiteY18" fmla="*/ 19026 h 1718390"/>
                <a:gd name="connsiteX19" fmla="*/ 21435 w 3813995"/>
                <a:gd name="connsiteY19" fmla="*/ 19026 h 1718390"/>
                <a:gd name="connsiteX20" fmla="*/ 21435 w 3813995"/>
                <a:gd name="connsiteY20" fmla="*/ 22958 h 1718390"/>
                <a:gd name="connsiteX21" fmla="*/ 20294 w 3813995"/>
                <a:gd name="connsiteY21" fmla="*/ 22197 h 1718390"/>
                <a:gd name="connsiteX22" fmla="*/ 24099 w 3813995"/>
                <a:gd name="connsiteY22" fmla="*/ 22197 h 1718390"/>
                <a:gd name="connsiteX23" fmla="*/ 24099 w 3813995"/>
                <a:gd name="connsiteY23" fmla="*/ 26128 h 1718390"/>
                <a:gd name="connsiteX24" fmla="*/ 23084 w 3813995"/>
                <a:gd name="connsiteY24" fmla="*/ 25367 h 1718390"/>
                <a:gd name="connsiteX25" fmla="*/ 25367 w 3813995"/>
                <a:gd name="connsiteY25" fmla="*/ 25367 h 1718390"/>
                <a:gd name="connsiteX26" fmla="*/ 25367 w 3813995"/>
                <a:gd name="connsiteY26" fmla="*/ 29299 h 1718390"/>
                <a:gd name="connsiteX27" fmla="*/ 24353 w 3813995"/>
                <a:gd name="connsiteY27" fmla="*/ 28538 h 1718390"/>
                <a:gd name="connsiteX28" fmla="*/ 26763 w 3813995"/>
                <a:gd name="connsiteY28" fmla="*/ 28538 h 1718390"/>
                <a:gd name="connsiteX29" fmla="*/ 26763 w 3813995"/>
                <a:gd name="connsiteY29" fmla="*/ 32470 h 1718390"/>
                <a:gd name="connsiteX30" fmla="*/ 25748 w 3813995"/>
                <a:gd name="connsiteY30" fmla="*/ 31709 h 1718390"/>
                <a:gd name="connsiteX31" fmla="*/ 28158 w 3813995"/>
                <a:gd name="connsiteY31" fmla="*/ 31709 h 1718390"/>
                <a:gd name="connsiteX32" fmla="*/ 28158 w 3813995"/>
                <a:gd name="connsiteY32" fmla="*/ 38812 h 1718390"/>
                <a:gd name="connsiteX33" fmla="*/ 27016 w 3813995"/>
                <a:gd name="connsiteY33" fmla="*/ 38051 h 1718390"/>
                <a:gd name="connsiteX34" fmla="*/ 30948 w 3813995"/>
                <a:gd name="connsiteY34" fmla="*/ 38051 h 1718390"/>
                <a:gd name="connsiteX35" fmla="*/ 30948 w 3813995"/>
                <a:gd name="connsiteY35" fmla="*/ 45154 h 1718390"/>
                <a:gd name="connsiteX36" fmla="*/ 29807 w 3813995"/>
                <a:gd name="connsiteY36" fmla="*/ 44393 h 1718390"/>
                <a:gd name="connsiteX37" fmla="*/ 32217 w 3813995"/>
                <a:gd name="connsiteY37" fmla="*/ 44393 h 1718390"/>
                <a:gd name="connsiteX38" fmla="*/ 32217 w 3813995"/>
                <a:gd name="connsiteY38" fmla="*/ 48325 h 1718390"/>
                <a:gd name="connsiteX39" fmla="*/ 31202 w 3813995"/>
                <a:gd name="connsiteY39" fmla="*/ 47564 h 1718390"/>
                <a:gd name="connsiteX40" fmla="*/ 36275 w 3813995"/>
                <a:gd name="connsiteY40" fmla="*/ 47564 h 1718390"/>
                <a:gd name="connsiteX41" fmla="*/ 36275 w 3813995"/>
                <a:gd name="connsiteY41" fmla="*/ 51496 h 1718390"/>
                <a:gd name="connsiteX42" fmla="*/ 35134 w 3813995"/>
                <a:gd name="connsiteY42" fmla="*/ 50735 h 1718390"/>
                <a:gd name="connsiteX43" fmla="*/ 39066 w 3813995"/>
                <a:gd name="connsiteY43" fmla="*/ 50735 h 1718390"/>
                <a:gd name="connsiteX44" fmla="*/ 39066 w 3813995"/>
                <a:gd name="connsiteY44" fmla="*/ 54667 h 1718390"/>
                <a:gd name="connsiteX45" fmla="*/ 37924 w 3813995"/>
                <a:gd name="connsiteY45" fmla="*/ 53906 h 1718390"/>
                <a:gd name="connsiteX46" fmla="*/ 40461 w 3813995"/>
                <a:gd name="connsiteY46" fmla="*/ 53906 h 1718390"/>
                <a:gd name="connsiteX47" fmla="*/ 40461 w 3813995"/>
                <a:gd name="connsiteY47" fmla="*/ 57838 h 1718390"/>
                <a:gd name="connsiteX48" fmla="*/ 39320 w 3813995"/>
                <a:gd name="connsiteY48" fmla="*/ 57077 h 1718390"/>
                <a:gd name="connsiteX49" fmla="*/ 41729 w 3813995"/>
                <a:gd name="connsiteY49" fmla="*/ 57077 h 1718390"/>
                <a:gd name="connsiteX50" fmla="*/ 41729 w 3813995"/>
                <a:gd name="connsiteY50" fmla="*/ 61009 h 1718390"/>
                <a:gd name="connsiteX51" fmla="*/ 40715 w 3813995"/>
                <a:gd name="connsiteY51" fmla="*/ 60248 h 1718390"/>
                <a:gd name="connsiteX52" fmla="*/ 47310 w 3813995"/>
                <a:gd name="connsiteY52" fmla="*/ 60248 h 1718390"/>
                <a:gd name="connsiteX53" fmla="*/ 47310 w 3813995"/>
                <a:gd name="connsiteY53" fmla="*/ 64180 h 1718390"/>
                <a:gd name="connsiteX54" fmla="*/ 46169 w 3813995"/>
                <a:gd name="connsiteY54" fmla="*/ 63419 h 1718390"/>
                <a:gd name="connsiteX55" fmla="*/ 48579 w 3813995"/>
                <a:gd name="connsiteY55" fmla="*/ 63419 h 1718390"/>
                <a:gd name="connsiteX56" fmla="*/ 48579 w 3813995"/>
                <a:gd name="connsiteY56" fmla="*/ 67477 h 1718390"/>
                <a:gd name="connsiteX57" fmla="*/ 47437 w 3813995"/>
                <a:gd name="connsiteY57" fmla="*/ 66590 h 1718390"/>
                <a:gd name="connsiteX58" fmla="*/ 49847 w 3813995"/>
                <a:gd name="connsiteY58" fmla="*/ 66590 h 1718390"/>
                <a:gd name="connsiteX59" fmla="*/ 49847 w 3813995"/>
                <a:gd name="connsiteY59" fmla="*/ 73692 h 1718390"/>
                <a:gd name="connsiteX60" fmla="*/ 48832 w 3813995"/>
                <a:gd name="connsiteY60" fmla="*/ 72931 h 1718390"/>
                <a:gd name="connsiteX61" fmla="*/ 56696 w 3813995"/>
                <a:gd name="connsiteY61" fmla="*/ 72931 h 1718390"/>
                <a:gd name="connsiteX62" fmla="*/ 56696 w 3813995"/>
                <a:gd name="connsiteY62" fmla="*/ 76990 h 1718390"/>
                <a:gd name="connsiteX63" fmla="*/ 55682 w 3813995"/>
                <a:gd name="connsiteY63" fmla="*/ 76102 h 1718390"/>
                <a:gd name="connsiteX64" fmla="*/ 62150 w 3813995"/>
                <a:gd name="connsiteY64" fmla="*/ 76102 h 1718390"/>
                <a:gd name="connsiteX65" fmla="*/ 62150 w 3813995"/>
                <a:gd name="connsiteY65" fmla="*/ 80034 h 1718390"/>
                <a:gd name="connsiteX66" fmla="*/ 61009 w 3813995"/>
                <a:gd name="connsiteY66" fmla="*/ 79273 h 1718390"/>
                <a:gd name="connsiteX67" fmla="*/ 63545 w 3813995"/>
                <a:gd name="connsiteY67" fmla="*/ 79273 h 1718390"/>
                <a:gd name="connsiteX68" fmla="*/ 63545 w 3813995"/>
                <a:gd name="connsiteY68" fmla="*/ 83205 h 1718390"/>
                <a:gd name="connsiteX69" fmla="*/ 62404 w 3813995"/>
                <a:gd name="connsiteY69" fmla="*/ 82444 h 1718390"/>
                <a:gd name="connsiteX70" fmla="*/ 64814 w 3813995"/>
                <a:gd name="connsiteY70" fmla="*/ 82444 h 1718390"/>
                <a:gd name="connsiteX71" fmla="*/ 64814 w 3813995"/>
                <a:gd name="connsiteY71" fmla="*/ 86503 h 1718390"/>
                <a:gd name="connsiteX72" fmla="*/ 63799 w 3813995"/>
                <a:gd name="connsiteY72" fmla="*/ 85615 h 1718390"/>
                <a:gd name="connsiteX73" fmla="*/ 67604 w 3813995"/>
                <a:gd name="connsiteY73" fmla="*/ 85615 h 1718390"/>
                <a:gd name="connsiteX74" fmla="*/ 67604 w 3813995"/>
                <a:gd name="connsiteY74" fmla="*/ 89547 h 1718390"/>
                <a:gd name="connsiteX75" fmla="*/ 66463 w 3813995"/>
                <a:gd name="connsiteY75" fmla="*/ 88786 h 1718390"/>
                <a:gd name="connsiteX76" fmla="*/ 71663 w 3813995"/>
                <a:gd name="connsiteY76" fmla="*/ 88786 h 1718390"/>
                <a:gd name="connsiteX77" fmla="*/ 71663 w 3813995"/>
                <a:gd name="connsiteY77" fmla="*/ 92718 h 1718390"/>
                <a:gd name="connsiteX78" fmla="*/ 70522 w 3813995"/>
                <a:gd name="connsiteY78" fmla="*/ 91957 h 1718390"/>
                <a:gd name="connsiteX79" fmla="*/ 73058 w 3813995"/>
                <a:gd name="connsiteY79" fmla="*/ 91957 h 1718390"/>
                <a:gd name="connsiteX80" fmla="*/ 73058 w 3813995"/>
                <a:gd name="connsiteY80" fmla="*/ 96016 h 1718390"/>
                <a:gd name="connsiteX81" fmla="*/ 71917 w 3813995"/>
                <a:gd name="connsiteY81" fmla="*/ 95128 h 1718390"/>
                <a:gd name="connsiteX82" fmla="*/ 74327 w 3813995"/>
                <a:gd name="connsiteY82" fmla="*/ 95128 h 1718390"/>
                <a:gd name="connsiteX83" fmla="*/ 74327 w 3813995"/>
                <a:gd name="connsiteY83" fmla="*/ 102358 h 1718390"/>
                <a:gd name="connsiteX84" fmla="*/ 73312 w 3813995"/>
                <a:gd name="connsiteY84" fmla="*/ 101597 h 1718390"/>
                <a:gd name="connsiteX85" fmla="*/ 77117 w 3813995"/>
                <a:gd name="connsiteY85" fmla="*/ 101597 h 1718390"/>
                <a:gd name="connsiteX86" fmla="*/ 77117 w 3813995"/>
                <a:gd name="connsiteY86" fmla="*/ 105529 h 1718390"/>
                <a:gd name="connsiteX87" fmla="*/ 75976 w 3813995"/>
                <a:gd name="connsiteY87" fmla="*/ 104641 h 1718390"/>
                <a:gd name="connsiteX88" fmla="*/ 79907 w 3813995"/>
                <a:gd name="connsiteY88" fmla="*/ 104641 h 1718390"/>
                <a:gd name="connsiteX89" fmla="*/ 79907 w 3813995"/>
                <a:gd name="connsiteY89" fmla="*/ 108699 h 1718390"/>
                <a:gd name="connsiteX90" fmla="*/ 78766 w 3813995"/>
                <a:gd name="connsiteY90" fmla="*/ 107812 h 1718390"/>
                <a:gd name="connsiteX91" fmla="*/ 83839 w 3813995"/>
                <a:gd name="connsiteY91" fmla="*/ 107812 h 1718390"/>
                <a:gd name="connsiteX92" fmla="*/ 83839 w 3813995"/>
                <a:gd name="connsiteY92" fmla="*/ 111870 h 1718390"/>
                <a:gd name="connsiteX93" fmla="*/ 82825 w 3813995"/>
                <a:gd name="connsiteY93" fmla="*/ 111109 h 1718390"/>
                <a:gd name="connsiteX94" fmla="*/ 85235 w 3813995"/>
                <a:gd name="connsiteY94" fmla="*/ 111109 h 1718390"/>
                <a:gd name="connsiteX95" fmla="*/ 85235 w 3813995"/>
                <a:gd name="connsiteY95" fmla="*/ 115041 h 1718390"/>
                <a:gd name="connsiteX96" fmla="*/ 84093 w 3813995"/>
                <a:gd name="connsiteY96" fmla="*/ 114153 h 1718390"/>
                <a:gd name="connsiteX97" fmla="*/ 88025 w 3813995"/>
                <a:gd name="connsiteY97" fmla="*/ 114153 h 1718390"/>
                <a:gd name="connsiteX98" fmla="*/ 88025 w 3813995"/>
                <a:gd name="connsiteY98" fmla="*/ 118212 h 1718390"/>
                <a:gd name="connsiteX99" fmla="*/ 86883 w 3813995"/>
                <a:gd name="connsiteY99" fmla="*/ 117324 h 1718390"/>
                <a:gd name="connsiteX100" fmla="*/ 89293 w 3813995"/>
                <a:gd name="connsiteY100" fmla="*/ 117324 h 1718390"/>
                <a:gd name="connsiteX101" fmla="*/ 89293 w 3813995"/>
                <a:gd name="connsiteY101" fmla="*/ 124554 h 1718390"/>
                <a:gd name="connsiteX102" fmla="*/ 88279 w 3813995"/>
                <a:gd name="connsiteY102" fmla="*/ 123793 h 1718390"/>
                <a:gd name="connsiteX103" fmla="*/ 90689 w 3813995"/>
                <a:gd name="connsiteY103" fmla="*/ 123793 h 1718390"/>
                <a:gd name="connsiteX104" fmla="*/ 90689 w 3813995"/>
                <a:gd name="connsiteY104" fmla="*/ 134067 h 1718390"/>
                <a:gd name="connsiteX105" fmla="*/ 89674 w 3813995"/>
                <a:gd name="connsiteY105" fmla="*/ 133306 h 1718390"/>
                <a:gd name="connsiteX106" fmla="*/ 96143 w 3813995"/>
                <a:gd name="connsiteY106" fmla="*/ 133306 h 1718390"/>
                <a:gd name="connsiteX107" fmla="*/ 96143 w 3813995"/>
                <a:gd name="connsiteY107" fmla="*/ 143580 h 1718390"/>
                <a:gd name="connsiteX108" fmla="*/ 95001 w 3813995"/>
                <a:gd name="connsiteY108" fmla="*/ 142819 h 1718390"/>
                <a:gd name="connsiteX109" fmla="*/ 98806 w 3813995"/>
                <a:gd name="connsiteY109" fmla="*/ 142819 h 1718390"/>
                <a:gd name="connsiteX110" fmla="*/ 98806 w 3813995"/>
                <a:gd name="connsiteY110" fmla="*/ 149922 h 1718390"/>
                <a:gd name="connsiteX111" fmla="*/ 97792 w 3813995"/>
                <a:gd name="connsiteY111" fmla="*/ 149161 h 1718390"/>
                <a:gd name="connsiteX112" fmla="*/ 99060 w 3813995"/>
                <a:gd name="connsiteY112" fmla="*/ 149161 h 1718390"/>
                <a:gd name="connsiteX113" fmla="*/ 105655 w 3813995"/>
                <a:gd name="connsiteY113" fmla="*/ 149161 h 1718390"/>
                <a:gd name="connsiteX114" fmla="*/ 105655 w 3813995"/>
                <a:gd name="connsiteY114" fmla="*/ 153093 h 1718390"/>
                <a:gd name="connsiteX115" fmla="*/ 104641 w 3813995"/>
                <a:gd name="connsiteY115" fmla="*/ 152331 h 1718390"/>
                <a:gd name="connsiteX116" fmla="*/ 106924 w 3813995"/>
                <a:gd name="connsiteY116" fmla="*/ 152331 h 1718390"/>
                <a:gd name="connsiteX117" fmla="*/ 106924 w 3813995"/>
                <a:gd name="connsiteY117" fmla="*/ 156390 h 1718390"/>
                <a:gd name="connsiteX118" fmla="*/ 105909 w 3813995"/>
                <a:gd name="connsiteY118" fmla="*/ 155502 h 1718390"/>
                <a:gd name="connsiteX119" fmla="*/ 108319 w 3813995"/>
                <a:gd name="connsiteY119" fmla="*/ 155502 h 1718390"/>
                <a:gd name="connsiteX120" fmla="*/ 108319 w 3813995"/>
                <a:gd name="connsiteY120" fmla="*/ 162732 h 1718390"/>
                <a:gd name="connsiteX121" fmla="*/ 107304 w 3813995"/>
                <a:gd name="connsiteY121" fmla="*/ 161971 h 1718390"/>
                <a:gd name="connsiteX122" fmla="*/ 111109 w 3813995"/>
                <a:gd name="connsiteY122" fmla="*/ 161971 h 1718390"/>
                <a:gd name="connsiteX123" fmla="*/ 111109 w 3813995"/>
                <a:gd name="connsiteY123" fmla="*/ 165903 h 1718390"/>
                <a:gd name="connsiteX124" fmla="*/ 109968 w 3813995"/>
                <a:gd name="connsiteY124" fmla="*/ 165142 h 1718390"/>
                <a:gd name="connsiteX125" fmla="*/ 112505 w 3813995"/>
                <a:gd name="connsiteY125" fmla="*/ 165142 h 1718390"/>
                <a:gd name="connsiteX126" fmla="*/ 112505 w 3813995"/>
                <a:gd name="connsiteY126" fmla="*/ 169074 h 1718390"/>
                <a:gd name="connsiteX127" fmla="*/ 111363 w 3813995"/>
                <a:gd name="connsiteY127" fmla="*/ 168313 h 1718390"/>
                <a:gd name="connsiteX128" fmla="*/ 113773 w 3813995"/>
                <a:gd name="connsiteY128" fmla="*/ 168313 h 1718390"/>
                <a:gd name="connsiteX129" fmla="*/ 113773 w 3813995"/>
                <a:gd name="connsiteY129" fmla="*/ 172245 h 1718390"/>
                <a:gd name="connsiteX130" fmla="*/ 112758 w 3813995"/>
                <a:gd name="connsiteY130" fmla="*/ 171484 h 1718390"/>
                <a:gd name="connsiteX131" fmla="*/ 115168 w 3813995"/>
                <a:gd name="connsiteY131" fmla="*/ 171484 h 1718390"/>
                <a:gd name="connsiteX132" fmla="*/ 115168 w 3813995"/>
                <a:gd name="connsiteY132" fmla="*/ 178714 h 1718390"/>
                <a:gd name="connsiteX133" fmla="*/ 114154 w 3813995"/>
                <a:gd name="connsiteY133" fmla="*/ 177826 h 1718390"/>
                <a:gd name="connsiteX134" fmla="*/ 116563 w 3813995"/>
                <a:gd name="connsiteY134" fmla="*/ 177826 h 1718390"/>
                <a:gd name="connsiteX135" fmla="*/ 116563 w 3813995"/>
                <a:gd name="connsiteY135" fmla="*/ 181758 h 1718390"/>
                <a:gd name="connsiteX136" fmla="*/ 115422 w 3813995"/>
                <a:gd name="connsiteY136" fmla="*/ 180997 h 1718390"/>
                <a:gd name="connsiteX137" fmla="*/ 117959 w 3813995"/>
                <a:gd name="connsiteY137" fmla="*/ 180997 h 1718390"/>
                <a:gd name="connsiteX138" fmla="*/ 117959 w 3813995"/>
                <a:gd name="connsiteY138" fmla="*/ 185055 h 1718390"/>
                <a:gd name="connsiteX139" fmla="*/ 116817 w 3813995"/>
                <a:gd name="connsiteY139" fmla="*/ 184294 h 1718390"/>
                <a:gd name="connsiteX140" fmla="*/ 119227 w 3813995"/>
                <a:gd name="connsiteY140" fmla="*/ 184294 h 1718390"/>
                <a:gd name="connsiteX141" fmla="*/ 119227 w 3813995"/>
                <a:gd name="connsiteY141" fmla="*/ 188226 h 1718390"/>
                <a:gd name="connsiteX142" fmla="*/ 118085 w 3813995"/>
                <a:gd name="connsiteY142" fmla="*/ 187339 h 1718390"/>
                <a:gd name="connsiteX143" fmla="*/ 120622 w 3813995"/>
                <a:gd name="connsiteY143" fmla="*/ 187339 h 1718390"/>
                <a:gd name="connsiteX144" fmla="*/ 120622 w 3813995"/>
                <a:gd name="connsiteY144" fmla="*/ 191397 h 1718390"/>
                <a:gd name="connsiteX145" fmla="*/ 119481 w 3813995"/>
                <a:gd name="connsiteY145" fmla="*/ 190636 h 1718390"/>
                <a:gd name="connsiteX146" fmla="*/ 123286 w 3813995"/>
                <a:gd name="connsiteY146" fmla="*/ 190636 h 1718390"/>
                <a:gd name="connsiteX147" fmla="*/ 123286 w 3813995"/>
                <a:gd name="connsiteY147" fmla="*/ 201037 h 1718390"/>
                <a:gd name="connsiteX148" fmla="*/ 122271 w 3813995"/>
                <a:gd name="connsiteY148" fmla="*/ 200149 h 1718390"/>
                <a:gd name="connsiteX149" fmla="*/ 124681 w 3813995"/>
                <a:gd name="connsiteY149" fmla="*/ 200149 h 1718390"/>
                <a:gd name="connsiteX150" fmla="*/ 124681 w 3813995"/>
                <a:gd name="connsiteY150" fmla="*/ 204081 h 1718390"/>
                <a:gd name="connsiteX151" fmla="*/ 123539 w 3813995"/>
                <a:gd name="connsiteY151" fmla="*/ 203320 h 1718390"/>
                <a:gd name="connsiteX152" fmla="*/ 127471 w 3813995"/>
                <a:gd name="connsiteY152" fmla="*/ 203320 h 1718390"/>
                <a:gd name="connsiteX153" fmla="*/ 127471 w 3813995"/>
                <a:gd name="connsiteY153" fmla="*/ 210550 h 1718390"/>
                <a:gd name="connsiteX154" fmla="*/ 126330 w 3813995"/>
                <a:gd name="connsiteY154" fmla="*/ 209789 h 1718390"/>
                <a:gd name="connsiteX155" fmla="*/ 130135 w 3813995"/>
                <a:gd name="connsiteY155" fmla="*/ 209789 h 1718390"/>
                <a:gd name="connsiteX156" fmla="*/ 130135 w 3813995"/>
                <a:gd name="connsiteY156" fmla="*/ 213721 h 1718390"/>
                <a:gd name="connsiteX157" fmla="*/ 128993 w 3813995"/>
                <a:gd name="connsiteY157" fmla="*/ 212960 h 1718390"/>
                <a:gd name="connsiteX158" fmla="*/ 131403 w 3813995"/>
                <a:gd name="connsiteY158" fmla="*/ 212960 h 1718390"/>
                <a:gd name="connsiteX159" fmla="*/ 131403 w 3813995"/>
                <a:gd name="connsiteY159" fmla="*/ 216892 h 1718390"/>
                <a:gd name="connsiteX160" fmla="*/ 130389 w 3813995"/>
                <a:gd name="connsiteY160" fmla="*/ 216131 h 1718390"/>
                <a:gd name="connsiteX161" fmla="*/ 132799 w 3813995"/>
                <a:gd name="connsiteY161" fmla="*/ 216131 h 1718390"/>
                <a:gd name="connsiteX162" fmla="*/ 132799 w 3813995"/>
                <a:gd name="connsiteY162" fmla="*/ 220189 h 1718390"/>
                <a:gd name="connsiteX163" fmla="*/ 131784 w 3813995"/>
                <a:gd name="connsiteY163" fmla="*/ 219302 h 1718390"/>
                <a:gd name="connsiteX164" fmla="*/ 134194 w 3813995"/>
                <a:gd name="connsiteY164" fmla="*/ 219302 h 1718390"/>
                <a:gd name="connsiteX165" fmla="*/ 134194 w 3813995"/>
                <a:gd name="connsiteY165" fmla="*/ 223233 h 1718390"/>
                <a:gd name="connsiteX166" fmla="*/ 133052 w 3813995"/>
                <a:gd name="connsiteY166" fmla="*/ 222472 h 1718390"/>
                <a:gd name="connsiteX167" fmla="*/ 135589 w 3813995"/>
                <a:gd name="connsiteY167" fmla="*/ 222472 h 1718390"/>
                <a:gd name="connsiteX168" fmla="*/ 135589 w 3813995"/>
                <a:gd name="connsiteY168" fmla="*/ 226531 h 1718390"/>
                <a:gd name="connsiteX169" fmla="*/ 134447 w 3813995"/>
                <a:gd name="connsiteY169" fmla="*/ 225770 h 1718390"/>
                <a:gd name="connsiteX170" fmla="*/ 139648 w 3813995"/>
                <a:gd name="connsiteY170" fmla="*/ 225770 h 1718390"/>
                <a:gd name="connsiteX171" fmla="*/ 139648 w 3813995"/>
                <a:gd name="connsiteY171" fmla="*/ 229702 h 1718390"/>
                <a:gd name="connsiteX172" fmla="*/ 138633 w 3813995"/>
                <a:gd name="connsiteY172" fmla="*/ 228941 h 1718390"/>
                <a:gd name="connsiteX173" fmla="*/ 142311 w 3813995"/>
                <a:gd name="connsiteY173" fmla="*/ 228941 h 1718390"/>
                <a:gd name="connsiteX174" fmla="*/ 142311 w 3813995"/>
                <a:gd name="connsiteY174" fmla="*/ 239342 h 1718390"/>
                <a:gd name="connsiteX175" fmla="*/ 141170 w 3813995"/>
                <a:gd name="connsiteY175" fmla="*/ 238454 h 1718390"/>
                <a:gd name="connsiteX176" fmla="*/ 146370 w 3813995"/>
                <a:gd name="connsiteY176" fmla="*/ 238454 h 1718390"/>
                <a:gd name="connsiteX177" fmla="*/ 146370 w 3813995"/>
                <a:gd name="connsiteY177" fmla="*/ 245684 h 1718390"/>
                <a:gd name="connsiteX178" fmla="*/ 145355 w 3813995"/>
                <a:gd name="connsiteY178" fmla="*/ 244923 h 1718390"/>
                <a:gd name="connsiteX179" fmla="*/ 149161 w 3813995"/>
                <a:gd name="connsiteY179" fmla="*/ 244923 h 1718390"/>
                <a:gd name="connsiteX180" fmla="*/ 149161 w 3813995"/>
                <a:gd name="connsiteY180" fmla="*/ 248855 h 1718390"/>
                <a:gd name="connsiteX181" fmla="*/ 148019 w 3813995"/>
                <a:gd name="connsiteY181" fmla="*/ 248094 h 1718390"/>
                <a:gd name="connsiteX182" fmla="*/ 150556 w 3813995"/>
                <a:gd name="connsiteY182" fmla="*/ 248094 h 1718390"/>
                <a:gd name="connsiteX183" fmla="*/ 150556 w 3813995"/>
                <a:gd name="connsiteY183" fmla="*/ 252152 h 1718390"/>
                <a:gd name="connsiteX184" fmla="*/ 149414 w 3813995"/>
                <a:gd name="connsiteY184" fmla="*/ 251265 h 1718390"/>
                <a:gd name="connsiteX185" fmla="*/ 151951 w 3813995"/>
                <a:gd name="connsiteY185" fmla="*/ 251265 h 1718390"/>
                <a:gd name="connsiteX186" fmla="*/ 151951 w 3813995"/>
                <a:gd name="connsiteY186" fmla="*/ 255196 h 1718390"/>
                <a:gd name="connsiteX187" fmla="*/ 150809 w 3813995"/>
                <a:gd name="connsiteY187" fmla="*/ 254435 h 1718390"/>
                <a:gd name="connsiteX188" fmla="*/ 153219 w 3813995"/>
                <a:gd name="connsiteY188" fmla="*/ 254435 h 1718390"/>
                <a:gd name="connsiteX189" fmla="*/ 153219 w 3813995"/>
                <a:gd name="connsiteY189" fmla="*/ 258494 h 1718390"/>
                <a:gd name="connsiteX190" fmla="*/ 152205 w 3813995"/>
                <a:gd name="connsiteY190" fmla="*/ 257733 h 1718390"/>
                <a:gd name="connsiteX191" fmla="*/ 155883 w 3813995"/>
                <a:gd name="connsiteY191" fmla="*/ 257733 h 1718390"/>
                <a:gd name="connsiteX192" fmla="*/ 155883 w 3813995"/>
                <a:gd name="connsiteY192" fmla="*/ 261665 h 1718390"/>
                <a:gd name="connsiteX193" fmla="*/ 154868 w 3813995"/>
                <a:gd name="connsiteY193" fmla="*/ 260904 h 1718390"/>
                <a:gd name="connsiteX194" fmla="*/ 157278 w 3813995"/>
                <a:gd name="connsiteY194" fmla="*/ 260904 h 1718390"/>
                <a:gd name="connsiteX195" fmla="*/ 157278 w 3813995"/>
                <a:gd name="connsiteY195" fmla="*/ 264836 h 1718390"/>
                <a:gd name="connsiteX196" fmla="*/ 156137 w 3813995"/>
                <a:gd name="connsiteY196" fmla="*/ 264075 h 1718390"/>
                <a:gd name="connsiteX197" fmla="*/ 162732 w 3813995"/>
                <a:gd name="connsiteY197" fmla="*/ 264075 h 1718390"/>
                <a:gd name="connsiteX198" fmla="*/ 162732 w 3813995"/>
                <a:gd name="connsiteY198" fmla="*/ 268007 h 1718390"/>
                <a:gd name="connsiteX199" fmla="*/ 161717 w 3813995"/>
                <a:gd name="connsiteY199" fmla="*/ 267246 h 1718390"/>
                <a:gd name="connsiteX200" fmla="*/ 169581 w 3813995"/>
                <a:gd name="connsiteY200" fmla="*/ 267246 h 1718390"/>
                <a:gd name="connsiteX201" fmla="*/ 169581 w 3813995"/>
                <a:gd name="connsiteY201" fmla="*/ 274476 h 1718390"/>
                <a:gd name="connsiteX202" fmla="*/ 168440 w 3813995"/>
                <a:gd name="connsiteY202" fmla="*/ 273715 h 1718390"/>
                <a:gd name="connsiteX203" fmla="*/ 170850 w 3813995"/>
                <a:gd name="connsiteY203" fmla="*/ 273715 h 1718390"/>
                <a:gd name="connsiteX204" fmla="*/ 170850 w 3813995"/>
                <a:gd name="connsiteY204" fmla="*/ 280818 h 1718390"/>
                <a:gd name="connsiteX205" fmla="*/ 169835 w 3813995"/>
                <a:gd name="connsiteY205" fmla="*/ 280057 h 1718390"/>
                <a:gd name="connsiteX206" fmla="*/ 172245 w 3813995"/>
                <a:gd name="connsiteY206" fmla="*/ 280057 h 1718390"/>
                <a:gd name="connsiteX207" fmla="*/ 172245 w 3813995"/>
                <a:gd name="connsiteY207" fmla="*/ 287159 h 1718390"/>
                <a:gd name="connsiteX208" fmla="*/ 171230 w 3813995"/>
                <a:gd name="connsiteY208" fmla="*/ 286398 h 1718390"/>
                <a:gd name="connsiteX209" fmla="*/ 173640 w 3813995"/>
                <a:gd name="connsiteY209" fmla="*/ 286398 h 1718390"/>
                <a:gd name="connsiteX210" fmla="*/ 173640 w 3813995"/>
                <a:gd name="connsiteY210" fmla="*/ 290457 h 1718390"/>
                <a:gd name="connsiteX211" fmla="*/ 172499 w 3813995"/>
                <a:gd name="connsiteY211" fmla="*/ 289696 h 1718390"/>
                <a:gd name="connsiteX212" fmla="*/ 175035 w 3813995"/>
                <a:gd name="connsiteY212" fmla="*/ 289696 h 1718390"/>
                <a:gd name="connsiteX213" fmla="*/ 175035 w 3813995"/>
                <a:gd name="connsiteY213" fmla="*/ 296799 h 1718390"/>
                <a:gd name="connsiteX214" fmla="*/ 173894 w 3813995"/>
                <a:gd name="connsiteY214" fmla="*/ 296038 h 1718390"/>
                <a:gd name="connsiteX215" fmla="*/ 176431 w 3813995"/>
                <a:gd name="connsiteY215" fmla="*/ 296038 h 1718390"/>
                <a:gd name="connsiteX216" fmla="*/ 176431 w 3813995"/>
                <a:gd name="connsiteY216" fmla="*/ 299970 h 1718390"/>
                <a:gd name="connsiteX217" fmla="*/ 175289 w 3813995"/>
                <a:gd name="connsiteY217" fmla="*/ 299209 h 1718390"/>
                <a:gd name="connsiteX218" fmla="*/ 179094 w 3813995"/>
                <a:gd name="connsiteY218" fmla="*/ 299209 h 1718390"/>
                <a:gd name="connsiteX219" fmla="*/ 179094 w 3813995"/>
                <a:gd name="connsiteY219" fmla="*/ 303268 h 1718390"/>
                <a:gd name="connsiteX220" fmla="*/ 177953 w 3813995"/>
                <a:gd name="connsiteY220" fmla="*/ 302380 h 1718390"/>
                <a:gd name="connsiteX221" fmla="*/ 180363 w 3813995"/>
                <a:gd name="connsiteY221" fmla="*/ 302380 h 1718390"/>
                <a:gd name="connsiteX222" fmla="*/ 180363 w 3813995"/>
                <a:gd name="connsiteY222" fmla="*/ 309610 h 1718390"/>
                <a:gd name="connsiteX223" fmla="*/ 179348 w 3813995"/>
                <a:gd name="connsiteY223" fmla="*/ 308849 h 1718390"/>
                <a:gd name="connsiteX224" fmla="*/ 181758 w 3813995"/>
                <a:gd name="connsiteY224" fmla="*/ 308849 h 1718390"/>
                <a:gd name="connsiteX225" fmla="*/ 181758 w 3813995"/>
                <a:gd name="connsiteY225" fmla="*/ 315952 h 1718390"/>
                <a:gd name="connsiteX226" fmla="*/ 180616 w 3813995"/>
                <a:gd name="connsiteY226" fmla="*/ 315190 h 1718390"/>
                <a:gd name="connsiteX227" fmla="*/ 183153 w 3813995"/>
                <a:gd name="connsiteY227" fmla="*/ 315190 h 1718390"/>
                <a:gd name="connsiteX228" fmla="*/ 183153 w 3813995"/>
                <a:gd name="connsiteY228" fmla="*/ 322420 h 1718390"/>
                <a:gd name="connsiteX229" fmla="*/ 182011 w 3813995"/>
                <a:gd name="connsiteY229" fmla="*/ 321532 h 1718390"/>
                <a:gd name="connsiteX230" fmla="*/ 184548 w 3813995"/>
                <a:gd name="connsiteY230" fmla="*/ 321532 h 1718390"/>
                <a:gd name="connsiteX231" fmla="*/ 184548 w 3813995"/>
                <a:gd name="connsiteY231" fmla="*/ 325591 h 1718390"/>
                <a:gd name="connsiteX232" fmla="*/ 183407 w 3813995"/>
                <a:gd name="connsiteY232" fmla="*/ 324830 h 1718390"/>
                <a:gd name="connsiteX233" fmla="*/ 187212 w 3813995"/>
                <a:gd name="connsiteY233" fmla="*/ 324830 h 1718390"/>
                <a:gd name="connsiteX234" fmla="*/ 187212 w 3813995"/>
                <a:gd name="connsiteY234" fmla="*/ 328762 h 1718390"/>
                <a:gd name="connsiteX235" fmla="*/ 186197 w 3813995"/>
                <a:gd name="connsiteY235" fmla="*/ 328001 h 1718390"/>
                <a:gd name="connsiteX236" fmla="*/ 188480 w 3813995"/>
                <a:gd name="connsiteY236" fmla="*/ 328001 h 1718390"/>
                <a:gd name="connsiteX237" fmla="*/ 188480 w 3813995"/>
                <a:gd name="connsiteY237" fmla="*/ 335231 h 1718390"/>
                <a:gd name="connsiteX238" fmla="*/ 187465 w 3813995"/>
                <a:gd name="connsiteY238" fmla="*/ 334343 h 1718390"/>
                <a:gd name="connsiteX239" fmla="*/ 189875 w 3813995"/>
                <a:gd name="connsiteY239" fmla="*/ 334343 h 1718390"/>
                <a:gd name="connsiteX240" fmla="*/ 189875 w 3813995"/>
                <a:gd name="connsiteY240" fmla="*/ 338402 h 1718390"/>
                <a:gd name="connsiteX241" fmla="*/ 188861 w 3813995"/>
                <a:gd name="connsiteY241" fmla="*/ 337641 h 1718390"/>
                <a:gd name="connsiteX242" fmla="*/ 191271 w 3813995"/>
                <a:gd name="connsiteY242" fmla="*/ 337641 h 1718390"/>
                <a:gd name="connsiteX243" fmla="*/ 191271 w 3813995"/>
                <a:gd name="connsiteY243" fmla="*/ 341573 h 1718390"/>
                <a:gd name="connsiteX244" fmla="*/ 190129 w 3813995"/>
                <a:gd name="connsiteY244" fmla="*/ 340812 h 1718390"/>
                <a:gd name="connsiteX245" fmla="*/ 194061 w 3813995"/>
                <a:gd name="connsiteY245" fmla="*/ 340812 h 1718390"/>
                <a:gd name="connsiteX246" fmla="*/ 194061 w 3813995"/>
                <a:gd name="connsiteY246" fmla="*/ 351085 h 1718390"/>
                <a:gd name="connsiteX247" fmla="*/ 192919 w 3813995"/>
                <a:gd name="connsiteY247" fmla="*/ 350324 h 1718390"/>
                <a:gd name="connsiteX248" fmla="*/ 195329 w 3813995"/>
                <a:gd name="connsiteY248" fmla="*/ 350324 h 1718390"/>
                <a:gd name="connsiteX249" fmla="*/ 195329 w 3813995"/>
                <a:gd name="connsiteY249" fmla="*/ 354383 h 1718390"/>
                <a:gd name="connsiteX250" fmla="*/ 194315 w 3813995"/>
                <a:gd name="connsiteY250" fmla="*/ 353495 h 1718390"/>
                <a:gd name="connsiteX251" fmla="*/ 198120 w 3813995"/>
                <a:gd name="connsiteY251" fmla="*/ 353495 h 1718390"/>
                <a:gd name="connsiteX252" fmla="*/ 198120 w 3813995"/>
                <a:gd name="connsiteY252" fmla="*/ 360725 h 1718390"/>
                <a:gd name="connsiteX253" fmla="*/ 196978 w 3813995"/>
                <a:gd name="connsiteY253" fmla="*/ 359964 h 1718390"/>
                <a:gd name="connsiteX254" fmla="*/ 199515 w 3813995"/>
                <a:gd name="connsiteY254" fmla="*/ 359964 h 1718390"/>
                <a:gd name="connsiteX255" fmla="*/ 199515 w 3813995"/>
                <a:gd name="connsiteY255" fmla="*/ 363896 h 1718390"/>
                <a:gd name="connsiteX256" fmla="*/ 198373 w 3813995"/>
                <a:gd name="connsiteY256" fmla="*/ 363135 h 1718390"/>
                <a:gd name="connsiteX257" fmla="*/ 202179 w 3813995"/>
                <a:gd name="connsiteY257" fmla="*/ 363135 h 1718390"/>
                <a:gd name="connsiteX258" fmla="*/ 202179 w 3813995"/>
                <a:gd name="connsiteY258" fmla="*/ 373536 h 1718390"/>
                <a:gd name="connsiteX259" fmla="*/ 201037 w 3813995"/>
                <a:gd name="connsiteY259" fmla="*/ 372775 h 1718390"/>
                <a:gd name="connsiteX260" fmla="*/ 204842 w 3813995"/>
                <a:gd name="connsiteY260" fmla="*/ 372775 h 1718390"/>
                <a:gd name="connsiteX261" fmla="*/ 204842 w 3813995"/>
                <a:gd name="connsiteY261" fmla="*/ 379877 h 1718390"/>
                <a:gd name="connsiteX262" fmla="*/ 203827 w 3813995"/>
                <a:gd name="connsiteY262" fmla="*/ 379116 h 1718390"/>
                <a:gd name="connsiteX263" fmla="*/ 206237 w 3813995"/>
                <a:gd name="connsiteY263" fmla="*/ 379116 h 1718390"/>
                <a:gd name="connsiteX264" fmla="*/ 206237 w 3813995"/>
                <a:gd name="connsiteY264" fmla="*/ 389517 h 1718390"/>
                <a:gd name="connsiteX265" fmla="*/ 205096 w 3813995"/>
                <a:gd name="connsiteY265" fmla="*/ 388756 h 1718390"/>
                <a:gd name="connsiteX266" fmla="*/ 207633 w 3813995"/>
                <a:gd name="connsiteY266" fmla="*/ 388756 h 1718390"/>
                <a:gd name="connsiteX267" fmla="*/ 207633 w 3813995"/>
                <a:gd name="connsiteY267" fmla="*/ 392688 h 1718390"/>
                <a:gd name="connsiteX268" fmla="*/ 206491 w 3813995"/>
                <a:gd name="connsiteY268" fmla="*/ 391927 h 1718390"/>
                <a:gd name="connsiteX269" fmla="*/ 209028 w 3813995"/>
                <a:gd name="connsiteY269" fmla="*/ 391927 h 1718390"/>
                <a:gd name="connsiteX270" fmla="*/ 209028 w 3813995"/>
                <a:gd name="connsiteY270" fmla="*/ 395986 h 1718390"/>
                <a:gd name="connsiteX271" fmla="*/ 207886 w 3813995"/>
                <a:gd name="connsiteY271" fmla="*/ 395098 h 1718390"/>
                <a:gd name="connsiteX272" fmla="*/ 210296 w 3813995"/>
                <a:gd name="connsiteY272" fmla="*/ 395098 h 1718390"/>
                <a:gd name="connsiteX273" fmla="*/ 210296 w 3813995"/>
                <a:gd name="connsiteY273" fmla="*/ 399157 h 1718390"/>
                <a:gd name="connsiteX274" fmla="*/ 209281 w 3813995"/>
                <a:gd name="connsiteY274" fmla="*/ 398396 h 1718390"/>
                <a:gd name="connsiteX275" fmla="*/ 211691 w 3813995"/>
                <a:gd name="connsiteY275" fmla="*/ 398396 h 1718390"/>
                <a:gd name="connsiteX276" fmla="*/ 211691 w 3813995"/>
                <a:gd name="connsiteY276" fmla="*/ 402328 h 1718390"/>
                <a:gd name="connsiteX277" fmla="*/ 210677 w 3813995"/>
                <a:gd name="connsiteY277" fmla="*/ 401567 h 1718390"/>
                <a:gd name="connsiteX278" fmla="*/ 214355 w 3813995"/>
                <a:gd name="connsiteY278" fmla="*/ 401567 h 1718390"/>
                <a:gd name="connsiteX279" fmla="*/ 214355 w 3813995"/>
                <a:gd name="connsiteY279" fmla="*/ 405499 h 1718390"/>
                <a:gd name="connsiteX280" fmla="*/ 213340 w 3813995"/>
                <a:gd name="connsiteY280" fmla="*/ 404738 h 1718390"/>
                <a:gd name="connsiteX281" fmla="*/ 215750 w 3813995"/>
                <a:gd name="connsiteY281" fmla="*/ 404738 h 1718390"/>
                <a:gd name="connsiteX282" fmla="*/ 215750 w 3813995"/>
                <a:gd name="connsiteY282" fmla="*/ 408796 h 1718390"/>
                <a:gd name="connsiteX283" fmla="*/ 214609 w 3813995"/>
                <a:gd name="connsiteY283" fmla="*/ 407908 h 1718390"/>
                <a:gd name="connsiteX284" fmla="*/ 217399 w 3813995"/>
                <a:gd name="connsiteY284" fmla="*/ 407908 h 1718390"/>
                <a:gd name="connsiteX285" fmla="*/ 223868 w 3813995"/>
                <a:gd name="connsiteY285" fmla="*/ 407908 h 1718390"/>
                <a:gd name="connsiteX286" fmla="*/ 223868 w 3813995"/>
                <a:gd name="connsiteY286" fmla="*/ 418436 h 1718390"/>
                <a:gd name="connsiteX287" fmla="*/ 222726 w 3813995"/>
                <a:gd name="connsiteY287" fmla="*/ 417548 h 1718390"/>
                <a:gd name="connsiteX288" fmla="*/ 229322 w 3813995"/>
                <a:gd name="connsiteY288" fmla="*/ 417548 h 1718390"/>
                <a:gd name="connsiteX289" fmla="*/ 229322 w 3813995"/>
                <a:gd name="connsiteY289" fmla="*/ 421607 h 1718390"/>
                <a:gd name="connsiteX290" fmla="*/ 228307 w 3813995"/>
                <a:gd name="connsiteY290" fmla="*/ 420846 h 1718390"/>
                <a:gd name="connsiteX291" fmla="*/ 230717 w 3813995"/>
                <a:gd name="connsiteY291" fmla="*/ 420846 h 1718390"/>
                <a:gd name="connsiteX292" fmla="*/ 230717 w 3813995"/>
                <a:gd name="connsiteY292" fmla="*/ 428076 h 1718390"/>
                <a:gd name="connsiteX293" fmla="*/ 229575 w 3813995"/>
                <a:gd name="connsiteY293" fmla="*/ 427188 h 1718390"/>
                <a:gd name="connsiteX294" fmla="*/ 232112 w 3813995"/>
                <a:gd name="connsiteY294" fmla="*/ 427188 h 1718390"/>
                <a:gd name="connsiteX295" fmla="*/ 232112 w 3813995"/>
                <a:gd name="connsiteY295" fmla="*/ 434417 h 1718390"/>
                <a:gd name="connsiteX296" fmla="*/ 230971 w 3813995"/>
                <a:gd name="connsiteY296" fmla="*/ 433656 h 1718390"/>
                <a:gd name="connsiteX297" fmla="*/ 234776 w 3813995"/>
                <a:gd name="connsiteY297" fmla="*/ 433656 h 1718390"/>
                <a:gd name="connsiteX298" fmla="*/ 234776 w 3813995"/>
                <a:gd name="connsiteY298" fmla="*/ 437588 h 1718390"/>
                <a:gd name="connsiteX299" fmla="*/ 233761 w 3813995"/>
                <a:gd name="connsiteY299" fmla="*/ 436827 h 1718390"/>
                <a:gd name="connsiteX300" fmla="*/ 236171 w 3813995"/>
                <a:gd name="connsiteY300" fmla="*/ 436827 h 1718390"/>
                <a:gd name="connsiteX301" fmla="*/ 236171 w 3813995"/>
                <a:gd name="connsiteY301" fmla="*/ 440886 h 1718390"/>
                <a:gd name="connsiteX302" fmla="*/ 235029 w 3813995"/>
                <a:gd name="connsiteY302" fmla="*/ 439998 h 1718390"/>
                <a:gd name="connsiteX303" fmla="*/ 237693 w 3813995"/>
                <a:gd name="connsiteY303" fmla="*/ 439998 h 1718390"/>
                <a:gd name="connsiteX304" fmla="*/ 243020 w 3813995"/>
                <a:gd name="connsiteY304" fmla="*/ 439998 h 1718390"/>
                <a:gd name="connsiteX305" fmla="*/ 243020 w 3813995"/>
                <a:gd name="connsiteY305" fmla="*/ 444057 h 1718390"/>
                <a:gd name="connsiteX306" fmla="*/ 241879 w 3813995"/>
                <a:gd name="connsiteY306" fmla="*/ 443296 h 1718390"/>
                <a:gd name="connsiteX307" fmla="*/ 249743 w 3813995"/>
                <a:gd name="connsiteY307" fmla="*/ 443296 h 1718390"/>
                <a:gd name="connsiteX308" fmla="*/ 249743 w 3813995"/>
                <a:gd name="connsiteY308" fmla="*/ 447228 h 1718390"/>
                <a:gd name="connsiteX309" fmla="*/ 248601 w 3813995"/>
                <a:gd name="connsiteY309" fmla="*/ 446467 h 1718390"/>
                <a:gd name="connsiteX310" fmla="*/ 257987 w 3813995"/>
                <a:gd name="connsiteY310" fmla="*/ 446467 h 1718390"/>
                <a:gd name="connsiteX311" fmla="*/ 257987 w 3813995"/>
                <a:gd name="connsiteY311" fmla="*/ 453697 h 1718390"/>
                <a:gd name="connsiteX312" fmla="*/ 256845 w 3813995"/>
                <a:gd name="connsiteY312" fmla="*/ 452936 h 1718390"/>
                <a:gd name="connsiteX313" fmla="*/ 261919 w 3813995"/>
                <a:gd name="connsiteY313" fmla="*/ 452936 h 1718390"/>
                <a:gd name="connsiteX314" fmla="*/ 261919 w 3813995"/>
                <a:gd name="connsiteY314" fmla="*/ 456868 h 1718390"/>
                <a:gd name="connsiteX315" fmla="*/ 260904 w 3813995"/>
                <a:gd name="connsiteY315" fmla="*/ 456107 h 1718390"/>
                <a:gd name="connsiteX316" fmla="*/ 263314 w 3813995"/>
                <a:gd name="connsiteY316" fmla="*/ 456107 h 1718390"/>
                <a:gd name="connsiteX317" fmla="*/ 263314 w 3813995"/>
                <a:gd name="connsiteY317" fmla="*/ 463336 h 1718390"/>
                <a:gd name="connsiteX318" fmla="*/ 262173 w 3813995"/>
                <a:gd name="connsiteY318" fmla="*/ 462575 h 1718390"/>
                <a:gd name="connsiteX319" fmla="*/ 266104 w 3813995"/>
                <a:gd name="connsiteY319" fmla="*/ 462575 h 1718390"/>
                <a:gd name="connsiteX320" fmla="*/ 266104 w 3813995"/>
                <a:gd name="connsiteY320" fmla="*/ 466507 h 1718390"/>
                <a:gd name="connsiteX321" fmla="*/ 264963 w 3813995"/>
                <a:gd name="connsiteY321" fmla="*/ 465746 h 1718390"/>
                <a:gd name="connsiteX322" fmla="*/ 267373 w 3813995"/>
                <a:gd name="connsiteY322" fmla="*/ 465746 h 1718390"/>
                <a:gd name="connsiteX323" fmla="*/ 267373 w 3813995"/>
                <a:gd name="connsiteY323" fmla="*/ 472976 h 1718390"/>
                <a:gd name="connsiteX324" fmla="*/ 266358 w 3813995"/>
                <a:gd name="connsiteY324" fmla="*/ 472215 h 1718390"/>
                <a:gd name="connsiteX325" fmla="*/ 271432 w 3813995"/>
                <a:gd name="connsiteY325" fmla="*/ 472215 h 1718390"/>
                <a:gd name="connsiteX326" fmla="*/ 271432 w 3813995"/>
                <a:gd name="connsiteY326" fmla="*/ 476147 h 1718390"/>
                <a:gd name="connsiteX327" fmla="*/ 270417 w 3813995"/>
                <a:gd name="connsiteY327" fmla="*/ 475386 h 1718390"/>
                <a:gd name="connsiteX328" fmla="*/ 274222 w 3813995"/>
                <a:gd name="connsiteY328" fmla="*/ 475386 h 1718390"/>
                <a:gd name="connsiteX329" fmla="*/ 274222 w 3813995"/>
                <a:gd name="connsiteY329" fmla="*/ 479445 h 1718390"/>
                <a:gd name="connsiteX330" fmla="*/ 273081 w 3813995"/>
                <a:gd name="connsiteY330" fmla="*/ 478684 h 1718390"/>
                <a:gd name="connsiteX331" fmla="*/ 278281 w 3813995"/>
                <a:gd name="connsiteY331" fmla="*/ 478684 h 1718390"/>
                <a:gd name="connsiteX332" fmla="*/ 278281 w 3813995"/>
                <a:gd name="connsiteY332" fmla="*/ 489084 h 1718390"/>
                <a:gd name="connsiteX333" fmla="*/ 277266 w 3813995"/>
                <a:gd name="connsiteY333" fmla="*/ 488323 h 1718390"/>
                <a:gd name="connsiteX334" fmla="*/ 281198 w 3813995"/>
                <a:gd name="connsiteY334" fmla="*/ 488323 h 1718390"/>
                <a:gd name="connsiteX335" fmla="*/ 285003 w 3813995"/>
                <a:gd name="connsiteY335" fmla="*/ 488323 h 1718390"/>
                <a:gd name="connsiteX336" fmla="*/ 285003 w 3813995"/>
                <a:gd name="connsiteY336" fmla="*/ 492382 h 1718390"/>
                <a:gd name="connsiteX337" fmla="*/ 283989 w 3813995"/>
                <a:gd name="connsiteY337" fmla="*/ 491621 h 1718390"/>
                <a:gd name="connsiteX338" fmla="*/ 289189 w 3813995"/>
                <a:gd name="connsiteY338" fmla="*/ 491621 h 1718390"/>
                <a:gd name="connsiteX339" fmla="*/ 289189 w 3813995"/>
                <a:gd name="connsiteY339" fmla="*/ 498851 h 1718390"/>
                <a:gd name="connsiteX340" fmla="*/ 288047 w 3813995"/>
                <a:gd name="connsiteY340" fmla="*/ 498090 h 1718390"/>
                <a:gd name="connsiteX341" fmla="*/ 290584 w 3813995"/>
                <a:gd name="connsiteY341" fmla="*/ 498090 h 1718390"/>
                <a:gd name="connsiteX342" fmla="*/ 290584 w 3813995"/>
                <a:gd name="connsiteY342" fmla="*/ 502022 h 1718390"/>
                <a:gd name="connsiteX343" fmla="*/ 289443 w 3813995"/>
                <a:gd name="connsiteY343" fmla="*/ 501261 h 1718390"/>
                <a:gd name="connsiteX344" fmla="*/ 293248 w 3813995"/>
                <a:gd name="connsiteY344" fmla="*/ 501261 h 1718390"/>
                <a:gd name="connsiteX345" fmla="*/ 293248 w 3813995"/>
                <a:gd name="connsiteY345" fmla="*/ 505319 h 1718390"/>
                <a:gd name="connsiteX346" fmla="*/ 292233 w 3813995"/>
                <a:gd name="connsiteY346" fmla="*/ 504432 h 1718390"/>
                <a:gd name="connsiteX347" fmla="*/ 296165 w 3813995"/>
                <a:gd name="connsiteY347" fmla="*/ 504432 h 1718390"/>
                <a:gd name="connsiteX348" fmla="*/ 300097 w 3813995"/>
                <a:gd name="connsiteY348" fmla="*/ 504432 h 1718390"/>
                <a:gd name="connsiteX349" fmla="*/ 300097 w 3813995"/>
                <a:gd name="connsiteY349" fmla="*/ 508617 h 1718390"/>
                <a:gd name="connsiteX350" fmla="*/ 298955 w 3813995"/>
                <a:gd name="connsiteY350" fmla="*/ 507729 h 1718390"/>
                <a:gd name="connsiteX351" fmla="*/ 302760 w 3813995"/>
                <a:gd name="connsiteY351" fmla="*/ 507729 h 1718390"/>
                <a:gd name="connsiteX352" fmla="*/ 302760 w 3813995"/>
                <a:gd name="connsiteY352" fmla="*/ 511788 h 1718390"/>
                <a:gd name="connsiteX353" fmla="*/ 301619 w 3813995"/>
                <a:gd name="connsiteY353" fmla="*/ 511027 h 1718390"/>
                <a:gd name="connsiteX354" fmla="*/ 304156 w 3813995"/>
                <a:gd name="connsiteY354" fmla="*/ 511027 h 1718390"/>
                <a:gd name="connsiteX355" fmla="*/ 304156 w 3813995"/>
                <a:gd name="connsiteY355" fmla="*/ 515086 h 1718390"/>
                <a:gd name="connsiteX356" fmla="*/ 303014 w 3813995"/>
                <a:gd name="connsiteY356" fmla="*/ 514325 h 1718390"/>
                <a:gd name="connsiteX357" fmla="*/ 306819 w 3813995"/>
                <a:gd name="connsiteY357" fmla="*/ 514325 h 1718390"/>
                <a:gd name="connsiteX358" fmla="*/ 306819 w 3813995"/>
                <a:gd name="connsiteY358" fmla="*/ 521555 h 1718390"/>
                <a:gd name="connsiteX359" fmla="*/ 305678 w 3813995"/>
                <a:gd name="connsiteY359" fmla="*/ 520794 h 1718390"/>
                <a:gd name="connsiteX360" fmla="*/ 309483 w 3813995"/>
                <a:gd name="connsiteY360" fmla="*/ 520794 h 1718390"/>
                <a:gd name="connsiteX361" fmla="*/ 309483 w 3813995"/>
                <a:gd name="connsiteY361" fmla="*/ 524726 h 1718390"/>
                <a:gd name="connsiteX362" fmla="*/ 308468 w 3813995"/>
                <a:gd name="connsiteY362" fmla="*/ 523965 h 1718390"/>
                <a:gd name="connsiteX363" fmla="*/ 310878 w 3813995"/>
                <a:gd name="connsiteY363" fmla="*/ 523965 h 1718390"/>
                <a:gd name="connsiteX364" fmla="*/ 310878 w 3813995"/>
                <a:gd name="connsiteY364" fmla="*/ 531321 h 1718390"/>
                <a:gd name="connsiteX365" fmla="*/ 309863 w 3813995"/>
                <a:gd name="connsiteY365" fmla="*/ 530433 h 1718390"/>
                <a:gd name="connsiteX366" fmla="*/ 312273 w 3813995"/>
                <a:gd name="connsiteY366" fmla="*/ 530433 h 1718390"/>
                <a:gd name="connsiteX367" fmla="*/ 312273 w 3813995"/>
                <a:gd name="connsiteY367" fmla="*/ 534492 h 1718390"/>
                <a:gd name="connsiteX368" fmla="*/ 311132 w 3813995"/>
                <a:gd name="connsiteY368" fmla="*/ 533731 h 1718390"/>
                <a:gd name="connsiteX369" fmla="*/ 313668 w 3813995"/>
                <a:gd name="connsiteY369" fmla="*/ 533731 h 1718390"/>
                <a:gd name="connsiteX370" fmla="*/ 313668 w 3813995"/>
                <a:gd name="connsiteY370" fmla="*/ 541088 h 1718390"/>
                <a:gd name="connsiteX371" fmla="*/ 312527 w 3813995"/>
                <a:gd name="connsiteY371" fmla="*/ 540200 h 1718390"/>
                <a:gd name="connsiteX372" fmla="*/ 315064 w 3813995"/>
                <a:gd name="connsiteY372" fmla="*/ 540200 h 1718390"/>
                <a:gd name="connsiteX373" fmla="*/ 315064 w 3813995"/>
                <a:gd name="connsiteY373" fmla="*/ 550727 h 1718390"/>
                <a:gd name="connsiteX374" fmla="*/ 313922 w 3813995"/>
                <a:gd name="connsiteY374" fmla="*/ 549966 h 1718390"/>
                <a:gd name="connsiteX375" fmla="*/ 317600 w 3813995"/>
                <a:gd name="connsiteY375" fmla="*/ 549966 h 1718390"/>
                <a:gd name="connsiteX376" fmla="*/ 317600 w 3813995"/>
                <a:gd name="connsiteY376" fmla="*/ 554025 h 1718390"/>
                <a:gd name="connsiteX377" fmla="*/ 316586 w 3813995"/>
                <a:gd name="connsiteY377" fmla="*/ 553264 h 1718390"/>
                <a:gd name="connsiteX378" fmla="*/ 318996 w 3813995"/>
                <a:gd name="connsiteY378" fmla="*/ 553264 h 1718390"/>
                <a:gd name="connsiteX379" fmla="*/ 318996 w 3813995"/>
                <a:gd name="connsiteY379" fmla="*/ 557196 h 1718390"/>
                <a:gd name="connsiteX380" fmla="*/ 317981 w 3813995"/>
                <a:gd name="connsiteY380" fmla="*/ 556435 h 1718390"/>
                <a:gd name="connsiteX381" fmla="*/ 321786 w 3813995"/>
                <a:gd name="connsiteY381" fmla="*/ 556435 h 1718390"/>
                <a:gd name="connsiteX382" fmla="*/ 321786 w 3813995"/>
                <a:gd name="connsiteY382" fmla="*/ 563791 h 1718390"/>
                <a:gd name="connsiteX383" fmla="*/ 320645 w 3813995"/>
                <a:gd name="connsiteY383" fmla="*/ 562904 h 1718390"/>
                <a:gd name="connsiteX384" fmla="*/ 323181 w 3813995"/>
                <a:gd name="connsiteY384" fmla="*/ 562904 h 1718390"/>
                <a:gd name="connsiteX385" fmla="*/ 323181 w 3813995"/>
                <a:gd name="connsiteY385" fmla="*/ 567089 h 1718390"/>
                <a:gd name="connsiteX386" fmla="*/ 322040 w 3813995"/>
                <a:gd name="connsiteY386" fmla="*/ 566201 h 1718390"/>
                <a:gd name="connsiteX387" fmla="*/ 327240 w 3813995"/>
                <a:gd name="connsiteY387" fmla="*/ 566201 h 1718390"/>
                <a:gd name="connsiteX388" fmla="*/ 327240 w 3813995"/>
                <a:gd name="connsiteY388" fmla="*/ 570260 h 1718390"/>
                <a:gd name="connsiteX389" fmla="*/ 326099 w 3813995"/>
                <a:gd name="connsiteY389" fmla="*/ 569499 h 1718390"/>
                <a:gd name="connsiteX390" fmla="*/ 328635 w 3813995"/>
                <a:gd name="connsiteY390" fmla="*/ 569499 h 1718390"/>
                <a:gd name="connsiteX391" fmla="*/ 328635 w 3813995"/>
                <a:gd name="connsiteY391" fmla="*/ 573558 h 1718390"/>
                <a:gd name="connsiteX392" fmla="*/ 327494 w 3813995"/>
                <a:gd name="connsiteY392" fmla="*/ 572797 h 1718390"/>
                <a:gd name="connsiteX393" fmla="*/ 331299 w 3813995"/>
                <a:gd name="connsiteY393" fmla="*/ 572797 h 1718390"/>
                <a:gd name="connsiteX394" fmla="*/ 331299 w 3813995"/>
                <a:gd name="connsiteY394" fmla="*/ 576729 h 1718390"/>
                <a:gd name="connsiteX395" fmla="*/ 330157 w 3813995"/>
                <a:gd name="connsiteY395" fmla="*/ 575968 h 1718390"/>
                <a:gd name="connsiteX396" fmla="*/ 332694 w 3813995"/>
                <a:gd name="connsiteY396" fmla="*/ 575968 h 1718390"/>
                <a:gd name="connsiteX397" fmla="*/ 332694 w 3813995"/>
                <a:gd name="connsiteY397" fmla="*/ 579900 h 1718390"/>
                <a:gd name="connsiteX398" fmla="*/ 331552 w 3813995"/>
                <a:gd name="connsiteY398" fmla="*/ 579139 h 1718390"/>
                <a:gd name="connsiteX399" fmla="*/ 333962 w 3813995"/>
                <a:gd name="connsiteY399" fmla="*/ 579139 h 1718390"/>
                <a:gd name="connsiteX400" fmla="*/ 333962 w 3813995"/>
                <a:gd name="connsiteY400" fmla="*/ 586495 h 1718390"/>
                <a:gd name="connsiteX401" fmla="*/ 332948 w 3813995"/>
                <a:gd name="connsiteY401" fmla="*/ 585607 h 1718390"/>
                <a:gd name="connsiteX402" fmla="*/ 335358 w 3813995"/>
                <a:gd name="connsiteY402" fmla="*/ 585607 h 1718390"/>
                <a:gd name="connsiteX403" fmla="*/ 335358 w 3813995"/>
                <a:gd name="connsiteY403" fmla="*/ 589793 h 1718390"/>
                <a:gd name="connsiteX404" fmla="*/ 334343 w 3813995"/>
                <a:gd name="connsiteY404" fmla="*/ 588905 h 1718390"/>
                <a:gd name="connsiteX405" fmla="*/ 336753 w 3813995"/>
                <a:gd name="connsiteY405" fmla="*/ 588905 h 1718390"/>
                <a:gd name="connsiteX406" fmla="*/ 336753 w 3813995"/>
                <a:gd name="connsiteY406" fmla="*/ 592964 h 1718390"/>
                <a:gd name="connsiteX407" fmla="*/ 335611 w 3813995"/>
                <a:gd name="connsiteY407" fmla="*/ 592203 h 1718390"/>
                <a:gd name="connsiteX408" fmla="*/ 339543 w 3813995"/>
                <a:gd name="connsiteY408" fmla="*/ 592203 h 1718390"/>
                <a:gd name="connsiteX409" fmla="*/ 339543 w 3813995"/>
                <a:gd name="connsiteY409" fmla="*/ 599433 h 1718390"/>
                <a:gd name="connsiteX410" fmla="*/ 338402 w 3813995"/>
                <a:gd name="connsiteY410" fmla="*/ 598672 h 1718390"/>
                <a:gd name="connsiteX411" fmla="*/ 342080 w 3813995"/>
                <a:gd name="connsiteY411" fmla="*/ 598672 h 1718390"/>
                <a:gd name="connsiteX412" fmla="*/ 342080 w 3813995"/>
                <a:gd name="connsiteY412" fmla="*/ 602730 h 1718390"/>
                <a:gd name="connsiteX413" fmla="*/ 341065 w 3813995"/>
                <a:gd name="connsiteY413" fmla="*/ 601969 h 1718390"/>
                <a:gd name="connsiteX414" fmla="*/ 343475 w 3813995"/>
                <a:gd name="connsiteY414" fmla="*/ 601969 h 1718390"/>
                <a:gd name="connsiteX415" fmla="*/ 343475 w 3813995"/>
                <a:gd name="connsiteY415" fmla="*/ 605901 h 1718390"/>
                <a:gd name="connsiteX416" fmla="*/ 342461 w 3813995"/>
                <a:gd name="connsiteY416" fmla="*/ 605140 h 1718390"/>
                <a:gd name="connsiteX417" fmla="*/ 346519 w 3813995"/>
                <a:gd name="connsiteY417" fmla="*/ 605140 h 1718390"/>
                <a:gd name="connsiteX418" fmla="*/ 348929 w 3813995"/>
                <a:gd name="connsiteY418" fmla="*/ 605140 h 1718390"/>
                <a:gd name="connsiteX419" fmla="*/ 348929 w 3813995"/>
                <a:gd name="connsiteY419" fmla="*/ 612497 h 1718390"/>
                <a:gd name="connsiteX420" fmla="*/ 347915 w 3813995"/>
                <a:gd name="connsiteY420" fmla="*/ 611736 h 1718390"/>
                <a:gd name="connsiteX421" fmla="*/ 351720 w 3813995"/>
                <a:gd name="connsiteY421" fmla="*/ 611736 h 1718390"/>
                <a:gd name="connsiteX422" fmla="*/ 351720 w 3813995"/>
                <a:gd name="connsiteY422" fmla="*/ 615668 h 1718390"/>
                <a:gd name="connsiteX423" fmla="*/ 350578 w 3813995"/>
                <a:gd name="connsiteY423" fmla="*/ 614907 h 1718390"/>
                <a:gd name="connsiteX424" fmla="*/ 354383 w 3813995"/>
                <a:gd name="connsiteY424" fmla="*/ 614907 h 1718390"/>
                <a:gd name="connsiteX425" fmla="*/ 354383 w 3813995"/>
                <a:gd name="connsiteY425" fmla="*/ 622263 h 1718390"/>
                <a:gd name="connsiteX426" fmla="*/ 353242 w 3813995"/>
                <a:gd name="connsiteY426" fmla="*/ 621502 h 1718390"/>
                <a:gd name="connsiteX427" fmla="*/ 357174 w 3813995"/>
                <a:gd name="connsiteY427" fmla="*/ 621502 h 1718390"/>
                <a:gd name="connsiteX428" fmla="*/ 357174 w 3813995"/>
                <a:gd name="connsiteY428" fmla="*/ 628732 h 1718390"/>
                <a:gd name="connsiteX429" fmla="*/ 356032 w 3813995"/>
                <a:gd name="connsiteY429" fmla="*/ 627971 h 1718390"/>
                <a:gd name="connsiteX430" fmla="*/ 358442 w 3813995"/>
                <a:gd name="connsiteY430" fmla="*/ 627971 h 1718390"/>
                <a:gd name="connsiteX431" fmla="*/ 358442 w 3813995"/>
                <a:gd name="connsiteY431" fmla="*/ 632030 h 1718390"/>
                <a:gd name="connsiteX432" fmla="*/ 357427 w 3813995"/>
                <a:gd name="connsiteY432" fmla="*/ 631269 h 1718390"/>
                <a:gd name="connsiteX433" fmla="*/ 359837 w 3813995"/>
                <a:gd name="connsiteY433" fmla="*/ 631269 h 1718390"/>
                <a:gd name="connsiteX434" fmla="*/ 359837 w 3813995"/>
                <a:gd name="connsiteY434" fmla="*/ 635328 h 1718390"/>
                <a:gd name="connsiteX435" fmla="*/ 358696 w 3813995"/>
                <a:gd name="connsiteY435" fmla="*/ 634567 h 1718390"/>
                <a:gd name="connsiteX436" fmla="*/ 362628 w 3813995"/>
                <a:gd name="connsiteY436" fmla="*/ 634567 h 1718390"/>
                <a:gd name="connsiteX437" fmla="*/ 362628 w 3813995"/>
                <a:gd name="connsiteY437" fmla="*/ 645221 h 1718390"/>
                <a:gd name="connsiteX438" fmla="*/ 361486 w 3813995"/>
                <a:gd name="connsiteY438" fmla="*/ 644460 h 1718390"/>
                <a:gd name="connsiteX439" fmla="*/ 363896 w 3813995"/>
                <a:gd name="connsiteY439" fmla="*/ 644460 h 1718390"/>
                <a:gd name="connsiteX440" fmla="*/ 363896 w 3813995"/>
                <a:gd name="connsiteY440" fmla="*/ 648392 h 1718390"/>
                <a:gd name="connsiteX441" fmla="*/ 362754 w 3813995"/>
                <a:gd name="connsiteY441" fmla="*/ 647631 h 1718390"/>
                <a:gd name="connsiteX442" fmla="*/ 366560 w 3813995"/>
                <a:gd name="connsiteY442" fmla="*/ 647631 h 1718390"/>
                <a:gd name="connsiteX443" fmla="*/ 366560 w 3813995"/>
                <a:gd name="connsiteY443" fmla="*/ 654987 h 1718390"/>
                <a:gd name="connsiteX444" fmla="*/ 365545 w 3813995"/>
                <a:gd name="connsiteY444" fmla="*/ 654226 h 1718390"/>
                <a:gd name="connsiteX445" fmla="*/ 367955 w 3813995"/>
                <a:gd name="connsiteY445" fmla="*/ 654226 h 1718390"/>
                <a:gd name="connsiteX446" fmla="*/ 367955 w 3813995"/>
                <a:gd name="connsiteY446" fmla="*/ 658285 h 1718390"/>
                <a:gd name="connsiteX447" fmla="*/ 366940 w 3813995"/>
                <a:gd name="connsiteY447" fmla="*/ 657524 h 1718390"/>
                <a:gd name="connsiteX448" fmla="*/ 369350 w 3813995"/>
                <a:gd name="connsiteY448" fmla="*/ 657524 h 1718390"/>
                <a:gd name="connsiteX449" fmla="*/ 369350 w 3813995"/>
                <a:gd name="connsiteY449" fmla="*/ 664754 h 1718390"/>
                <a:gd name="connsiteX450" fmla="*/ 368208 w 3813995"/>
                <a:gd name="connsiteY450" fmla="*/ 663993 h 1718390"/>
                <a:gd name="connsiteX451" fmla="*/ 377468 w 3813995"/>
                <a:gd name="connsiteY451" fmla="*/ 663993 h 1718390"/>
                <a:gd name="connsiteX452" fmla="*/ 377468 w 3813995"/>
                <a:gd name="connsiteY452" fmla="*/ 668052 h 1718390"/>
                <a:gd name="connsiteX453" fmla="*/ 376326 w 3813995"/>
                <a:gd name="connsiteY453" fmla="*/ 667291 h 1718390"/>
                <a:gd name="connsiteX454" fmla="*/ 379116 w 3813995"/>
                <a:gd name="connsiteY454" fmla="*/ 667291 h 1718390"/>
                <a:gd name="connsiteX455" fmla="*/ 384317 w 3813995"/>
                <a:gd name="connsiteY455" fmla="*/ 667291 h 1718390"/>
                <a:gd name="connsiteX456" fmla="*/ 384317 w 3813995"/>
                <a:gd name="connsiteY456" fmla="*/ 674647 h 1718390"/>
                <a:gd name="connsiteX457" fmla="*/ 383175 w 3813995"/>
                <a:gd name="connsiteY457" fmla="*/ 673759 h 1718390"/>
                <a:gd name="connsiteX458" fmla="*/ 387107 w 3813995"/>
                <a:gd name="connsiteY458" fmla="*/ 673759 h 1718390"/>
                <a:gd name="connsiteX459" fmla="*/ 387107 w 3813995"/>
                <a:gd name="connsiteY459" fmla="*/ 677818 h 1718390"/>
                <a:gd name="connsiteX460" fmla="*/ 385966 w 3813995"/>
                <a:gd name="connsiteY460" fmla="*/ 677057 h 1718390"/>
                <a:gd name="connsiteX461" fmla="*/ 388376 w 3813995"/>
                <a:gd name="connsiteY461" fmla="*/ 677057 h 1718390"/>
                <a:gd name="connsiteX462" fmla="*/ 388376 w 3813995"/>
                <a:gd name="connsiteY462" fmla="*/ 681116 h 1718390"/>
                <a:gd name="connsiteX463" fmla="*/ 387234 w 3813995"/>
                <a:gd name="connsiteY463" fmla="*/ 680355 h 1718390"/>
                <a:gd name="connsiteX464" fmla="*/ 391039 w 3813995"/>
                <a:gd name="connsiteY464" fmla="*/ 680355 h 1718390"/>
                <a:gd name="connsiteX465" fmla="*/ 391039 w 3813995"/>
                <a:gd name="connsiteY465" fmla="*/ 684414 h 1718390"/>
                <a:gd name="connsiteX466" fmla="*/ 390024 w 3813995"/>
                <a:gd name="connsiteY466" fmla="*/ 683653 h 1718390"/>
                <a:gd name="connsiteX467" fmla="*/ 392434 w 3813995"/>
                <a:gd name="connsiteY467" fmla="*/ 683653 h 1718390"/>
                <a:gd name="connsiteX468" fmla="*/ 392434 w 3813995"/>
                <a:gd name="connsiteY468" fmla="*/ 691009 h 1718390"/>
                <a:gd name="connsiteX469" fmla="*/ 391420 w 3813995"/>
                <a:gd name="connsiteY469" fmla="*/ 690248 h 1718390"/>
                <a:gd name="connsiteX470" fmla="*/ 393830 w 3813995"/>
                <a:gd name="connsiteY470" fmla="*/ 690248 h 1718390"/>
                <a:gd name="connsiteX471" fmla="*/ 393830 w 3813995"/>
                <a:gd name="connsiteY471" fmla="*/ 694307 h 1718390"/>
                <a:gd name="connsiteX472" fmla="*/ 392688 w 3813995"/>
                <a:gd name="connsiteY472" fmla="*/ 693546 h 1718390"/>
                <a:gd name="connsiteX473" fmla="*/ 395225 w 3813995"/>
                <a:gd name="connsiteY473" fmla="*/ 693546 h 1718390"/>
                <a:gd name="connsiteX474" fmla="*/ 395225 w 3813995"/>
                <a:gd name="connsiteY474" fmla="*/ 697605 h 1718390"/>
                <a:gd name="connsiteX475" fmla="*/ 394083 w 3813995"/>
                <a:gd name="connsiteY475" fmla="*/ 696717 h 1718390"/>
                <a:gd name="connsiteX476" fmla="*/ 396620 w 3813995"/>
                <a:gd name="connsiteY476" fmla="*/ 696717 h 1718390"/>
                <a:gd name="connsiteX477" fmla="*/ 396620 w 3813995"/>
                <a:gd name="connsiteY477" fmla="*/ 700902 h 1718390"/>
                <a:gd name="connsiteX478" fmla="*/ 395478 w 3813995"/>
                <a:gd name="connsiteY478" fmla="*/ 700015 h 1718390"/>
                <a:gd name="connsiteX479" fmla="*/ 399157 w 3813995"/>
                <a:gd name="connsiteY479" fmla="*/ 700015 h 1718390"/>
                <a:gd name="connsiteX480" fmla="*/ 399157 w 3813995"/>
                <a:gd name="connsiteY480" fmla="*/ 704073 h 1718390"/>
                <a:gd name="connsiteX481" fmla="*/ 398142 w 3813995"/>
                <a:gd name="connsiteY481" fmla="*/ 703312 h 1718390"/>
                <a:gd name="connsiteX482" fmla="*/ 401947 w 3813995"/>
                <a:gd name="connsiteY482" fmla="*/ 703312 h 1718390"/>
                <a:gd name="connsiteX483" fmla="*/ 401947 w 3813995"/>
                <a:gd name="connsiteY483" fmla="*/ 707371 h 1718390"/>
                <a:gd name="connsiteX484" fmla="*/ 400806 w 3813995"/>
                <a:gd name="connsiteY484" fmla="*/ 706610 h 1718390"/>
                <a:gd name="connsiteX485" fmla="*/ 404738 w 3813995"/>
                <a:gd name="connsiteY485" fmla="*/ 706610 h 1718390"/>
                <a:gd name="connsiteX486" fmla="*/ 404738 w 3813995"/>
                <a:gd name="connsiteY486" fmla="*/ 710669 h 1718390"/>
                <a:gd name="connsiteX487" fmla="*/ 403596 w 3813995"/>
                <a:gd name="connsiteY487" fmla="*/ 709781 h 1718390"/>
                <a:gd name="connsiteX488" fmla="*/ 406006 w 3813995"/>
                <a:gd name="connsiteY488" fmla="*/ 709781 h 1718390"/>
                <a:gd name="connsiteX489" fmla="*/ 406006 w 3813995"/>
                <a:gd name="connsiteY489" fmla="*/ 717138 h 1718390"/>
                <a:gd name="connsiteX490" fmla="*/ 404991 w 3813995"/>
                <a:gd name="connsiteY490" fmla="*/ 716377 h 1718390"/>
                <a:gd name="connsiteX491" fmla="*/ 410192 w 3813995"/>
                <a:gd name="connsiteY491" fmla="*/ 716377 h 1718390"/>
                <a:gd name="connsiteX492" fmla="*/ 410192 w 3813995"/>
                <a:gd name="connsiteY492" fmla="*/ 723733 h 1718390"/>
                <a:gd name="connsiteX493" fmla="*/ 409050 w 3813995"/>
                <a:gd name="connsiteY493" fmla="*/ 722972 h 1718390"/>
                <a:gd name="connsiteX494" fmla="*/ 414250 w 3813995"/>
                <a:gd name="connsiteY494" fmla="*/ 722972 h 1718390"/>
                <a:gd name="connsiteX495" fmla="*/ 414250 w 3813995"/>
                <a:gd name="connsiteY495" fmla="*/ 730329 h 1718390"/>
                <a:gd name="connsiteX496" fmla="*/ 413109 w 3813995"/>
                <a:gd name="connsiteY496" fmla="*/ 729568 h 1718390"/>
                <a:gd name="connsiteX497" fmla="*/ 418309 w 3813995"/>
                <a:gd name="connsiteY497" fmla="*/ 729568 h 1718390"/>
                <a:gd name="connsiteX498" fmla="*/ 418309 w 3813995"/>
                <a:gd name="connsiteY498" fmla="*/ 736924 h 1718390"/>
                <a:gd name="connsiteX499" fmla="*/ 417168 w 3813995"/>
                <a:gd name="connsiteY499" fmla="*/ 736036 h 1718390"/>
                <a:gd name="connsiteX500" fmla="*/ 422368 w 3813995"/>
                <a:gd name="connsiteY500" fmla="*/ 736036 h 1718390"/>
                <a:gd name="connsiteX501" fmla="*/ 422368 w 3813995"/>
                <a:gd name="connsiteY501" fmla="*/ 740095 h 1718390"/>
                <a:gd name="connsiteX502" fmla="*/ 421226 w 3813995"/>
                <a:gd name="connsiteY502" fmla="*/ 739334 h 1718390"/>
                <a:gd name="connsiteX503" fmla="*/ 426427 w 3813995"/>
                <a:gd name="connsiteY503" fmla="*/ 739334 h 1718390"/>
                <a:gd name="connsiteX504" fmla="*/ 426427 w 3813995"/>
                <a:gd name="connsiteY504" fmla="*/ 743393 h 1718390"/>
                <a:gd name="connsiteX505" fmla="*/ 425285 w 3813995"/>
                <a:gd name="connsiteY505" fmla="*/ 742632 h 1718390"/>
                <a:gd name="connsiteX506" fmla="*/ 430486 w 3813995"/>
                <a:gd name="connsiteY506" fmla="*/ 742632 h 1718390"/>
                <a:gd name="connsiteX507" fmla="*/ 430486 w 3813995"/>
                <a:gd name="connsiteY507" fmla="*/ 746691 h 1718390"/>
                <a:gd name="connsiteX508" fmla="*/ 429471 w 3813995"/>
                <a:gd name="connsiteY508" fmla="*/ 745930 h 1718390"/>
                <a:gd name="connsiteX509" fmla="*/ 438984 w 3813995"/>
                <a:gd name="connsiteY509" fmla="*/ 745930 h 1718390"/>
                <a:gd name="connsiteX510" fmla="*/ 442789 w 3813995"/>
                <a:gd name="connsiteY510" fmla="*/ 745930 h 1718390"/>
                <a:gd name="connsiteX511" fmla="*/ 442789 w 3813995"/>
                <a:gd name="connsiteY511" fmla="*/ 749988 h 1718390"/>
                <a:gd name="connsiteX512" fmla="*/ 441647 w 3813995"/>
                <a:gd name="connsiteY512" fmla="*/ 749227 h 1718390"/>
                <a:gd name="connsiteX513" fmla="*/ 445452 w 3813995"/>
                <a:gd name="connsiteY513" fmla="*/ 749227 h 1718390"/>
                <a:gd name="connsiteX514" fmla="*/ 445452 w 3813995"/>
                <a:gd name="connsiteY514" fmla="*/ 763180 h 1718390"/>
                <a:gd name="connsiteX515" fmla="*/ 444438 w 3813995"/>
                <a:gd name="connsiteY515" fmla="*/ 762292 h 1718390"/>
                <a:gd name="connsiteX516" fmla="*/ 449511 w 3813995"/>
                <a:gd name="connsiteY516" fmla="*/ 762292 h 1718390"/>
                <a:gd name="connsiteX517" fmla="*/ 449511 w 3813995"/>
                <a:gd name="connsiteY517" fmla="*/ 772946 h 1718390"/>
                <a:gd name="connsiteX518" fmla="*/ 448496 w 3813995"/>
                <a:gd name="connsiteY518" fmla="*/ 772185 h 1718390"/>
                <a:gd name="connsiteX519" fmla="*/ 452555 w 3813995"/>
                <a:gd name="connsiteY519" fmla="*/ 772185 h 1718390"/>
                <a:gd name="connsiteX520" fmla="*/ 454965 w 3813995"/>
                <a:gd name="connsiteY520" fmla="*/ 772185 h 1718390"/>
                <a:gd name="connsiteX521" fmla="*/ 454965 w 3813995"/>
                <a:gd name="connsiteY521" fmla="*/ 776244 h 1718390"/>
                <a:gd name="connsiteX522" fmla="*/ 453950 w 3813995"/>
                <a:gd name="connsiteY522" fmla="*/ 775483 h 1718390"/>
                <a:gd name="connsiteX523" fmla="*/ 456360 w 3813995"/>
                <a:gd name="connsiteY523" fmla="*/ 775483 h 1718390"/>
                <a:gd name="connsiteX524" fmla="*/ 456360 w 3813995"/>
                <a:gd name="connsiteY524" fmla="*/ 779542 h 1718390"/>
                <a:gd name="connsiteX525" fmla="*/ 455346 w 3813995"/>
                <a:gd name="connsiteY525" fmla="*/ 778781 h 1718390"/>
                <a:gd name="connsiteX526" fmla="*/ 460419 w 3813995"/>
                <a:gd name="connsiteY526" fmla="*/ 778781 h 1718390"/>
                <a:gd name="connsiteX527" fmla="*/ 460419 w 3813995"/>
                <a:gd name="connsiteY527" fmla="*/ 782839 h 1718390"/>
                <a:gd name="connsiteX528" fmla="*/ 459278 w 3813995"/>
                <a:gd name="connsiteY528" fmla="*/ 782078 h 1718390"/>
                <a:gd name="connsiteX529" fmla="*/ 465873 w 3813995"/>
                <a:gd name="connsiteY529" fmla="*/ 782078 h 1718390"/>
                <a:gd name="connsiteX530" fmla="*/ 465873 w 3813995"/>
                <a:gd name="connsiteY530" fmla="*/ 786137 h 1718390"/>
                <a:gd name="connsiteX531" fmla="*/ 464732 w 3813995"/>
                <a:gd name="connsiteY531" fmla="*/ 785376 h 1718390"/>
                <a:gd name="connsiteX532" fmla="*/ 467268 w 3813995"/>
                <a:gd name="connsiteY532" fmla="*/ 785376 h 1718390"/>
                <a:gd name="connsiteX533" fmla="*/ 467268 w 3813995"/>
                <a:gd name="connsiteY533" fmla="*/ 789435 h 1718390"/>
                <a:gd name="connsiteX534" fmla="*/ 466127 w 3813995"/>
                <a:gd name="connsiteY534" fmla="*/ 788674 h 1718390"/>
                <a:gd name="connsiteX535" fmla="*/ 467522 w 3813995"/>
                <a:gd name="connsiteY535" fmla="*/ 788674 h 1718390"/>
                <a:gd name="connsiteX536" fmla="*/ 469932 w 3813995"/>
                <a:gd name="connsiteY536" fmla="*/ 788674 h 1718390"/>
                <a:gd name="connsiteX537" fmla="*/ 469932 w 3813995"/>
                <a:gd name="connsiteY537" fmla="*/ 792733 h 1718390"/>
                <a:gd name="connsiteX538" fmla="*/ 468790 w 3813995"/>
                <a:gd name="connsiteY538" fmla="*/ 791972 h 1718390"/>
                <a:gd name="connsiteX539" fmla="*/ 472596 w 3813995"/>
                <a:gd name="connsiteY539" fmla="*/ 791972 h 1718390"/>
                <a:gd name="connsiteX540" fmla="*/ 472596 w 3813995"/>
                <a:gd name="connsiteY540" fmla="*/ 796030 h 1718390"/>
                <a:gd name="connsiteX541" fmla="*/ 471581 w 3813995"/>
                <a:gd name="connsiteY541" fmla="*/ 795269 h 1718390"/>
                <a:gd name="connsiteX542" fmla="*/ 476781 w 3813995"/>
                <a:gd name="connsiteY542" fmla="*/ 795269 h 1718390"/>
                <a:gd name="connsiteX543" fmla="*/ 476781 w 3813995"/>
                <a:gd name="connsiteY543" fmla="*/ 799328 h 1718390"/>
                <a:gd name="connsiteX544" fmla="*/ 475640 w 3813995"/>
                <a:gd name="connsiteY544" fmla="*/ 798567 h 1718390"/>
                <a:gd name="connsiteX545" fmla="*/ 486294 w 3813995"/>
                <a:gd name="connsiteY545" fmla="*/ 798567 h 1718390"/>
                <a:gd name="connsiteX546" fmla="*/ 486294 w 3813995"/>
                <a:gd name="connsiteY546" fmla="*/ 802753 h 1718390"/>
                <a:gd name="connsiteX547" fmla="*/ 485152 w 3813995"/>
                <a:gd name="connsiteY547" fmla="*/ 801865 h 1718390"/>
                <a:gd name="connsiteX548" fmla="*/ 487562 w 3813995"/>
                <a:gd name="connsiteY548" fmla="*/ 801865 h 1718390"/>
                <a:gd name="connsiteX549" fmla="*/ 487562 w 3813995"/>
                <a:gd name="connsiteY549" fmla="*/ 805924 h 1718390"/>
                <a:gd name="connsiteX550" fmla="*/ 486548 w 3813995"/>
                <a:gd name="connsiteY550" fmla="*/ 805163 h 1718390"/>
                <a:gd name="connsiteX551" fmla="*/ 490353 w 3813995"/>
                <a:gd name="connsiteY551" fmla="*/ 805163 h 1718390"/>
                <a:gd name="connsiteX552" fmla="*/ 490353 w 3813995"/>
                <a:gd name="connsiteY552" fmla="*/ 809348 h 1718390"/>
                <a:gd name="connsiteX553" fmla="*/ 489211 w 3813995"/>
                <a:gd name="connsiteY553" fmla="*/ 808587 h 1718390"/>
                <a:gd name="connsiteX554" fmla="*/ 495807 w 3813995"/>
                <a:gd name="connsiteY554" fmla="*/ 808587 h 1718390"/>
                <a:gd name="connsiteX555" fmla="*/ 495807 w 3813995"/>
                <a:gd name="connsiteY555" fmla="*/ 812646 h 1718390"/>
                <a:gd name="connsiteX556" fmla="*/ 494665 w 3813995"/>
                <a:gd name="connsiteY556" fmla="*/ 811758 h 1718390"/>
                <a:gd name="connsiteX557" fmla="*/ 497075 w 3813995"/>
                <a:gd name="connsiteY557" fmla="*/ 811758 h 1718390"/>
                <a:gd name="connsiteX558" fmla="*/ 497075 w 3813995"/>
                <a:gd name="connsiteY558" fmla="*/ 815944 h 1718390"/>
                <a:gd name="connsiteX559" fmla="*/ 496060 w 3813995"/>
                <a:gd name="connsiteY559" fmla="*/ 815183 h 1718390"/>
                <a:gd name="connsiteX560" fmla="*/ 498470 w 3813995"/>
                <a:gd name="connsiteY560" fmla="*/ 815183 h 1718390"/>
                <a:gd name="connsiteX561" fmla="*/ 498470 w 3813995"/>
                <a:gd name="connsiteY561" fmla="*/ 819242 h 1718390"/>
                <a:gd name="connsiteX562" fmla="*/ 497329 w 3813995"/>
                <a:gd name="connsiteY562" fmla="*/ 818481 h 1718390"/>
                <a:gd name="connsiteX563" fmla="*/ 502529 w 3813995"/>
                <a:gd name="connsiteY563" fmla="*/ 818481 h 1718390"/>
                <a:gd name="connsiteX564" fmla="*/ 502529 w 3813995"/>
                <a:gd name="connsiteY564" fmla="*/ 822539 h 1718390"/>
                <a:gd name="connsiteX565" fmla="*/ 501514 w 3813995"/>
                <a:gd name="connsiteY565" fmla="*/ 821778 h 1718390"/>
                <a:gd name="connsiteX566" fmla="*/ 503924 w 3813995"/>
                <a:gd name="connsiteY566" fmla="*/ 821778 h 1718390"/>
                <a:gd name="connsiteX567" fmla="*/ 503924 w 3813995"/>
                <a:gd name="connsiteY567" fmla="*/ 825837 h 1718390"/>
                <a:gd name="connsiteX568" fmla="*/ 502910 w 3813995"/>
                <a:gd name="connsiteY568" fmla="*/ 825076 h 1718390"/>
                <a:gd name="connsiteX569" fmla="*/ 505573 w 3813995"/>
                <a:gd name="connsiteY569" fmla="*/ 825076 h 1718390"/>
                <a:gd name="connsiteX570" fmla="*/ 507983 w 3813995"/>
                <a:gd name="connsiteY570" fmla="*/ 825076 h 1718390"/>
                <a:gd name="connsiteX571" fmla="*/ 507983 w 3813995"/>
                <a:gd name="connsiteY571" fmla="*/ 832559 h 1718390"/>
                <a:gd name="connsiteX572" fmla="*/ 506842 w 3813995"/>
                <a:gd name="connsiteY572" fmla="*/ 831798 h 1718390"/>
                <a:gd name="connsiteX573" fmla="*/ 510774 w 3813995"/>
                <a:gd name="connsiteY573" fmla="*/ 831798 h 1718390"/>
                <a:gd name="connsiteX574" fmla="*/ 510774 w 3813995"/>
                <a:gd name="connsiteY574" fmla="*/ 839282 h 1718390"/>
                <a:gd name="connsiteX575" fmla="*/ 509632 w 3813995"/>
                <a:gd name="connsiteY575" fmla="*/ 838394 h 1718390"/>
                <a:gd name="connsiteX576" fmla="*/ 512422 w 3813995"/>
                <a:gd name="connsiteY576" fmla="*/ 838394 h 1718390"/>
                <a:gd name="connsiteX577" fmla="*/ 517496 w 3813995"/>
                <a:gd name="connsiteY577" fmla="*/ 838394 h 1718390"/>
                <a:gd name="connsiteX578" fmla="*/ 517496 w 3813995"/>
                <a:gd name="connsiteY578" fmla="*/ 842580 h 1718390"/>
                <a:gd name="connsiteX579" fmla="*/ 516354 w 3813995"/>
                <a:gd name="connsiteY579" fmla="*/ 841819 h 1718390"/>
                <a:gd name="connsiteX580" fmla="*/ 520540 w 3813995"/>
                <a:gd name="connsiteY580" fmla="*/ 841819 h 1718390"/>
                <a:gd name="connsiteX581" fmla="*/ 523204 w 3813995"/>
                <a:gd name="connsiteY581" fmla="*/ 841819 h 1718390"/>
                <a:gd name="connsiteX582" fmla="*/ 529672 w 3813995"/>
                <a:gd name="connsiteY582" fmla="*/ 841819 h 1718390"/>
                <a:gd name="connsiteX583" fmla="*/ 529672 w 3813995"/>
                <a:gd name="connsiteY583" fmla="*/ 846004 h 1718390"/>
                <a:gd name="connsiteX584" fmla="*/ 528658 w 3813995"/>
                <a:gd name="connsiteY584" fmla="*/ 845243 h 1718390"/>
                <a:gd name="connsiteX585" fmla="*/ 531068 w 3813995"/>
                <a:gd name="connsiteY585" fmla="*/ 845243 h 1718390"/>
                <a:gd name="connsiteX586" fmla="*/ 531068 w 3813995"/>
                <a:gd name="connsiteY586" fmla="*/ 849302 h 1718390"/>
                <a:gd name="connsiteX587" fmla="*/ 530053 w 3813995"/>
                <a:gd name="connsiteY587" fmla="*/ 848541 h 1718390"/>
                <a:gd name="connsiteX588" fmla="*/ 532463 w 3813995"/>
                <a:gd name="connsiteY588" fmla="*/ 848541 h 1718390"/>
                <a:gd name="connsiteX589" fmla="*/ 532463 w 3813995"/>
                <a:gd name="connsiteY589" fmla="*/ 852727 h 1718390"/>
                <a:gd name="connsiteX590" fmla="*/ 531321 w 3813995"/>
                <a:gd name="connsiteY590" fmla="*/ 851966 h 1718390"/>
                <a:gd name="connsiteX591" fmla="*/ 535253 w 3813995"/>
                <a:gd name="connsiteY591" fmla="*/ 851966 h 1718390"/>
                <a:gd name="connsiteX592" fmla="*/ 535253 w 3813995"/>
                <a:gd name="connsiteY592" fmla="*/ 856151 h 1718390"/>
                <a:gd name="connsiteX593" fmla="*/ 534112 w 3813995"/>
                <a:gd name="connsiteY593" fmla="*/ 855263 h 1718390"/>
                <a:gd name="connsiteX594" fmla="*/ 536522 w 3813995"/>
                <a:gd name="connsiteY594" fmla="*/ 855263 h 1718390"/>
                <a:gd name="connsiteX595" fmla="*/ 536522 w 3813995"/>
                <a:gd name="connsiteY595" fmla="*/ 859576 h 1718390"/>
                <a:gd name="connsiteX596" fmla="*/ 535507 w 3813995"/>
                <a:gd name="connsiteY596" fmla="*/ 858688 h 1718390"/>
                <a:gd name="connsiteX597" fmla="*/ 537917 w 3813995"/>
                <a:gd name="connsiteY597" fmla="*/ 858688 h 1718390"/>
                <a:gd name="connsiteX598" fmla="*/ 537917 w 3813995"/>
                <a:gd name="connsiteY598" fmla="*/ 863000 h 1718390"/>
                <a:gd name="connsiteX599" fmla="*/ 536902 w 3813995"/>
                <a:gd name="connsiteY599" fmla="*/ 862239 h 1718390"/>
                <a:gd name="connsiteX600" fmla="*/ 540580 w 3813995"/>
                <a:gd name="connsiteY600" fmla="*/ 862239 h 1718390"/>
                <a:gd name="connsiteX601" fmla="*/ 540580 w 3813995"/>
                <a:gd name="connsiteY601" fmla="*/ 866425 h 1718390"/>
                <a:gd name="connsiteX602" fmla="*/ 539439 w 3813995"/>
                <a:gd name="connsiteY602" fmla="*/ 865664 h 1718390"/>
                <a:gd name="connsiteX603" fmla="*/ 544639 w 3813995"/>
                <a:gd name="connsiteY603" fmla="*/ 865664 h 1718390"/>
                <a:gd name="connsiteX604" fmla="*/ 544639 w 3813995"/>
                <a:gd name="connsiteY604" fmla="*/ 869850 h 1718390"/>
                <a:gd name="connsiteX605" fmla="*/ 543624 w 3813995"/>
                <a:gd name="connsiteY605" fmla="*/ 869089 h 1718390"/>
                <a:gd name="connsiteX606" fmla="*/ 545020 w 3813995"/>
                <a:gd name="connsiteY606" fmla="*/ 869089 h 1718390"/>
                <a:gd name="connsiteX607" fmla="*/ 547429 w 3813995"/>
                <a:gd name="connsiteY607" fmla="*/ 869089 h 1718390"/>
                <a:gd name="connsiteX608" fmla="*/ 547429 w 3813995"/>
                <a:gd name="connsiteY608" fmla="*/ 876826 h 1718390"/>
                <a:gd name="connsiteX609" fmla="*/ 546288 w 3813995"/>
                <a:gd name="connsiteY609" fmla="*/ 875938 h 1718390"/>
                <a:gd name="connsiteX610" fmla="*/ 547683 w 3813995"/>
                <a:gd name="connsiteY610" fmla="*/ 875938 h 1718390"/>
                <a:gd name="connsiteX611" fmla="*/ 550347 w 3813995"/>
                <a:gd name="connsiteY611" fmla="*/ 875938 h 1718390"/>
                <a:gd name="connsiteX612" fmla="*/ 555547 w 3813995"/>
                <a:gd name="connsiteY612" fmla="*/ 875938 h 1718390"/>
                <a:gd name="connsiteX613" fmla="*/ 555547 w 3813995"/>
                <a:gd name="connsiteY613" fmla="*/ 880250 h 1718390"/>
                <a:gd name="connsiteX614" fmla="*/ 554406 w 3813995"/>
                <a:gd name="connsiteY614" fmla="*/ 879489 h 1718390"/>
                <a:gd name="connsiteX615" fmla="*/ 556942 w 3813995"/>
                <a:gd name="connsiteY615" fmla="*/ 879489 h 1718390"/>
                <a:gd name="connsiteX616" fmla="*/ 556942 w 3813995"/>
                <a:gd name="connsiteY616" fmla="*/ 887226 h 1718390"/>
                <a:gd name="connsiteX617" fmla="*/ 555801 w 3813995"/>
                <a:gd name="connsiteY617" fmla="*/ 886465 h 1718390"/>
                <a:gd name="connsiteX618" fmla="*/ 557196 w 3813995"/>
                <a:gd name="connsiteY618" fmla="*/ 886465 h 1718390"/>
                <a:gd name="connsiteX619" fmla="*/ 558591 w 3813995"/>
                <a:gd name="connsiteY619" fmla="*/ 886465 h 1718390"/>
                <a:gd name="connsiteX620" fmla="*/ 562650 w 3813995"/>
                <a:gd name="connsiteY620" fmla="*/ 886465 h 1718390"/>
                <a:gd name="connsiteX621" fmla="*/ 565060 w 3813995"/>
                <a:gd name="connsiteY621" fmla="*/ 886465 h 1718390"/>
                <a:gd name="connsiteX622" fmla="*/ 565060 w 3813995"/>
                <a:gd name="connsiteY622" fmla="*/ 890651 h 1718390"/>
                <a:gd name="connsiteX623" fmla="*/ 563918 w 3813995"/>
                <a:gd name="connsiteY623" fmla="*/ 889890 h 1718390"/>
                <a:gd name="connsiteX624" fmla="*/ 568104 w 3813995"/>
                <a:gd name="connsiteY624" fmla="*/ 889890 h 1718390"/>
                <a:gd name="connsiteX625" fmla="*/ 572163 w 3813995"/>
                <a:gd name="connsiteY625" fmla="*/ 889890 h 1718390"/>
                <a:gd name="connsiteX626" fmla="*/ 574573 w 3813995"/>
                <a:gd name="connsiteY626" fmla="*/ 889890 h 1718390"/>
                <a:gd name="connsiteX627" fmla="*/ 574573 w 3813995"/>
                <a:gd name="connsiteY627" fmla="*/ 894202 h 1718390"/>
                <a:gd name="connsiteX628" fmla="*/ 573431 w 3813995"/>
                <a:gd name="connsiteY628" fmla="*/ 893441 h 1718390"/>
                <a:gd name="connsiteX629" fmla="*/ 574826 w 3813995"/>
                <a:gd name="connsiteY629" fmla="*/ 893441 h 1718390"/>
                <a:gd name="connsiteX630" fmla="*/ 577236 w 3813995"/>
                <a:gd name="connsiteY630" fmla="*/ 893441 h 1718390"/>
                <a:gd name="connsiteX631" fmla="*/ 577236 w 3813995"/>
                <a:gd name="connsiteY631" fmla="*/ 897754 h 1718390"/>
                <a:gd name="connsiteX632" fmla="*/ 576222 w 3813995"/>
                <a:gd name="connsiteY632" fmla="*/ 896993 h 1718390"/>
                <a:gd name="connsiteX633" fmla="*/ 581422 w 3813995"/>
                <a:gd name="connsiteY633" fmla="*/ 896993 h 1718390"/>
                <a:gd name="connsiteX634" fmla="*/ 581422 w 3813995"/>
                <a:gd name="connsiteY634" fmla="*/ 901305 h 1718390"/>
                <a:gd name="connsiteX635" fmla="*/ 580280 w 3813995"/>
                <a:gd name="connsiteY635" fmla="*/ 900544 h 1718390"/>
                <a:gd name="connsiteX636" fmla="*/ 582817 w 3813995"/>
                <a:gd name="connsiteY636" fmla="*/ 900544 h 1718390"/>
                <a:gd name="connsiteX637" fmla="*/ 582817 w 3813995"/>
                <a:gd name="connsiteY637" fmla="*/ 908535 h 1718390"/>
                <a:gd name="connsiteX638" fmla="*/ 581676 w 3813995"/>
                <a:gd name="connsiteY638" fmla="*/ 907647 h 1718390"/>
                <a:gd name="connsiteX639" fmla="*/ 584085 w 3813995"/>
                <a:gd name="connsiteY639" fmla="*/ 907647 h 1718390"/>
                <a:gd name="connsiteX640" fmla="*/ 584085 w 3813995"/>
                <a:gd name="connsiteY640" fmla="*/ 912086 h 1718390"/>
                <a:gd name="connsiteX641" fmla="*/ 583071 w 3813995"/>
                <a:gd name="connsiteY641" fmla="*/ 911199 h 1718390"/>
                <a:gd name="connsiteX642" fmla="*/ 586749 w 3813995"/>
                <a:gd name="connsiteY642" fmla="*/ 911199 h 1718390"/>
                <a:gd name="connsiteX643" fmla="*/ 586749 w 3813995"/>
                <a:gd name="connsiteY643" fmla="*/ 915511 h 1718390"/>
                <a:gd name="connsiteX644" fmla="*/ 585734 w 3813995"/>
                <a:gd name="connsiteY644" fmla="*/ 914750 h 1718390"/>
                <a:gd name="connsiteX645" fmla="*/ 589539 w 3813995"/>
                <a:gd name="connsiteY645" fmla="*/ 914750 h 1718390"/>
                <a:gd name="connsiteX646" fmla="*/ 589539 w 3813995"/>
                <a:gd name="connsiteY646" fmla="*/ 919062 h 1718390"/>
                <a:gd name="connsiteX647" fmla="*/ 588398 w 3813995"/>
                <a:gd name="connsiteY647" fmla="*/ 918301 h 1718390"/>
                <a:gd name="connsiteX648" fmla="*/ 592330 w 3813995"/>
                <a:gd name="connsiteY648" fmla="*/ 918301 h 1718390"/>
                <a:gd name="connsiteX649" fmla="*/ 592330 w 3813995"/>
                <a:gd name="connsiteY649" fmla="*/ 922614 h 1718390"/>
                <a:gd name="connsiteX650" fmla="*/ 591188 w 3813995"/>
                <a:gd name="connsiteY650" fmla="*/ 921853 h 1718390"/>
                <a:gd name="connsiteX651" fmla="*/ 593598 w 3813995"/>
                <a:gd name="connsiteY651" fmla="*/ 921853 h 1718390"/>
                <a:gd name="connsiteX652" fmla="*/ 593598 w 3813995"/>
                <a:gd name="connsiteY652" fmla="*/ 926292 h 1718390"/>
                <a:gd name="connsiteX653" fmla="*/ 592584 w 3813995"/>
                <a:gd name="connsiteY653" fmla="*/ 925531 h 1718390"/>
                <a:gd name="connsiteX654" fmla="*/ 594993 w 3813995"/>
                <a:gd name="connsiteY654" fmla="*/ 925531 h 1718390"/>
                <a:gd name="connsiteX655" fmla="*/ 594993 w 3813995"/>
                <a:gd name="connsiteY655" fmla="*/ 929844 h 1718390"/>
                <a:gd name="connsiteX656" fmla="*/ 593979 w 3813995"/>
                <a:gd name="connsiteY656" fmla="*/ 929083 h 1718390"/>
                <a:gd name="connsiteX657" fmla="*/ 597784 w 3813995"/>
                <a:gd name="connsiteY657" fmla="*/ 929083 h 1718390"/>
                <a:gd name="connsiteX658" fmla="*/ 597784 w 3813995"/>
                <a:gd name="connsiteY658" fmla="*/ 936947 h 1718390"/>
                <a:gd name="connsiteX659" fmla="*/ 596642 w 3813995"/>
                <a:gd name="connsiteY659" fmla="*/ 936185 h 1718390"/>
                <a:gd name="connsiteX660" fmla="*/ 600701 w 3813995"/>
                <a:gd name="connsiteY660" fmla="*/ 936185 h 1718390"/>
                <a:gd name="connsiteX661" fmla="*/ 604760 w 3813995"/>
                <a:gd name="connsiteY661" fmla="*/ 936185 h 1718390"/>
                <a:gd name="connsiteX662" fmla="*/ 607297 w 3813995"/>
                <a:gd name="connsiteY662" fmla="*/ 936185 h 1718390"/>
                <a:gd name="connsiteX663" fmla="*/ 607297 w 3813995"/>
                <a:gd name="connsiteY663" fmla="*/ 944176 h 1718390"/>
                <a:gd name="connsiteX664" fmla="*/ 606155 w 3813995"/>
                <a:gd name="connsiteY664" fmla="*/ 943288 h 1718390"/>
                <a:gd name="connsiteX665" fmla="*/ 608565 w 3813995"/>
                <a:gd name="connsiteY665" fmla="*/ 943288 h 1718390"/>
                <a:gd name="connsiteX666" fmla="*/ 608565 w 3813995"/>
                <a:gd name="connsiteY666" fmla="*/ 947728 h 1718390"/>
                <a:gd name="connsiteX667" fmla="*/ 607550 w 3813995"/>
                <a:gd name="connsiteY667" fmla="*/ 946967 h 1718390"/>
                <a:gd name="connsiteX668" fmla="*/ 611229 w 3813995"/>
                <a:gd name="connsiteY668" fmla="*/ 946967 h 1718390"/>
                <a:gd name="connsiteX669" fmla="*/ 611229 w 3813995"/>
                <a:gd name="connsiteY669" fmla="*/ 951279 h 1718390"/>
                <a:gd name="connsiteX670" fmla="*/ 610214 w 3813995"/>
                <a:gd name="connsiteY670" fmla="*/ 950518 h 1718390"/>
                <a:gd name="connsiteX671" fmla="*/ 611482 w 3813995"/>
                <a:gd name="connsiteY671" fmla="*/ 950518 h 1718390"/>
                <a:gd name="connsiteX672" fmla="*/ 614019 w 3813995"/>
                <a:gd name="connsiteY672" fmla="*/ 950518 h 1718390"/>
                <a:gd name="connsiteX673" fmla="*/ 614019 w 3813995"/>
                <a:gd name="connsiteY673" fmla="*/ 954831 h 1718390"/>
                <a:gd name="connsiteX674" fmla="*/ 612877 w 3813995"/>
                <a:gd name="connsiteY674" fmla="*/ 954070 h 1718390"/>
                <a:gd name="connsiteX675" fmla="*/ 616809 w 3813995"/>
                <a:gd name="connsiteY675" fmla="*/ 954070 h 1718390"/>
                <a:gd name="connsiteX676" fmla="*/ 616809 w 3813995"/>
                <a:gd name="connsiteY676" fmla="*/ 958509 h 1718390"/>
                <a:gd name="connsiteX677" fmla="*/ 615668 w 3813995"/>
                <a:gd name="connsiteY677" fmla="*/ 957748 h 1718390"/>
                <a:gd name="connsiteX678" fmla="*/ 618078 w 3813995"/>
                <a:gd name="connsiteY678" fmla="*/ 957748 h 1718390"/>
                <a:gd name="connsiteX679" fmla="*/ 618078 w 3813995"/>
                <a:gd name="connsiteY679" fmla="*/ 962060 h 1718390"/>
                <a:gd name="connsiteX680" fmla="*/ 617063 w 3813995"/>
                <a:gd name="connsiteY680" fmla="*/ 961299 h 1718390"/>
                <a:gd name="connsiteX681" fmla="*/ 618331 w 3813995"/>
                <a:gd name="connsiteY681" fmla="*/ 961299 h 1718390"/>
                <a:gd name="connsiteX682" fmla="*/ 620868 w 3813995"/>
                <a:gd name="connsiteY682" fmla="*/ 961299 h 1718390"/>
                <a:gd name="connsiteX683" fmla="*/ 620868 w 3813995"/>
                <a:gd name="connsiteY683" fmla="*/ 965739 h 1718390"/>
                <a:gd name="connsiteX684" fmla="*/ 619727 w 3813995"/>
                <a:gd name="connsiteY684" fmla="*/ 964978 h 1718390"/>
                <a:gd name="connsiteX685" fmla="*/ 624927 w 3813995"/>
                <a:gd name="connsiteY685" fmla="*/ 964978 h 1718390"/>
                <a:gd name="connsiteX686" fmla="*/ 624927 w 3813995"/>
                <a:gd name="connsiteY686" fmla="*/ 972968 h 1718390"/>
                <a:gd name="connsiteX687" fmla="*/ 623785 w 3813995"/>
                <a:gd name="connsiteY687" fmla="*/ 972080 h 1718390"/>
                <a:gd name="connsiteX688" fmla="*/ 630381 w 3813995"/>
                <a:gd name="connsiteY688" fmla="*/ 972080 h 1718390"/>
                <a:gd name="connsiteX689" fmla="*/ 630381 w 3813995"/>
                <a:gd name="connsiteY689" fmla="*/ 976520 h 1718390"/>
                <a:gd name="connsiteX690" fmla="*/ 629239 w 3813995"/>
                <a:gd name="connsiteY690" fmla="*/ 975759 h 1718390"/>
                <a:gd name="connsiteX691" fmla="*/ 635708 w 3813995"/>
                <a:gd name="connsiteY691" fmla="*/ 975759 h 1718390"/>
                <a:gd name="connsiteX692" fmla="*/ 635708 w 3813995"/>
                <a:gd name="connsiteY692" fmla="*/ 980198 h 1718390"/>
                <a:gd name="connsiteX693" fmla="*/ 634693 w 3813995"/>
                <a:gd name="connsiteY693" fmla="*/ 979437 h 1718390"/>
                <a:gd name="connsiteX694" fmla="*/ 638499 w 3813995"/>
                <a:gd name="connsiteY694" fmla="*/ 979437 h 1718390"/>
                <a:gd name="connsiteX695" fmla="*/ 638499 w 3813995"/>
                <a:gd name="connsiteY695" fmla="*/ 983876 h 1718390"/>
                <a:gd name="connsiteX696" fmla="*/ 637357 w 3813995"/>
                <a:gd name="connsiteY696" fmla="*/ 982988 h 1718390"/>
                <a:gd name="connsiteX697" fmla="*/ 645221 w 3813995"/>
                <a:gd name="connsiteY697" fmla="*/ 982988 h 1718390"/>
                <a:gd name="connsiteX698" fmla="*/ 645221 w 3813995"/>
                <a:gd name="connsiteY698" fmla="*/ 987428 h 1718390"/>
                <a:gd name="connsiteX699" fmla="*/ 644206 w 3813995"/>
                <a:gd name="connsiteY699" fmla="*/ 986667 h 1718390"/>
                <a:gd name="connsiteX700" fmla="*/ 645475 w 3813995"/>
                <a:gd name="connsiteY700" fmla="*/ 986667 h 1718390"/>
                <a:gd name="connsiteX701" fmla="*/ 649407 w 3813995"/>
                <a:gd name="connsiteY701" fmla="*/ 986667 h 1718390"/>
                <a:gd name="connsiteX702" fmla="*/ 649407 w 3813995"/>
                <a:gd name="connsiteY702" fmla="*/ 991106 h 1718390"/>
                <a:gd name="connsiteX703" fmla="*/ 648265 w 3813995"/>
                <a:gd name="connsiteY703" fmla="*/ 990345 h 1718390"/>
                <a:gd name="connsiteX704" fmla="*/ 651056 w 3813995"/>
                <a:gd name="connsiteY704" fmla="*/ 990345 h 1718390"/>
                <a:gd name="connsiteX705" fmla="*/ 653465 w 3813995"/>
                <a:gd name="connsiteY705" fmla="*/ 990345 h 1718390"/>
                <a:gd name="connsiteX706" fmla="*/ 653465 w 3813995"/>
                <a:gd name="connsiteY706" fmla="*/ 994784 h 1718390"/>
                <a:gd name="connsiteX707" fmla="*/ 652324 w 3813995"/>
                <a:gd name="connsiteY707" fmla="*/ 994023 h 1718390"/>
                <a:gd name="connsiteX708" fmla="*/ 654861 w 3813995"/>
                <a:gd name="connsiteY708" fmla="*/ 994023 h 1718390"/>
                <a:gd name="connsiteX709" fmla="*/ 654861 w 3813995"/>
                <a:gd name="connsiteY709" fmla="*/ 998463 h 1718390"/>
                <a:gd name="connsiteX710" fmla="*/ 653719 w 3813995"/>
                <a:gd name="connsiteY710" fmla="*/ 997701 h 1718390"/>
                <a:gd name="connsiteX711" fmla="*/ 659173 w 3813995"/>
                <a:gd name="connsiteY711" fmla="*/ 997701 h 1718390"/>
                <a:gd name="connsiteX712" fmla="*/ 665642 w 3813995"/>
                <a:gd name="connsiteY712" fmla="*/ 997701 h 1718390"/>
                <a:gd name="connsiteX713" fmla="*/ 665642 w 3813995"/>
                <a:gd name="connsiteY713" fmla="*/ 1002141 h 1718390"/>
                <a:gd name="connsiteX714" fmla="*/ 664627 w 3813995"/>
                <a:gd name="connsiteY714" fmla="*/ 1001380 h 1718390"/>
                <a:gd name="connsiteX715" fmla="*/ 673886 w 3813995"/>
                <a:gd name="connsiteY715" fmla="*/ 1001380 h 1718390"/>
                <a:gd name="connsiteX716" fmla="*/ 673886 w 3813995"/>
                <a:gd name="connsiteY716" fmla="*/ 1009497 h 1718390"/>
                <a:gd name="connsiteX717" fmla="*/ 672745 w 3813995"/>
                <a:gd name="connsiteY717" fmla="*/ 1008736 h 1718390"/>
                <a:gd name="connsiteX718" fmla="*/ 676803 w 3813995"/>
                <a:gd name="connsiteY718" fmla="*/ 1008736 h 1718390"/>
                <a:gd name="connsiteX719" fmla="*/ 679340 w 3813995"/>
                <a:gd name="connsiteY719" fmla="*/ 1008736 h 1718390"/>
                <a:gd name="connsiteX720" fmla="*/ 679340 w 3813995"/>
                <a:gd name="connsiteY720" fmla="*/ 1013176 h 1718390"/>
                <a:gd name="connsiteX721" fmla="*/ 678199 w 3813995"/>
                <a:gd name="connsiteY721" fmla="*/ 1012415 h 1718390"/>
                <a:gd name="connsiteX722" fmla="*/ 686063 w 3813995"/>
                <a:gd name="connsiteY722" fmla="*/ 1012415 h 1718390"/>
                <a:gd name="connsiteX723" fmla="*/ 686063 w 3813995"/>
                <a:gd name="connsiteY723" fmla="*/ 1020659 h 1718390"/>
                <a:gd name="connsiteX724" fmla="*/ 684921 w 3813995"/>
                <a:gd name="connsiteY724" fmla="*/ 1019898 h 1718390"/>
                <a:gd name="connsiteX725" fmla="*/ 688853 w 3813995"/>
                <a:gd name="connsiteY725" fmla="*/ 1019898 h 1718390"/>
                <a:gd name="connsiteX726" fmla="*/ 688853 w 3813995"/>
                <a:gd name="connsiteY726" fmla="*/ 1024337 h 1718390"/>
                <a:gd name="connsiteX727" fmla="*/ 687711 w 3813995"/>
                <a:gd name="connsiteY727" fmla="*/ 1023576 h 1718390"/>
                <a:gd name="connsiteX728" fmla="*/ 698239 w 3813995"/>
                <a:gd name="connsiteY728" fmla="*/ 1023576 h 1718390"/>
                <a:gd name="connsiteX729" fmla="*/ 698239 w 3813995"/>
                <a:gd name="connsiteY729" fmla="*/ 1028142 h 1718390"/>
                <a:gd name="connsiteX730" fmla="*/ 697224 w 3813995"/>
                <a:gd name="connsiteY730" fmla="*/ 1027381 h 1718390"/>
                <a:gd name="connsiteX731" fmla="*/ 698619 w 3813995"/>
                <a:gd name="connsiteY731" fmla="*/ 1027381 h 1718390"/>
                <a:gd name="connsiteX732" fmla="*/ 699888 w 3813995"/>
                <a:gd name="connsiteY732" fmla="*/ 1027381 h 1718390"/>
                <a:gd name="connsiteX733" fmla="*/ 702425 w 3813995"/>
                <a:gd name="connsiteY733" fmla="*/ 1027381 h 1718390"/>
                <a:gd name="connsiteX734" fmla="*/ 702425 w 3813995"/>
                <a:gd name="connsiteY734" fmla="*/ 1031821 h 1718390"/>
                <a:gd name="connsiteX735" fmla="*/ 701283 w 3813995"/>
                <a:gd name="connsiteY735" fmla="*/ 1031060 h 1718390"/>
                <a:gd name="connsiteX736" fmla="*/ 706483 w 3813995"/>
                <a:gd name="connsiteY736" fmla="*/ 1031060 h 1718390"/>
                <a:gd name="connsiteX737" fmla="*/ 706483 w 3813995"/>
                <a:gd name="connsiteY737" fmla="*/ 1035626 h 1718390"/>
                <a:gd name="connsiteX738" fmla="*/ 705342 w 3813995"/>
                <a:gd name="connsiteY738" fmla="*/ 1034865 h 1718390"/>
                <a:gd name="connsiteX739" fmla="*/ 708132 w 3813995"/>
                <a:gd name="connsiteY739" fmla="*/ 1034865 h 1718390"/>
                <a:gd name="connsiteX740" fmla="*/ 711937 w 3813995"/>
                <a:gd name="connsiteY740" fmla="*/ 1034865 h 1718390"/>
                <a:gd name="connsiteX741" fmla="*/ 711937 w 3813995"/>
                <a:gd name="connsiteY741" fmla="*/ 1039431 h 1718390"/>
                <a:gd name="connsiteX742" fmla="*/ 710796 w 3813995"/>
                <a:gd name="connsiteY742" fmla="*/ 1038670 h 1718390"/>
                <a:gd name="connsiteX743" fmla="*/ 714601 w 3813995"/>
                <a:gd name="connsiteY743" fmla="*/ 1038670 h 1718390"/>
                <a:gd name="connsiteX744" fmla="*/ 714601 w 3813995"/>
                <a:gd name="connsiteY744" fmla="*/ 1043109 h 1718390"/>
                <a:gd name="connsiteX745" fmla="*/ 713586 w 3813995"/>
                <a:gd name="connsiteY745" fmla="*/ 1042348 h 1718390"/>
                <a:gd name="connsiteX746" fmla="*/ 718660 w 3813995"/>
                <a:gd name="connsiteY746" fmla="*/ 1042348 h 1718390"/>
                <a:gd name="connsiteX747" fmla="*/ 718660 w 3813995"/>
                <a:gd name="connsiteY747" fmla="*/ 1046914 h 1718390"/>
                <a:gd name="connsiteX748" fmla="*/ 717518 w 3813995"/>
                <a:gd name="connsiteY748" fmla="*/ 1046153 h 1718390"/>
                <a:gd name="connsiteX749" fmla="*/ 721450 w 3813995"/>
                <a:gd name="connsiteY749" fmla="*/ 1046153 h 1718390"/>
                <a:gd name="connsiteX750" fmla="*/ 721450 w 3813995"/>
                <a:gd name="connsiteY750" fmla="*/ 1058330 h 1718390"/>
                <a:gd name="connsiteX751" fmla="*/ 720309 w 3813995"/>
                <a:gd name="connsiteY751" fmla="*/ 1057569 h 1718390"/>
                <a:gd name="connsiteX752" fmla="*/ 725509 w 3813995"/>
                <a:gd name="connsiteY752" fmla="*/ 1057569 h 1718390"/>
                <a:gd name="connsiteX753" fmla="*/ 725509 w 3813995"/>
                <a:gd name="connsiteY753" fmla="*/ 1062135 h 1718390"/>
                <a:gd name="connsiteX754" fmla="*/ 724367 w 3813995"/>
                <a:gd name="connsiteY754" fmla="*/ 1061374 h 1718390"/>
                <a:gd name="connsiteX755" fmla="*/ 728173 w 3813995"/>
                <a:gd name="connsiteY755" fmla="*/ 1061374 h 1718390"/>
                <a:gd name="connsiteX756" fmla="*/ 728173 w 3813995"/>
                <a:gd name="connsiteY756" fmla="*/ 1065940 h 1718390"/>
                <a:gd name="connsiteX757" fmla="*/ 727031 w 3813995"/>
                <a:gd name="connsiteY757" fmla="*/ 1065179 h 1718390"/>
                <a:gd name="connsiteX758" fmla="*/ 728426 w 3813995"/>
                <a:gd name="connsiteY758" fmla="*/ 1065179 h 1718390"/>
                <a:gd name="connsiteX759" fmla="*/ 732231 w 3813995"/>
                <a:gd name="connsiteY759" fmla="*/ 1065179 h 1718390"/>
                <a:gd name="connsiteX760" fmla="*/ 732231 w 3813995"/>
                <a:gd name="connsiteY760" fmla="*/ 1069618 h 1718390"/>
                <a:gd name="connsiteX761" fmla="*/ 731217 w 3813995"/>
                <a:gd name="connsiteY761" fmla="*/ 1068857 h 1718390"/>
                <a:gd name="connsiteX762" fmla="*/ 735022 w 3813995"/>
                <a:gd name="connsiteY762" fmla="*/ 1068857 h 1718390"/>
                <a:gd name="connsiteX763" fmla="*/ 735022 w 3813995"/>
                <a:gd name="connsiteY763" fmla="*/ 1073423 h 1718390"/>
                <a:gd name="connsiteX764" fmla="*/ 733880 w 3813995"/>
                <a:gd name="connsiteY764" fmla="*/ 1072662 h 1718390"/>
                <a:gd name="connsiteX765" fmla="*/ 737939 w 3813995"/>
                <a:gd name="connsiteY765" fmla="*/ 1072662 h 1718390"/>
                <a:gd name="connsiteX766" fmla="*/ 741998 w 3813995"/>
                <a:gd name="connsiteY766" fmla="*/ 1072662 h 1718390"/>
                <a:gd name="connsiteX767" fmla="*/ 743393 w 3813995"/>
                <a:gd name="connsiteY767" fmla="*/ 1072662 h 1718390"/>
                <a:gd name="connsiteX768" fmla="*/ 746183 w 3813995"/>
                <a:gd name="connsiteY768" fmla="*/ 1072662 h 1718390"/>
                <a:gd name="connsiteX769" fmla="*/ 748593 w 3813995"/>
                <a:gd name="connsiteY769" fmla="*/ 1072662 h 1718390"/>
                <a:gd name="connsiteX770" fmla="*/ 748593 w 3813995"/>
                <a:gd name="connsiteY770" fmla="*/ 1077355 h 1718390"/>
                <a:gd name="connsiteX771" fmla="*/ 747579 w 3813995"/>
                <a:gd name="connsiteY771" fmla="*/ 1076594 h 1718390"/>
                <a:gd name="connsiteX772" fmla="*/ 760896 w 3813995"/>
                <a:gd name="connsiteY772" fmla="*/ 1076594 h 1718390"/>
                <a:gd name="connsiteX773" fmla="*/ 760896 w 3813995"/>
                <a:gd name="connsiteY773" fmla="*/ 1081160 h 1718390"/>
                <a:gd name="connsiteX774" fmla="*/ 759755 w 3813995"/>
                <a:gd name="connsiteY774" fmla="*/ 1080399 h 1718390"/>
                <a:gd name="connsiteX775" fmla="*/ 764829 w 3813995"/>
                <a:gd name="connsiteY775" fmla="*/ 1080399 h 1718390"/>
                <a:gd name="connsiteX776" fmla="*/ 764829 w 3813995"/>
                <a:gd name="connsiteY776" fmla="*/ 1085092 h 1718390"/>
                <a:gd name="connsiteX777" fmla="*/ 763814 w 3813995"/>
                <a:gd name="connsiteY777" fmla="*/ 1084331 h 1718390"/>
                <a:gd name="connsiteX778" fmla="*/ 769014 w 3813995"/>
                <a:gd name="connsiteY778" fmla="*/ 1084331 h 1718390"/>
                <a:gd name="connsiteX779" fmla="*/ 769014 w 3813995"/>
                <a:gd name="connsiteY779" fmla="*/ 1088897 h 1718390"/>
                <a:gd name="connsiteX780" fmla="*/ 767873 w 3813995"/>
                <a:gd name="connsiteY780" fmla="*/ 1088137 h 1718390"/>
                <a:gd name="connsiteX781" fmla="*/ 770663 w 3813995"/>
                <a:gd name="connsiteY781" fmla="*/ 1088137 h 1718390"/>
                <a:gd name="connsiteX782" fmla="*/ 772058 w 3813995"/>
                <a:gd name="connsiteY782" fmla="*/ 1088137 h 1718390"/>
                <a:gd name="connsiteX783" fmla="*/ 773327 w 3813995"/>
                <a:gd name="connsiteY783" fmla="*/ 1088137 h 1718390"/>
                <a:gd name="connsiteX784" fmla="*/ 775737 w 3813995"/>
                <a:gd name="connsiteY784" fmla="*/ 1088137 h 1718390"/>
                <a:gd name="connsiteX785" fmla="*/ 775737 w 3813995"/>
                <a:gd name="connsiteY785" fmla="*/ 1092829 h 1718390"/>
                <a:gd name="connsiteX786" fmla="*/ 774595 w 3813995"/>
                <a:gd name="connsiteY786" fmla="*/ 1092068 h 1718390"/>
                <a:gd name="connsiteX787" fmla="*/ 777385 w 3813995"/>
                <a:gd name="connsiteY787" fmla="*/ 1092068 h 1718390"/>
                <a:gd name="connsiteX788" fmla="*/ 782839 w 3813995"/>
                <a:gd name="connsiteY788" fmla="*/ 1092068 h 1718390"/>
                <a:gd name="connsiteX789" fmla="*/ 788040 w 3813995"/>
                <a:gd name="connsiteY789" fmla="*/ 1092068 h 1718390"/>
                <a:gd name="connsiteX790" fmla="*/ 788040 w 3813995"/>
                <a:gd name="connsiteY790" fmla="*/ 1096761 h 1718390"/>
                <a:gd name="connsiteX791" fmla="*/ 786898 w 3813995"/>
                <a:gd name="connsiteY791" fmla="*/ 1096000 h 1718390"/>
                <a:gd name="connsiteX792" fmla="*/ 792099 w 3813995"/>
                <a:gd name="connsiteY792" fmla="*/ 1096000 h 1718390"/>
                <a:gd name="connsiteX793" fmla="*/ 792099 w 3813995"/>
                <a:gd name="connsiteY793" fmla="*/ 1100693 h 1718390"/>
                <a:gd name="connsiteX794" fmla="*/ 790957 w 3813995"/>
                <a:gd name="connsiteY794" fmla="*/ 1099932 h 1718390"/>
                <a:gd name="connsiteX795" fmla="*/ 793494 w 3813995"/>
                <a:gd name="connsiteY795" fmla="*/ 1099932 h 1718390"/>
                <a:gd name="connsiteX796" fmla="*/ 793494 w 3813995"/>
                <a:gd name="connsiteY796" fmla="*/ 1104625 h 1718390"/>
                <a:gd name="connsiteX797" fmla="*/ 792352 w 3813995"/>
                <a:gd name="connsiteY797" fmla="*/ 1103864 h 1718390"/>
                <a:gd name="connsiteX798" fmla="*/ 794889 w 3813995"/>
                <a:gd name="connsiteY798" fmla="*/ 1103864 h 1718390"/>
                <a:gd name="connsiteX799" fmla="*/ 794889 w 3813995"/>
                <a:gd name="connsiteY799" fmla="*/ 1108557 h 1718390"/>
                <a:gd name="connsiteX800" fmla="*/ 793747 w 3813995"/>
                <a:gd name="connsiteY800" fmla="*/ 1107796 h 1718390"/>
                <a:gd name="connsiteX801" fmla="*/ 797426 w 3813995"/>
                <a:gd name="connsiteY801" fmla="*/ 1107796 h 1718390"/>
                <a:gd name="connsiteX802" fmla="*/ 797426 w 3813995"/>
                <a:gd name="connsiteY802" fmla="*/ 1112616 h 1718390"/>
                <a:gd name="connsiteX803" fmla="*/ 796411 w 3813995"/>
                <a:gd name="connsiteY803" fmla="*/ 1111728 h 1718390"/>
                <a:gd name="connsiteX804" fmla="*/ 800216 w 3813995"/>
                <a:gd name="connsiteY804" fmla="*/ 1111728 h 1718390"/>
                <a:gd name="connsiteX805" fmla="*/ 800216 w 3813995"/>
                <a:gd name="connsiteY805" fmla="*/ 1116548 h 1718390"/>
                <a:gd name="connsiteX806" fmla="*/ 799075 w 3813995"/>
                <a:gd name="connsiteY806" fmla="*/ 1115787 h 1718390"/>
                <a:gd name="connsiteX807" fmla="*/ 801865 w 3813995"/>
                <a:gd name="connsiteY807" fmla="*/ 1115787 h 1718390"/>
                <a:gd name="connsiteX808" fmla="*/ 804275 w 3813995"/>
                <a:gd name="connsiteY808" fmla="*/ 1115787 h 1718390"/>
                <a:gd name="connsiteX809" fmla="*/ 804275 w 3813995"/>
                <a:gd name="connsiteY809" fmla="*/ 1120480 h 1718390"/>
                <a:gd name="connsiteX810" fmla="*/ 803260 w 3813995"/>
                <a:gd name="connsiteY810" fmla="*/ 1119719 h 1718390"/>
                <a:gd name="connsiteX811" fmla="*/ 807319 w 3813995"/>
                <a:gd name="connsiteY811" fmla="*/ 1119719 h 1718390"/>
                <a:gd name="connsiteX812" fmla="*/ 809983 w 3813995"/>
                <a:gd name="connsiteY812" fmla="*/ 1119719 h 1718390"/>
                <a:gd name="connsiteX813" fmla="*/ 814041 w 3813995"/>
                <a:gd name="connsiteY813" fmla="*/ 1119719 h 1718390"/>
                <a:gd name="connsiteX814" fmla="*/ 816578 w 3813995"/>
                <a:gd name="connsiteY814" fmla="*/ 1119719 h 1718390"/>
                <a:gd name="connsiteX815" fmla="*/ 816578 w 3813995"/>
                <a:gd name="connsiteY815" fmla="*/ 1124412 h 1718390"/>
                <a:gd name="connsiteX816" fmla="*/ 815437 w 3813995"/>
                <a:gd name="connsiteY816" fmla="*/ 1123651 h 1718390"/>
                <a:gd name="connsiteX817" fmla="*/ 817973 w 3813995"/>
                <a:gd name="connsiteY817" fmla="*/ 1123651 h 1718390"/>
                <a:gd name="connsiteX818" fmla="*/ 817973 w 3813995"/>
                <a:gd name="connsiteY818" fmla="*/ 1132530 h 1718390"/>
                <a:gd name="connsiteX819" fmla="*/ 816832 w 3813995"/>
                <a:gd name="connsiteY819" fmla="*/ 1131768 h 1718390"/>
                <a:gd name="connsiteX820" fmla="*/ 819495 w 3813995"/>
                <a:gd name="connsiteY820" fmla="*/ 1131768 h 1718390"/>
                <a:gd name="connsiteX821" fmla="*/ 820891 w 3813995"/>
                <a:gd name="connsiteY821" fmla="*/ 1131768 h 1718390"/>
                <a:gd name="connsiteX822" fmla="*/ 830403 w 3813995"/>
                <a:gd name="connsiteY822" fmla="*/ 1131768 h 1718390"/>
                <a:gd name="connsiteX823" fmla="*/ 846385 w 3813995"/>
                <a:gd name="connsiteY823" fmla="*/ 1131768 h 1718390"/>
                <a:gd name="connsiteX824" fmla="*/ 846385 w 3813995"/>
                <a:gd name="connsiteY824" fmla="*/ 1140647 h 1718390"/>
                <a:gd name="connsiteX825" fmla="*/ 845370 w 3813995"/>
                <a:gd name="connsiteY825" fmla="*/ 1139886 h 1718390"/>
                <a:gd name="connsiteX826" fmla="*/ 847780 w 3813995"/>
                <a:gd name="connsiteY826" fmla="*/ 1139886 h 1718390"/>
                <a:gd name="connsiteX827" fmla="*/ 847780 w 3813995"/>
                <a:gd name="connsiteY827" fmla="*/ 1144833 h 1718390"/>
                <a:gd name="connsiteX828" fmla="*/ 846765 w 3813995"/>
                <a:gd name="connsiteY828" fmla="*/ 1144072 h 1718390"/>
                <a:gd name="connsiteX829" fmla="*/ 857293 w 3813995"/>
                <a:gd name="connsiteY829" fmla="*/ 1144072 h 1718390"/>
                <a:gd name="connsiteX830" fmla="*/ 857293 w 3813995"/>
                <a:gd name="connsiteY830" fmla="*/ 1148892 h 1718390"/>
                <a:gd name="connsiteX831" fmla="*/ 856151 w 3813995"/>
                <a:gd name="connsiteY831" fmla="*/ 1148130 h 1718390"/>
                <a:gd name="connsiteX832" fmla="*/ 861352 w 3813995"/>
                <a:gd name="connsiteY832" fmla="*/ 1148130 h 1718390"/>
                <a:gd name="connsiteX833" fmla="*/ 861352 w 3813995"/>
                <a:gd name="connsiteY833" fmla="*/ 1152950 h 1718390"/>
                <a:gd name="connsiteX834" fmla="*/ 860337 w 3813995"/>
                <a:gd name="connsiteY834" fmla="*/ 1152189 h 1718390"/>
                <a:gd name="connsiteX835" fmla="*/ 864396 w 3813995"/>
                <a:gd name="connsiteY835" fmla="*/ 1152189 h 1718390"/>
                <a:gd name="connsiteX836" fmla="*/ 870864 w 3813995"/>
                <a:gd name="connsiteY836" fmla="*/ 1152189 h 1718390"/>
                <a:gd name="connsiteX837" fmla="*/ 870864 w 3813995"/>
                <a:gd name="connsiteY837" fmla="*/ 1157009 h 1718390"/>
                <a:gd name="connsiteX838" fmla="*/ 869850 w 3813995"/>
                <a:gd name="connsiteY838" fmla="*/ 1156248 h 1718390"/>
                <a:gd name="connsiteX839" fmla="*/ 872260 w 3813995"/>
                <a:gd name="connsiteY839" fmla="*/ 1156248 h 1718390"/>
                <a:gd name="connsiteX840" fmla="*/ 872260 w 3813995"/>
                <a:gd name="connsiteY840" fmla="*/ 1161195 h 1718390"/>
                <a:gd name="connsiteX841" fmla="*/ 871118 w 3813995"/>
                <a:gd name="connsiteY841" fmla="*/ 1160434 h 1718390"/>
                <a:gd name="connsiteX842" fmla="*/ 873655 w 3813995"/>
                <a:gd name="connsiteY842" fmla="*/ 1160434 h 1718390"/>
                <a:gd name="connsiteX843" fmla="*/ 873655 w 3813995"/>
                <a:gd name="connsiteY843" fmla="*/ 1165380 h 1718390"/>
                <a:gd name="connsiteX844" fmla="*/ 872513 w 3813995"/>
                <a:gd name="connsiteY844" fmla="*/ 1164492 h 1718390"/>
                <a:gd name="connsiteX845" fmla="*/ 877714 w 3813995"/>
                <a:gd name="connsiteY845" fmla="*/ 1164492 h 1718390"/>
                <a:gd name="connsiteX846" fmla="*/ 877714 w 3813995"/>
                <a:gd name="connsiteY846" fmla="*/ 1169439 h 1718390"/>
                <a:gd name="connsiteX847" fmla="*/ 876699 w 3813995"/>
                <a:gd name="connsiteY847" fmla="*/ 1168678 h 1718390"/>
                <a:gd name="connsiteX848" fmla="*/ 878982 w 3813995"/>
                <a:gd name="connsiteY848" fmla="*/ 1168678 h 1718390"/>
                <a:gd name="connsiteX849" fmla="*/ 878982 w 3813995"/>
                <a:gd name="connsiteY849" fmla="*/ 1173625 h 1718390"/>
                <a:gd name="connsiteX850" fmla="*/ 877967 w 3813995"/>
                <a:gd name="connsiteY850" fmla="*/ 1172864 h 1718390"/>
                <a:gd name="connsiteX851" fmla="*/ 895344 w 3813995"/>
                <a:gd name="connsiteY851" fmla="*/ 1172864 h 1718390"/>
                <a:gd name="connsiteX852" fmla="*/ 895344 w 3813995"/>
                <a:gd name="connsiteY852" fmla="*/ 1181996 h 1718390"/>
                <a:gd name="connsiteX853" fmla="*/ 894329 w 3813995"/>
                <a:gd name="connsiteY853" fmla="*/ 1181108 h 1718390"/>
                <a:gd name="connsiteX854" fmla="*/ 900798 w 3813995"/>
                <a:gd name="connsiteY854" fmla="*/ 1181108 h 1718390"/>
                <a:gd name="connsiteX855" fmla="*/ 900798 w 3813995"/>
                <a:gd name="connsiteY855" fmla="*/ 1186055 h 1718390"/>
                <a:gd name="connsiteX856" fmla="*/ 899783 w 3813995"/>
                <a:gd name="connsiteY856" fmla="*/ 1185294 h 1718390"/>
                <a:gd name="connsiteX857" fmla="*/ 919824 w 3813995"/>
                <a:gd name="connsiteY857" fmla="*/ 1185294 h 1718390"/>
                <a:gd name="connsiteX858" fmla="*/ 919824 w 3813995"/>
                <a:gd name="connsiteY858" fmla="*/ 1190240 h 1718390"/>
                <a:gd name="connsiteX859" fmla="*/ 918809 w 3813995"/>
                <a:gd name="connsiteY859" fmla="*/ 1189479 h 1718390"/>
                <a:gd name="connsiteX860" fmla="*/ 925531 w 3813995"/>
                <a:gd name="connsiteY860" fmla="*/ 1189479 h 1718390"/>
                <a:gd name="connsiteX861" fmla="*/ 938849 w 3813995"/>
                <a:gd name="connsiteY861" fmla="*/ 1189479 h 1718390"/>
                <a:gd name="connsiteX862" fmla="*/ 938849 w 3813995"/>
                <a:gd name="connsiteY862" fmla="*/ 1194426 h 1718390"/>
                <a:gd name="connsiteX863" fmla="*/ 937708 w 3813995"/>
                <a:gd name="connsiteY863" fmla="*/ 1193665 h 1718390"/>
                <a:gd name="connsiteX864" fmla="*/ 941893 w 3813995"/>
                <a:gd name="connsiteY864" fmla="*/ 1193665 h 1718390"/>
                <a:gd name="connsiteX865" fmla="*/ 947347 w 3813995"/>
                <a:gd name="connsiteY865" fmla="*/ 1193665 h 1718390"/>
                <a:gd name="connsiteX866" fmla="*/ 948616 w 3813995"/>
                <a:gd name="connsiteY866" fmla="*/ 1193665 h 1718390"/>
                <a:gd name="connsiteX867" fmla="*/ 957875 w 3813995"/>
                <a:gd name="connsiteY867" fmla="*/ 1193665 h 1718390"/>
                <a:gd name="connsiteX868" fmla="*/ 957875 w 3813995"/>
                <a:gd name="connsiteY868" fmla="*/ 1198739 h 1718390"/>
                <a:gd name="connsiteX869" fmla="*/ 956860 w 3813995"/>
                <a:gd name="connsiteY869" fmla="*/ 1197977 h 1718390"/>
                <a:gd name="connsiteX870" fmla="*/ 958255 w 3813995"/>
                <a:gd name="connsiteY870" fmla="*/ 1197977 h 1718390"/>
                <a:gd name="connsiteX871" fmla="*/ 969036 w 3813995"/>
                <a:gd name="connsiteY871" fmla="*/ 1197977 h 1718390"/>
                <a:gd name="connsiteX872" fmla="*/ 974490 w 3813995"/>
                <a:gd name="connsiteY872" fmla="*/ 1197977 h 1718390"/>
                <a:gd name="connsiteX873" fmla="*/ 997321 w 3813995"/>
                <a:gd name="connsiteY873" fmla="*/ 1197977 h 1718390"/>
                <a:gd name="connsiteX874" fmla="*/ 997321 w 3813995"/>
                <a:gd name="connsiteY874" fmla="*/ 1203051 h 1718390"/>
                <a:gd name="connsiteX875" fmla="*/ 996180 w 3813995"/>
                <a:gd name="connsiteY875" fmla="*/ 1202290 h 1718390"/>
                <a:gd name="connsiteX876" fmla="*/ 999985 w 3813995"/>
                <a:gd name="connsiteY876" fmla="*/ 1202290 h 1718390"/>
                <a:gd name="connsiteX877" fmla="*/ 999985 w 3813995"/>
                <a:gd name="connsiteY877" fmla="*/ 1207364 h 1718390"/>
                <a:gd name="connsiteX878" fmla="*/ 998970 w 3813995"/>
                <a:gd name="connsiteY878" fmla="*/ 1206602 h 1718390"/>
                <a:gd name="connsiteX879" fmla="*/ 1001380 w 3813995"/>
                <a:gd name="connsiteY879" fmla="*/ 1206602 h 1718390"/>
                <a:gd name="connsiteX880" fmla="*/ 1001380 w 3813995"/>
                <a:gd name="connsiteY880" fmla="*/ 1211676 h 1718390"/>
                <a:gd name="connsiteX881" fmla="*/ 1000365 w 3813995"/>
                <a:gd name="connsiteY881" fmla="*/ 1210915 h 1718390"/>
                <a:gd name="connsiteX882" fmla="*/ 1003029 w 3813995"/>
                <a:gd name="connsiteY882" fmla="*/ 1210915 h 1718390"/>
                <a:gd name="connsiteX883" fmla="*/ 1005819 w 3813995"/>
                <a:gd name="connsiteY883" fmla="*/ 1210915 h 1718390"/>
                <a:gd name="connsiteX884" fmla="*/ 1011146 w 3813995"/>
                <a:gd name="connsiteY884" fmla="*/ 1210915 h 1718390"/>
                <a:gd name="connsiteX885" fmla="*/ 1014952 w 3813995"/>
                <a:gd name="connsiteY885" fmla="*/ 1210915 h 1718390"/>
                <a:gd name="connsiteX886" fmla="*/ 1014952 w 3813995"/>
                <a:gd name="connsiteY886" fmla="*/ 1220681 h 1718390"/>
                <a:gd name="connsiteX887" fmla="*/ 1013937 w 3813995"/>
                <a:gd name="connsiteY887" fmla="*/ 1219920 h 1718390"/>
                <a:gd name="connsiteX888" fmla="*/ 1016347 w 3813995"/>
                <a:gd name="connsiteY888" fmla="*/ 1219920 h 1718390"/>
                <a:gd name="connsiteX889" fmla="*/ 1016347 w 3813995"/>
                <a:gd name="connsiteY889" fmla="*/ 1224994 h 1718390"/>
                <a:gd name="connsiteX890" fmla="*/ 1015332 w 3813995"/>
                <a:gd name="connsiteY890" fmla="*/ 1224233 h 1718390"/>
                <a:gd name="connsiteX891" fmla="*/ 1027255 w 3813995"/>
                <a:gd name="connsiteY891" fmla="*/ 1224233 h 1718390"/>
                <a:gd name="connsiteX892" fmla="*/ 1027255 w 3813995"/>
                <a:gd name="connsiteY892" fmla="*/ 1229560 h 1718390"/>
                <a:gd name="connsiteX893" fmla="*/ 1026113 w 3813995"/>
                <a:gd name="connsiteY893" fmla="*/ 1228799 h 1718390"/>
                <a:gd name="connsiteX894" fmla="*/ 1037021 w 3813995"/>
                <a:gd name="connsiteY894" fmla="*/ 1228799 h 1718390"/>
                <a:gd name="connsiteX895" fmla="*/ 1039431 w 3813995"/>
                <a:gd name="connsiteY895" fmla="*/ 1228799 h 1718390"/>
                <a:gd name="connsiteX896" fmla="*/ 1039431 w 3813995"/>
                <a:gd name="connsiteY896" fmla="*/ 1234126 h 1718390"/>
                <a:gd name="connsiteX897" fmla="*/ 1038416 w 3813995"/>
                <a:gd name="connsiteY897" fmla="*/ 1233365 h 1718390"/>
                <a:gd name="connsiteX898" fmla="*/ 1040826 w 3813995"/>
                <a:gd name="connsiteY898" fmla="*/ 1233365 h 1718390"/>
                <a:gd name="connsiteX899" fmla="*/ 1040826 w 3813995"/>
                <a:gd name="connsiteY899" fmla="*/ 1238565 h 1718390"/>
                <a:gd name="connsiteX900" fmla="*/ 1039812 w 3813995"/>
                <a:gd name="connsiteY900" fmla="*/ 1237804 h 1718390"/>
                <a:gd name="connsiteX901" fmla="*/ 1053129 w 3813995"/>
                <a:gd name="connsiteY901" fmla="*/ 1237804 h 1718390"/>
                <a:gd name="connsiteX902" fmla="*/ 1053129 w 3813995"/>
                <a:gd name="connsiteY902" fmla="*/ 1243132 h 1718390"/>
                <a:gd name="connsiteX903" fmla="*/ 1051988 w 3813995"/>
                <a:gd name="connsiteY903" fmla="*/ 1242371 h 1718390"/>
                <a:gd name="connsiteX904" fmla="*/ 1064291 w 3813995"/>
                <a:gd name="connsiteY904" fmla="*/ 1242371 h 1718390"/>
                <a:gd name="connsiteX905" fmla="*/ 1067970 w 3813995"/>
                <a:gd name="connsiteY905" fmla="*/ 1242371 h 1718390"/>
                <a:gd name="connsiteX906" fmla="*/ 1067970 w 3813995"/>
                <a:gd name="connsiteY906" fmla="*/ 1247571 h 1718390"/>
                <a:gd name="connsiteX907" fmla="*/ 1066828 w 3813995"/>
                <a:gd name="connsiteY907" fmla="*/ 1246810 h 1718390"/>
                <a:gd name="connsiteX908" fmla="*/ 1073424 w 3813995"/>
                <a:gd name="connsiteY908" fmla="*/ 1246810 h 1718390"/>
                <a:gd name="connsiteX909" fmla="*/ 1073424 w 3813995"/>
                <a:gd name="connsiteY909" fmla="*/ 1252137 h 1718390"/>
                <a:gd name="connsiteX910" fmla="*/ 1072409 w 3813995"/>
                <a:gd name="connsiteY910" fmla="*/ 1251376 h 1718390"/>
                <a:gd name="connsiteX911" fmla="*/ 1077609 w 3813995"/>
                <a:gd name="connsiteY911" fmla="*/ 1251376 h 1718390"/>
                <a:gd name="connsiteX912" fmla="*/ 1077609 w 3813995"/>
                <a:gd name="connsiteY912" fmla="*/ 1256703 h 1718390"/>
                <a:gd name="connsiteX913" fmla="*/ 1076468 w 3813995"/>
                <a:gd name="connsiteY913" fmla="*/ 1255942 h 1718390"/>
                <a:gd name="connsiteX914" fmla="*/ 1083190 w 3813995"/>
                <a:gd name="connsiteY914" fmla="*/ 1255942 h 1718390"/>
                <a:gd name="connsiteX915" fmla="*/ 1088390 w 3813995"/>
                <a:gd name="connsiteY915" fmla="*/ 1255942 h 1718390"/>
                <a:gd name="connsiteX916" fmla="*/ 1088390 w 3813995"/>
                <a:gd name="connsiteY916" fmla="*/ 1261269 h 1718390"/>
                <a:gd name="connsiteX917" fmla="*/ 1087376 w 3813995"/>
                <a:gd name="connsiteY917" fmla="*/ 1260508 h 1718390"/>
                <a:gd name="connsiteX918" fmla="*/ 1099552 w 3813995"/>
                <a:gd name="connsiteY918" fmla="*/ 1260508 h 1718390"/>
                <a:gd name="connsiteX919" fmla="*/ 1106021 w 3813995"/>
                <a:gd name="connsiteY919" fmla="*/ 1260508 h 1718390"/>
                <a:gd name="connsiteX920" fmla="*/ 1106021 w 3813995"/>
                <a:gd name="connsiteY920" fmla="*/ 1265835 h 1718390"/>
                <a:gd name="connsiteX921" fmla="*/ 1105006 w 3813995"/>
                <a:gd name="connsiteY921" fmla="*/ 1265074 h 1718390"/>
                <a:gd name="connsiteX922" fmla="*/ 1106274 w 3813995"/>
                <a:gd name="connsiteY922" fmla="*/ 1265074 h 1718390"/>
                <a:gd name="connsiteX923" fmla="*/ 1114138 w 3813995"/>
                <a:gd name="connsiteY923" fmla="*/ 1265074 h 1718390"/>
                <a:gd name="connsiteX924" fmla="*/ 1114138 w 3813995"/>
                <a:gd name="connsiteY924" fmla="*/ 1270528 h 1718390"/>
                <a:gd name="connsiteX925" fmla="*/ 1113124 w 3813995"/>
                <a:gd name="connsiteY925" fmla="*/ 1269641 h 1718390"/>
                <a:gd name="connsiteX926" fmla="*/ 1115533 w 3813995"/>
                <a:gd name="connsiteY926" fmla="*/ 1269641 h 1718390"/>
                <a:gd name="connsiteX927" fmla="*/ 1115533 w 3813995"/>
                <a:gd name="connsiteY927" fmla="*/ 1279661 h 1718390"/>
                <a:gd name="connsiteX928" fmla="*/ 1114519 w 3813995"/>
                <a:gd name="connsiteY928" fmla="*/ 1278900 h 1718390"/>
                <a:gd name="connsiteX929" fmla="*/ 1115787 w 3813995"/>
                <a:gd name="connsiteY929" fmla="*/ 1278900 h 1718390"/>
                <a:gd name="connsiteX930" fmla="*/ 1119973 w 3813995"/>
                <a:gd name="connsiteY930" fmla="*/ 1278900 h 1718390"/>
                <a:gd name="connsiteX931" fmla="*/ 1126441 w 3813995"/>
                <a:gd name="connsiteY931" fmla="*/ 1278900 h 1718390"/>
                <a:gd name="connsiteX932" fmla="*/ 1126441 w 3813995"/>
                <a:gd name="connsiteY932" fmla="*/ 1284354 h 1718390"/>
                <a:gd name="connsiteX933" fmla="*/ 1125300 w 3813995"/>
                <a:gd name="connsiteY933" fmla="*/ 1283593 h 1718390"/>
                <a:gd name="connsiteX934" fmla="*/ 1129232 w 3813995"/>
                <a:gd name="connsiteY934" fmla="*/ 1283593 h 1718390"/>
                <a:gd name="connsiteX935" fmla="*/ 1129232 w 3813995"/>
                <a:gd name="connsiteY935" fmla="*/ 1289047 h 1718390"/>
                <a:gd name="connsiteX936" fmla="*/ 1128090 w 3813995"/>
                <a:gd name="connsiteY936" fmla="*/ 1288286 h 1718390"/>
                <a:gd name="connsiteX937" fmla="*/ 1140013 w 3813995"/>
                <a:gd name="connsiteY937" fmla="*/ 1288286 h 1718390"/>
                <a:gd name="connsiteX938" fmla="*/ 1140013 w 3813995"/>
                <a:gd name="connsiteY938" fmla="*/ 1298433 h 1718390"/>
                <a:gd name="connsiteX939" fmla="*/ 1138998 w 3813995"/>
                <a:gd name="connsiteY939" fmla="*/ 1297672 h 1718390"/>
                <a:gd name="connsiteX940" fmla="*/ 1145848 w 3813995"/>
                <a:gd name="connsiteY940" fmla="*/ 1297672 h 1718390"/>
                <a:gd name="connsiteX941" fmla="*/ 1156629 w 3813995"/>
                <a:gd name="connsiteY941" fmla="*/ 1297672 h 1718390"/>
                <a:gd name="connsiteX942" fmla="*/ 1159292 w 3813995"/>
                <a:gd name="connsiteY942" fmla="*/ 1297672 h 1718390"/>
                <a:gd name="connsiteX943" fmla="*/ 1169947 w 3813995"/>
                <a:gd name="connsiteY943" fmla="*/ 1297672 h 1718390"/>
                <a:gd name="connsiteX944" fmla="*/ 1169947 w 3813995"/>
                <a:gd name="connsiteY944" fmla="*/ 1307945 h 1718390"/>
                <a:gd name="connsiteX945" fmla="*/ 1168932 w 3813995"/>
                <a:gd name="connsiteY945" fmla="*/ 1307184 h 1718390"/>
                <a:gd name="connsiteX946" fmla="*/ 1177050 w 3813995"/>
                <a:gd name="connsiteY946" fmla="*/ 1307184 h 1718390"/>
                <a:gd name="connsiteX947" fmla="*/ 1180855 w 3813995"/>
                <a:gd name="connsiteY947" fmla="*/ 1307184 h 1718390"/>
                <a:gd name="connsiteX948" fmla="*/ 1180855 w 3813995"/>
                <a:gd name="connsiteY948" fmla="*/ 1312765 h 1718390"/>
                <a:gd name="connsiteX949" fmla="*/ 1179713 w 3813995"/>
                <a:gd name="connsiteY949" fmla="*/ 1312004 h 1718390"/>
                <a:gd name="connsiteX950" fmla="*/ 1185167 w 3813995"/>
                <a:gd name="connsiteY950" fmla="*/ 1312004 h 1718390"/>
                <a:gd name="connsiteX951" fmla="*/ 1198739 w 3813995"/>
                <a:gd name="connsiteY951" fmla="*/ 1312004 h 1718390"/>
                <a:gd name="connsiteX952" fmla="*/ 1214847 w 3813995"/>
                <a:gd name="connsiteY952" fmla="*/ 1312004 h 1718390"/>
                <a:gd name="connsiteX953" fmla="*/ 1214847 w 3813995"/>
                <a:gd name="connsiteY953" fmla="*/ 1317712 h 1718390"/>
                <a:gd name="connsiteX954" fmla="*/ 1213705 w 3813995"/>
                <a:gd name="connsiteY954" fmla="*/ 1316824 h 1718390"/>
                <a:gd name="connsiteX955" fmla="*/ 1217764 w 3813995"/>
                <a:gd name="connsiteY955" fmla="*/ 1316824 h 1718390"/>
                <a:gd name="connsiteX956" fmla="*/ 1226009 w 3813995"/>
                <a:gd name="connsiteY956" fmla="*/ 1316824 h 1718390"/>
                <a:gd name="connsiteX957" fmla="*/ 1229687 w 3813995"/>
                <a:gd name="connsiteY957" fmla="*/ 1316824 h 1718390"/>
                <a:gd name="connsiteX958" fmla="*/ 1229687 w 3813995"/>
                <a:gd name="connsiteY958" fmla="*/ 1322658 h 1718390"/>
                <a:gd name="connsiteX959" fmla="*/ 1228672 w 3813995"/>
                <a:gd name="connsiteY959" fmla="*/ 1321897 h 1718390"/>
                <a:gd name="connsiteX960" fmla="*/ 1252898 w 3813995"/>
                <a:gd name="connsiteY960" fmla="*/ 1321897 h 1718390"/>
                <a:gd name="connsiteX961" fmla="*/ 1252898 w 3813995"/>
                <a:gd name="connsiteY961" fmla="*/ 1327605 h 1718390"/>
                <a:gd name="connsiteX962" fmla="*/ 1251757 w 3813995"/>
                <a:gd name="connsiteY962" fmla="*/ 1326844 h 1718390"/>
                <a:gd name="connsiteX963" fmla="*/ 1257211 w 3813995"/>
                <a:gd name="connsiteY963" fmla="*/ 1326844 h 1718390"/>
                <a:gd name="connsiteX964" fmla="*/ 1265074 w 3813995"/>
                <a:gd name="connsiteY964" fmla="*/ 1326844 h 1718390"/>
                <a:gd name="connsiteX965" fmla="*/ 1265074 w 3813995"/>
                <a:gd name="connsiteY965" fmla="*/ 1332679 h 1718390"/>
                <a:gd name="connsiteX966" fmla="*/ 1263933 w 3813995"/>
                <a:gd name="connsiteY966" fmla="*/ 1331791 h 1718390"/>
                <a:gd name="connsiteX967" fmla="*/ 1268119 w 3813995"/>
                <a:gd name="connsiteY967" fmla="*/ 1331791 h 1718390"/>
                <a:gd name="connsiteX968" fmla="*/ 1273573 w 3813995"/>
                <a:gd name="connsiteY968" fmla="*/ 1331791 h 1718390"/>
                <a:gd name="connsiteX969" fmla="*/ 1274968 w 3813995"/>
                <a:gd name="connsiteY969" fmla="*/ 1331791 h 1718390"/>
                <a:gd name="connsiteX970" fmla="*/ 1283085 w 3813995"/>
                <a:gd name="connsiteY970" fmla="*/ 1331791 h 1718390"/>
                <a:gd name="connsiteX971" fmla="*/ 1292218 w 3813995"/>
                <a:gd name="connsiteY971" fmla="*/ 1331791 h 1718390"/>
                <a:gd name="connsiteX972" fmla="*/ 1292218 w 3813995"/>
                <a:gd name="connsiteY972" fmla="*/ 1337752 h 1718390"/>
                <a:gd name="connsiteX973" fmla="*/ 1291203 w 3813995"/>
                <a:gd name="connsiteY973" fmla="*/ 1336991 h 1718390"/>
                <a:gd name="connsiteX974" fmla="*/ 1295262 w 3813995"/>
                <a:gd name="connsiteY974" fmla="*/ 1336991 h 1718390"/>
                <a:gd name="connsiteX975" fmla="*/ 1303379 w 3813995"/>
                <a:gd name="connsiteY975" fmla="*/ 1336991 h 1718390"/>
                <a:gd name="connsiteX976" fmla="*/ 1304775 w 3813995"/>
                <a:gd name="connsiteY976" fmla="*/ 1336991 h 1718390"/>
                <a:gd name="connsiteX977" fmla="*/ 1306170 w 3813995"/>
                <a:gd name="connsiteY977" fmla="*/ 1336991 h 1718390"/>
                <a:gd name="connsiteX978" fmla="*/ 1308833 w 3813995"/>
                <a:gd name="connsiteY978" fmla="*/ 1336991 h 1718390"/>
                <a:gd name="connsiteX979" fmla="*/ 1314287 w 3813995"/>
                <a:gd name="connsiteY979" fmla="*/ 1336991 h 1718390"/>
                <a:gd name="connsiteX980" fmla="*/ 1315683 w 3813995"/>
                <a:gd name="connsiteY980" fmla="*/ 1336991 h 1718390"/>
                <a:gd name="connsiteX981" fmla="*/ 1321137 w 3813995"/>
                <a:gd name="connsiteY981" fmla="*/ 1336991 h 1718390"/>
                <a:gd name="connsiteX982" fmla="*/ 1322405 w 3813995"/>
                <a:gd name="connsiteY982" fmla="*/ 1336991 h 1718390"/>
                <a:gd name="connsiteX983" fmla="*/ 1333313 w 3813995"/>
                <a:gd name="connsiteY983" fmla="*/ 1336991 h 1718390"/>
                <a:gd name="connsiteX984" fmla="*/ 1349675 w 3813995"/>
                <a:gd name="connsiteY984" fmla="*/ 1336991 h 1718390"/>
                <a:gd name="connsiteX985" fmla="*/ 1355129 w 3813995"/>
                <a:gd name="connsiteY985" fmla="*/ 1336991 h 1718390"/>
                <a:gd name="connsiteX986" fmla="*/ 1367052 w 3813995"/>
                <a:gd name="connsiteY986" fmla="*/ 1336991 h 1718390"/>
                <a:gd name="connsiteX987" fmla="*/ 1367052 w 3813995"/>
                <a:gd name="connsiteY987" fmla="*/ 1343460 h 1718390"/>
                <a:gd name="connsiteX988" fmla="*/ 1365910 w 3813995"/>
                <a:gd name="connsiteY988" fmla="*/ 1342699 h 1718390"/>
                <a:gd name="connsiteX989" fmla="*/ 1375169 w 3813995"/>
                <a:gd name="connsiteY989" fmla="*/ 1342699 h 1718390"/>
                <a:gd name="connsiteX990" fmla="*/ 1375169 w 3813995"/>
                <a:gd name="connsiteY990" fmla="*/ 1349041 h 1718390"/>
                <a:gd name="connsiteX991" fmla="*/ 1374155 w 3813995"/>
                <a:gd name="connsiteY991" fmla="*/ 1348280 h 1718390"/>
                <a:gd name="connsiteX992" fmla="*/ 1420070 w 3813995"/>
                <a:gd name="connsiteY992" fmla="*/ 1348280 h 1718390"/>
                <a:gd name="connsiteX993" fmla="*/ 1420070 w 3813995"/>
                <a:gd name="connsiteY993" fmla="*/ 1354748 h 1718390"/>
                <a:gd name="connsiteX994" fmla="*/ 1418928 w 3813995"/>
                <a:gd name="connsiteY994" fmla="*/ 1353987 h 1718390"/>
                <a:gd name="connsiteX995" fmla="*/ 1454062 w 3813995"/>
                <a:gd name="connsiteY995" fmla="*/ 1353987 h 1718390"/>
                <a:gd name="connsiteX996" fmla="*/ 1454062 w 3813995"/>
                <a:gd name="connsiteY996" fmla="*/ 1360329 h 1718390"/>
                <a:gd name="connsiteX997" fmla="*/ 1452920 w 3813995"/>
                <a:gd name="connsiteY997" fmla="*/ 1359568 h 1718390"/>
                <a:gd name="connsiteX998" fmla="*/ 1462180 w 3813995"/>
                <a:gd name="connsiteY998" fmla="*/ 1359568 h 1718390"/>
                <a:gd name="connsiteX999" fmla="*/ 1462180 w 3813995"/>
                <a:gd name="connsiteY999" fmla="*/ 1366037 h 1718390"/>
                <a:gd name="connsiteX1000" fmla="*/ 1461165 w 3813995"/>
                <a:gd name="connsiteY1000" fmla="*/ 1365276 h 1718390"/>
                <a:gd name="connsiteX1001" fmla="*/ 1469282 w 3813995"/>
                <a:gd name="connsiteY1001" fmla="*/ 1365276 h 1718390"/>
                <a:gd name="connsiteX1002" fmla="*/ 1479810 w 3813995"/>
                <a:gd name="connsiteY1002" fmla="*/ 1365276 h 1718390"/>
                <a:gd name="connsiteX1003" fmla="*/ 1479810 w 3813995"/>
                <a:gd name="connsiteY1003" fmla="*/ 1371745 h 1718390"/>
                <a:gd name="connsiteX1004" fmla="*/ 1478795 w 3813995"/>
                <a:gd name="connsiteY1004" fmla="*/ 1370983 h 1718390"/>
                <a:gd name="connsiteX1005" fmla="*/ 1493508 w 3813995"/>
                <a:gd name="connsiteY1005" fmla="*/ 1370983 h 1718390"/>
                <a:gd name="connsiteX1006" fmla="*/ 1493508 w 3813995"/>
                <a:gd name="connsiteY1006" fmla="*/ 1377452 h 1718390"/>
                <a:gd name="connsiteX1007" fmla="*/ 1492367 w 3813995"/>
                <a:gd name="connsiteY1007" fmla="*/ 1376691 h 1718390"/>
                <a:gd name="connsiteX1008" fmla="*/ 1509997 w 3813995"/>
                <a:gd name="connsiteY1008" fmla="*/ 1376691 h 1718390"/>
                <a:gd name="connsiteX1009" fmla="*/ 1545131 w 3813995"/>
                <a:gd name="connsiteY1009" fmla="*/ 1376691 h 1718390"/>
                <a:gd name="connsiteX1010" fmla="*/ 1545131 w 3813995"/>
                <a:gd name="connsiteY1010" fmla="*/ 1383287 h 1718390"/>
                <a:gd name="connsiteX1011" fmla="*/ 1544116 w 3813995"/>
                <a:gd name="connsiteY1011" fmla="*/ 1382526 h 1718390"/>
                <a:gd name="connsiteX1012" fmla="*/ 1562762 w 3813995"/>
                <a:gd name="connsiteY1012" fmla="*/ 1382526 h 1718390"/>
                <a:gd name="connsiteX1013" fmla="*/ 1562762 w 3813995"/>
                <a:gd name="connsiteY1013" fmla="*/ 1388994 h 1718390"/>
                <a:gd name="connsiteX1014" fmla="*/ 1561620 w 3813995"/>
                <a:gd name="connsiteY1014" fmla="*/ 1388233 h 1718390"/>
                <a:gd name="connsiteX1015" fmla="*/ 1564410 w 3813995"/>
                <a:gd name="connsiteY1015" fmla="*/ 1388233 h 1718390"/>
                <a:gd name="connsiteX1016" fmla="*/ 1577728 w 3813995"/>
                <a:gd name="connsiteY1016" fmla="*/ 1388233 h 1718390"/>
                <a:gd name="connsiteX1017" fmla="*/ 1577728 w 3813995"/>
                <a:gd name="connsiteY1017" fmla="*/ 1394956 h 1718390"/>
                <a:gd name="connsiteX1018" fmla="*/ 1576714 w 3813995"/>
                <a:gd name="connsiteY1018" fmla="*/ 1394195 h 1718390"/>
                <a:gd name="connsiteX1019" fmla="*/ 1580645 w 3813995"/>
                <a:gd name="connsiteY1019" fmla="*/ 1394195 h 1718390"/>
                <a:gd name="connsiteX1020" fmla="*/ 1592949 w 3813995"/>
                <a:gd name="connsiteY1020" fmla="*/ 1394195 h 1718390"/>
                <a:gd name="connsiteX1021" fmla="*/ 1595612 w 3813995"/>
                <a:gd name="connsiteY1021" fmla="*/ 1394195 h 1718390"/>
                <a:gd name="connsiteX1022" fmla="*/ 1604871 w 3813995"/>
                <a:gd name="connsiteY1022" fmla="*/ 1394195 h 1718390"/>
                <a:gd name="connsiteX1023" fmla="*/ 1604871 w 3813995"/>
                <a:gd name="connsiteY1023" fmla="*/ 1401044 h 1718390"/>
                <a:gd name="connsiteX1024" fmla="*/ 1603730 w 3813995"/>
                <a:gd name="connsiteY1024" fmla="*/ 1400156 h 1718390"/>
                <a:gd name="connsiteX1025" fmla="*/ 1607662 w 3813995"/>
                <a:gd name="connsiteY1025" fmla="*/ 1400156 h 1718390"/>
                <a:gd name="connsiteX1026" fmla="*/ 1607662 w 3813995"/>
                <a:gd name="connsiteY1026" fmla="*/ 1407132 h 1718390"/>
                <a:gd name="connsiteX1027" fmla="*/ 1606520 w 3813995"/>
                <a:gd name="connsiteY1027" fmla="*/ 1406371 h 1718390"/>
                <a:gd name="connsiteX1028" fmla="*/ 1620092 w 3813995"/>
                <a:gd name="connsiteY1028" fmla="*/ 1406371 h 1718390"/>
                <a:gd name="connsiteX1029" fmla="*/ 1625546 w 3813995"/>
                <a:gd name="connsiteY1029" fmla="*/ 1406371 h 1718390"/>
                <a:gd name="connsiteX1030" fmla="*/ 1633790 w 3813995"/>
                <a:gd name="connsiteY1030" fmla="*/ 1406371 h 1718390"/>
                <a:gd name="connsiteX1031" fmla="*/ 1636454 w 3813995"/>
                <a:gd name="connsiteY1031" fmla="*/ 1406371 h 1718390"/>
                <a:gd name="connsiteX1032" fmla="*/ 1640259 w 3813995"/>
                <a:gd name="connsiteY1032" fmla="*/ 1406371 h 1718390"/>
                <a:gd name="connsiteX1033" fmla="*/ 1640259 w 3813995"/>
                <a:gd name="connsiteY1033" fmla="*/ 1413474 h 1718390"/>
                <a:gd name="connsiteX1034" fmla="*/ 1639117 w 3813995"/>
                <a:gd name="connsiteY1034" fmla="*/ 1412713 h 1718390"/>
                <a:gd name="connsiteX1035" fmla="*/ 1641908 w 3813995"/>
                <a:gd name="connsiteY1035" fmla="*/ 1412713 h 1718390"/>
                <a:gd name="connsiteX1036" fmla="*/ 1647362 w 3813995"/>
                <a:gd name="connsiteY1036" fmla="*/ 1412713 h 1718390"/>
                <a:gd name="connsiteX1037" fmla="*/ 1663343 w 3813995"/>
                <a:gd name="connsiteY1037" fmla="*/ 1412713 h 1718390"/>
                <a:gd name="connsiteX1038" fmla="*/ 1663343 w 3813995"/>
                <a:gd name="connsiteY1038" fmla="*/ 1419943 h 1718390"/>
                <a:gd name="connsiteX1039" fmla="*/ 1662202 w 3813995"/>
                <a:gd name="connsiteY1039" fmla="*/ 1419055 h 1718390"/>
                <a:gd name="connsiteX1040" fmla="*/ 1670193 w 3813995"/>
                <a:gd name="connsiteY1040" fmla="*/ 1419055 h 1718390"/>
                <a:gd name="connsiteX1041" fmla="*/ 1670193 w 3813995"/>
                <a:gd name="connsiteY1041" fmla="*/ 1432880 h 1718390"/>
                <a:gd name="connsiteX1042" fmla="*/ 1669051 w 3813995"/>
                <a:gd name="connsiteY1042" fmla="*/ 1432119 h 1718390"/>
                <a:gd name="connsiteX1043" fmla="*/ 1679959 w 3813995"/>
                <a:gd name="connsiteY1043" fmla="*/ 1432119 h 1718390"/>
                <a:gd name="connsiteX1044" fmla="*/ 1694926 w 3813995"/>
                <a:gd name="connsiteY1044" fmla="*/ 1432119 h 1718390"/>
                <a:gd name="connsiteX1045" fmla="*/ 1703043 w 3813995"/>
                <a:gd name="connsiteY1045" fmla="*/ 1432119 h 1718390"/>
                <a:gd name="connsiteX1046" fmla="*/ 1705834 w 3813995"/>
                <a:gd name="connsiteY1046" fmla="*/ 1432119 h 1718390"/>
                <a:gd name="connsiteX1047" fmla="*/ 1712303 w 3813995"/>
                <a:gd name="connsiteY1047" fmla="*/ 1432119 h 1718390"/>
                <a:gd name="connsiteX1048" fmla="*/ 1712303 w 3813995"/>
                <a:gd name="connsiteY1048" fmla="*/ 1439602 h 1718390"/>
                <a:gd name="connsiteX1049" fmla="*/ 1711161 w 3813995"/>
                <a:gd name="connsiteY1049" fmla="*/ 1438841 h 1718390"/>
                <a:gd name="connsiteX1050" fmla="*/ 1718010 w 3813995"/>
                <a:gd name="connsiteY1050" fmla="*/ 1438841 h 1718390"/>
                <a:gd name="connsiteX1051" fmla="*/ 1723464 w 3813995"/>
                <a:gd name="connsiteY1051" fmla="*/ 1438841 h 1718390"/>
                <a:gd name="connsiteX1052" fmla="*/ 1725874 w 3813995"/>
                <a:gd name="connsiteY1052" fmla="*/ 1438841 h 1718390"/>
                <a:gd name="connsiteX1053" fmla="*/ 1725874 w 3813995"/>
                <a:gd name="connsiteY1053" fmla="*/ 1446578 h 1718390"/>
                <a:gd name="connsiteX1054" fmla="*/ 1724733 w 3813995"/>
                <a:gd name="connsiteY1054" fmla="*/ 1445691 h 1718390"/>
                <a:gd name="connsiteX1055" fmla="*/ 1731582 w 3813995"/>
                <a:gd name="connsiteY1055" fmla="*/ 1445691 h 1718390"/>
                <a:gd name="connsiteX1056" fmla="*/ 1738431 w 3813995"/>
                <a:gd name="connsiteY1056" fmla="*/ 1445691 h 1718390"/>
                <a:gd name="connsiteX1057" fmla="*/ 1762657 w 3813995"/>
                <a:gd name="connsiteY1057" fmla="*/ 1445691 h 1718390"/>
                <a:gd name="connsiteX1058" fmla="*/ 1762657 w 3813995"/>
                <a:gd name="connsiteY1058" fmla="*/ 1453554 h 1718390"/>
                <a:gd name="connsiteX1059" fmla="*/ 1761515 w 3813995"/>
                <a:gd name="connsiteY1059" fmla="*/ 1452793 h 1718390"/>
                <a:gd name="connsiteX1060" fmla="*/ 1779146 w 3813995"/>
                <a:gd name="connsiteY1060" fmla="*/ 1452793 h 1718390"/>
                <a:gd name="connsiteX1061" fmla="*/ 1796903 w 3813995"/>
                <a:gd name="connsiteY1061" fmla="*/ 1452793 h 1718390"/>
                <a:gd name="connsiteX1062" fmla="*/ 1819987 w 3813995"/>
                <a:gd name="connsiteY1062" fmla="*/ 1452793 h 1718390"/>
                <a:gd name="connsiteX1063" fmla="*/ 1825315 w 3813995"/>
                <a:gd name="connsiteY1063" fmla="*/ 1452793 h 1718390"/>
                <a:gd name="connsiteX1064" fmla="*/ 1837364 w 3813995"/>
                <a:gd name="connsiteY1064" fmla="*/ 1452793 h 1718390"/>
                <a:gd name="connsiteX1065" fmla="*/ 1837364 w 3813995"/>
                <a:gd name="connsiteY1065" fmla="*/ 1460911 h 1718390"/>
                <a:gd name="connsiteX1066" fmla="*/ 1836349 w 3813995"/>
                <a:gd name="connsiteY1066" fmla="*/ 1460150 h 1718390"/>
                <a:gd name="connsiteX1067" fmla="*/ 1838886 w 3813995"/>
                <a:gd name="connsiteY1067" fmla="*/ 1460150 h 1718390"/>
                <a:gd name="connsiteX1068" fmla="*/ 1841423 w 3813995"/>
                <a:gd name="connsiteY1068" fmla="*/ 1460150 h 1718390"/>
                <a:gd name="connsiteX1069" fmla="*/ 1841423 w 3813995"/>
                <a:gd name="connsiteY1069" fmla="*/ 1468394 h 1718390"/>
                <a:gd name="connsiteX1070" fmla="*/ 1840281 w 3813995"/>
                <a:gd name="connsiteY1070" fmla="*/ 1467633 h 1718390"/>
                <a:gd name="connsiteX1071" fmla="*/ 1856643 w 3813995"/>
                <a:gd name="connsiteY1071" fmla="*/ 1467633 h 1718390"/>
                <a:gd name="connsiteX1072" fmla="*/ 1859180 w 3813995"/>
                <a:gd name="connsiteY1072" fmla="*/ 1467633 h 1718390"/>
                <a:gd name="connsiteX1073" fmla="*/ 1859180 w 3813995"/>
                <a:gd name="connsiteY1073" fmla="*/ 1476005 h 1718390"/>
                <a:gd name="connsiteX1074" fmla="*/ 1858039 w 3813995"/>
                <a:gd name="connsiteY1074" fmla="*/ 1475244 h 1718390"/>
                <a:gd name="connsiteX1075" fmla="*/ 1860702 w 3813995"/>
                <a:gd name="connsiteY1075" fmla="*/ 1475244 h 1718390"/>
                <a:gd name="connsiteX1076" fmla="*/ 1864761 w 3813995"/>
                <a:gd name="connsiteY1076" fmla="*/ 1475244 h 1718390"/>
                <a:gd name="connsiteX1077" fmla="*/ 1874020 w 3813995"/>
                <a:gd name="connsiteY1077" fmla="*/ 1475244 h 1718390"/>
                <a:gd name="connsiteX1078" fmla="*/ 1874020 w 3813995"/>
                <a:gd name="connsiteY1078" fmla="*/ 1483742 h 1718390"/>
                <a:gd name="connsiteX1079" fmla="*/ 1872879 w 3813995"/>
                <a:gd name="connsiteY1079" fmla="*/ 1482981 h 1718390"/>
                <a:gd name="connsiteX1080" fmla="*/ 1880869 w 3813995"/>
                <a:gd name="connsiteY1080" fmla="*/ 1482981 h 1718390"/>
                <a:gd name="connsiteX1081" fmla="*/ 1880869 w 3813995"/>
                <a:gd name="connsiteY1081" fmla="*/ 1491606 h 1718390"/>
                <a:gd name="connsiteX1082" fmla="*/ 1879728 w 3813995"/>
                <a:gd name="connsiteY1082" fmla="*/ 1490845 h 1718390"/>
                <a:gd name="connsiteX1083" fmla="*/ 1882518 w 3813995"/>
                <a:gd name="connsiteY1083" fmla="*/ 1490845 h 1718390"/>
                <a:gd name="connsiteX1084" fmla="*/ 1883787 w 3813995"/>
                <a:gd name="connsiteY1084" fmla="*/ 1490845 h 1718390"/>
                <a:gd name="connsiteX1085" fmla="*/ 1893426 w 3813995"/>
                <a:gd name="connsiteY1085" fmla="*/ 1490845 h 1718390"/>
                <a:gd name="connsiteX1086" fmla="*/ 1903954 w 3813995"/>
                <a:gd name="connsiteY1086" fmla="*/ 1490845 h 1718390"/>
                <a:gd name="connsiteX1087" fmla="*/ 1903954 w 3813995"/>
                <a:gd name="connsiteY1087" fmla="*/ 1499850 h 1718390"/>
                <a:gd name="connsiteX1088" fmla="*/ 1902812 w 3813995"/>
                <a:gd name="connsiteY1088" fmla="*/ 1499089 h 1718390"/>
                <a:gd name="connsiteX1089" fmla="*/ 1915115 w 3813995"/>
                <a:gd name="connsiteY1089" fmla="*/ 1499089 h 1718390"/>
                <a:gd name="connsiteX1090" fmla="*/ 1950122 w 3813995"/>
                <a:gd name="connsiteY1090" fmla="*/ 1499089 h 1718390"/>
                <a:gd name="connsiteX1091" fmla="*/ 1950122 w 3813995"/>
                <a:gd name="connsiteY1091" fmla="*/ 1508095 h 1718390"/>
                <a:gd name="connsiteX1092" fmla="*/ 1949108 w 3813995"/>
                <a:gd name="connsiteY1092" fmla="*/ 1507333 h 1718390"/>
                <a:gd name="connsiteX1093" fmla="*/ 1972192 w 3813995"/>
                <a:gd name="connsiteY1093" fmla="*/ 1507333 h 1718390"/>
                <a:gd name="connsiteX1094" fmla="*/ 1978661 w 3813995"/>
                <a:gd name="connsiteY1094" fmla="*/ 1507333 h 1718390"/>
                <a:gd name="connsiteX1095" fmla="*/ 1978661 w 3813995"/>
                <a:gd name="connsiteY1095" fmla="*/ 1516846 h 1718390"/>
                <a:gd name="connsiteX1096" fmla="*/ 1977519 w 3813995"/>
                <a:gd name="connsiteY1096" fmla="*/ 1516085 h 1718390"/>
                <a:gd name="connsiteX1097" fmla="*/ 1992613 w 3813995"/>
                <a:gd name="connsiteY1097" fmla="*/ 1516085 h 1718390"/>
                <a:gd name="connsiteX1098" fmla="*/ 1999335 w 3813995"/>
                <a:gd name="connsiteY1098" fmla="*/ 1516085 h 1718390"/>
                <a:gd name="connsiteX1099" fmla="*/ 2008848 w 3813995"/>
                <a:gd name="connsiteY1099" fmla="*/ 1516085 h 1718390"/>
                <a:gd name="connsiteX1100" fmla="*/ 2030410 w 3813995"/>
                <a:gd name="connsiteY1100" fmla="*/ 1516085 h 1718390"/>
                <a:gd name="connsiteX1101" fmla="*/ 2030410 w 3813995"/>
                <a:gd name="connsiteY1101" fmla="*/ 1525979 h 1718390"/>
                <a:gd name="connsiteX1102" fmla="*/ 2029269 w 3813995"/>
                <a:gd name="connsiteY1102" fmla="*/ 1525218 h 1718390"/>
                <a:gd name="connsiteX1103" fmla="*/ 2070110 w 3813995"/>
                <a:gd name="connsiteY1103" fmla="*/ 1525218 h 1718390"/>
                <a:gd name="connsiteX1104" fmla="*/ 2072774 w 3813995"/>
                <a:gd name="connsiteY1104" fmla="*/ 1525218 h 1718390"/>
                <a:gd name="connsiteX1105" fmla="*/ 2163843 w 3813995"/>
                <a:gd name="connsiteY1105" fmla="*/ 1525218 h 1718390"/>
                <a:gd name="connsiteX1106" fmla="*/ 2170692 w 3813995"/>
                <a:gd name="connsiteY1106" fmla="*/ 1525218 h 1718390"/>
                <a:gd name="connsiteX1107" fmla="*/ 2189591 w 3813995"/>
                <a:gd name="connsiteY1107" fmla="*/ 1525218 h 1718390"/>
                <a:gd name="connsiteX1108" fmla="*/ 2239946 w 3813995"/>
                <a:gd name="connsiteY1108" fmla="*/ 1525218 h 1718390"/>
                <a:gd name="connsiteX1109" fmla="*/ 2253263 w 3813995"/>
                <a:gd name="connsiteY1109" fmla="*/ 1525218 h 1718390"/>
                <a:gd name="connsiteX1110" fmla="*/ 2253263 w 3813995"/>
                <a:gd name="connsiteY1110" fmla="*/ 1536126 h 1718390"/>
                <a:gd name="connsiteX1111" fmla="*/ 2252122 w 3813995"/>
                <a:gd name="connsiteY1111" fmla="*/ 1535364 h 1718390"/>
                <a:gd name="connsiteX1112" fmla="*/ 2254659 w 3813995"/>
                <a:gd name="connsiteY1112" fmla="*/ 1535364 h 1718390"/>
                <a:gd name="connsiteX1113" fmla="*/ 2254659 w 3813995"/>
                <a:gd name="connsiteY1113" fmla="*/ 1546272 h 1718390"/>
                <a:gd name="connsiteX1114" fmla="*/ 2253517 w 3813995"/>
                <a:gd name="connsiteY1114" fmla="*/ 1545385 h 1718390"/>
                <a:gd name="connsiteX1115" fmla="*/ 2265820 w 3813995"/>
                <a:gd name="connsiteY1115" fmla="*/ 1545385 h 1718390"/>
                <a:gd name="connsiteX1116" fmla="*/ 2267215 w 3813995"/>
                <a:gd name="connsiteY1116" fmla="*/ 1545385 h 1718390"/>
                <a:gd name="connsiteX1117" fmla="*/ 2285861 w 3813995"/>
                <a:gd name="connsiteY1117" fmla="*/ 1545385 h 1718390"/>
                <a:gd name="connsiteX1118" fmla="*/ 2285861 w 3813995"/>
                <a:gd name="connsiteY1118" fmla="*/ 1556800 h 1718390"/>
                <a:gd name="connsiteX1119" fmla="*/ 2284846 w 3813995"/>
                <a:gd name="connsiteY1119" fmla="*/ 1556039 h 1718390"/>
                <a:gd name="connsiteX1120" fmla="*/ 2288651 w 3813995"/>
                <a:gd name="connsiteY1120" fmla="*/ 1556039 h 1718390"/>
                <a:gd name="connsiteX1121" fmla="*/ 2288651 w 3813995"/>
                <a:gd name="connsiteY1121" fmla="*/ 1567327 h 1718390"/>
                <a:gd name="connsiteX1122" fmla="*/ 2287509 w 3813995"/>
                <a:gd name="connsiteY1122" fmla="*/ 1566566 h 1718390"/>
                <a:gd name="connsiteX1123" fmla="*/ 2324292 w 3813995"/>
                <a:gd name="connsiteY1123" fmla="*/ 1566566 h 1718390"/>
                <a:gd name="connsiteX1124" fmla="*/ 2343191 w 3813995"/>
                <a:gd name="connsiteY1124" fmla="*/ 1566566 h 1718390"/>
                <a:gd name="connsiteX1125" fmla="*/ 2355494 w 3813995"/>
                <a:gd name="connsiteY1125" fmla="*/ 1566566 h 1718390"/>
                <a:gd name="connsiteX1126" fmla="*/ 2362090 w 3813995"/>
                <a:gd name="connsiteY1126" fmla="*/ 1566566 h 1718390"/>
                <a:gd name="connsiteX1127" fmla="*/ 2362090 w 3813995"/>
                <a:gd name="connsiteY1127" fmla="*/ 1578616 h 1718390"/>
                <a:gd name="connsiteX1128" fmla="*/ 2360948 w 3813995"/>
                <a:gd name="connsiteY1128" fmla="*/ 1577855 h 1718390"/>
                <a:gd name="connsiteX1129" fmla="*/ 2456076 w 3813995"/>
                <a:gd name="connsiteY1129" fmla="*/ 1577855 h 1718390"/>
                <a:gd name="connsiteX1130" fmla="*/ 2465589 w 3813995"/>
                <a:gd name="connsiteY1130" fmla="*/ 1577855 h 1718390"/>
                <a:gd name="connsiteX1131" fmla="*/ 2468379 w 3813995"/>
                <a:gd name="connsiteY1131" fmla="*/ 1577855 h 1718390"/>
                <a:gd name="connsiteX1132" fmla="*/ 2475102 w 3813995"/>
                <a:gd name="connsiteY1132" fmla="*/ 1577855 h 1718390"/>
                <a:gd name="connsiteX1133" fmla="*/ 2476497 w 3813995"/>
                <a:gd name="connsiteY1133" fmla="*/ 1577855 h 1718390"/>
                <a:gd name="connsiteX1134" fmla="*/ 2480556 w 3813995"/>
                <a:gd name="connsiteY1134" fmla="*/ 1577855 h 1718390"/>
                <a:gd name="connsiteX1135" fmla="*/ 2504908 w 3813995"/>
                <a:gd name="connsiteY1135" fmla="*/ 1577855 h 1718390"/>
                <a:gd name="connsiteX1136" fmla="*/ 2511504 w 3813995"/>
                <a:gd name="connsiteY1136" fmla="*/ 1577855 h 1718390"/>
                <a:gd name="connsiteX1137" fmla="*/ 2511504 w 3813995"/>
                <a:gd name="connsiteY1137" fmla="*/ 1592695 h 1718390"/>
                <a:gd name="connsiteX1138" fmla="*/ 2510489 w 3813995"/>
                <a:gd name="connsiteY1138" fmla="*/ 1591934 h 1718390"/>
                <a:gd name="connsiteX1139" fmla="*/ 2517212 w 3813995"/>
                <a:gd name="connsiteY1139" fmla="*/ 1591934 h 1718390"/>
                <a:gd name="connsiteX1140" fmla="*/ 2521270 w 3813995"/>
                <a:gd name="connsiteY1140" fmla="*/ 1591934 h 1718390"/>
                <a:gd name="connsiteX1141" fmla="*/ 2541691 w 3813995"/>
                <a:gd name="connsiteY1141" fmla="*/ 1591934 h 1718390"/>
                <a:gd name="connsiteX1142" fmla="*/ 2559449 w 3813995"/>
                <a:gd name="connsiteY1142" fmla="*/ 1591934 h 1718390"/>
                <a:gd name="connsiteX1143" fmla="*/ 2571625 w 3813995"/>
                <a:gd name="connsiteY1143" fmla="*/ 1591934 h 1718390"/>
                <a:gd name="connsiteX1144" fmla="*/ 2598768 w 3813995"/>
                <a:gd name="connsiteY1144" fmla="*/ 1591934 h 1718390"/>
                <a:gd name="connsiteX1145" fmla="*/ 2635424 w 3813995"/>
                <a:gd name="connsiteY1145" fmla="*/ 1591934 h 1718390"/>
                <a:gd name="connsiteX1146" fmla="*/ 2714317 w 3813995"/>
                <a:gd name="connsiteY1146" fmla="*/ 1591934 h 1718390"/>
                <a:gd name="connsiteX1147" fmla="*/ 2748055 w 3813995"/>
                <a:gd name="connsiteY1147" fmla="*/ 1591934 h 1718390"/>
                <a:gd name="connsiteX1148" fmla="*/ 2748055 w 3813995"/>
                <a:gd name="connsiteY1148" fmla="*/ 1611213 h 1718390"/>
                <a:gd name="connsiteX1149" fmla="*/ 2747041 w 3813995"/>
                <a:gd name="connsiteY1149" fmla="*/ 1610452 h 1718390"/>
                <a:gd name="connsiteX1150" fmla="*/ 2761881 w 3813995"/>
                <a:gd name="connsiteY1150" fmla="*/ 1610452 h 1718390"/>
                <a:gd name="connsiteX1151" fmla="*/ 2770125 w 3813995"/>
                <a:gd name="connsiteY1151" fmla="*/ 1610452 h 1718390"/>
                <a:gd name="connsiteX1152" fmla="*/ 2774057 w 3813995"/>
                <a:gd name="connsiteY1152" fmla="*/ 1610452 h 1718390"/>
                <a:gd name="connsiteX1153" fmla="*/ 2780652 w 3813995"/>
                <a:gd name="connsiteY1153" fmla="*/ 1610452 h 1718390"/>
                <a:gd name="connsiteX1154" fmla="*/ 2780652 w 3813995"/>
                <a:gd name="connsiteY1154" fmla="*/ 1632268 h 1718390"/>
                <a:gd name="connsiteX1155" fmla="*/ 2779638 w 3813995"/>
                <a:gd name="connsiteY1155" fmla="*/ 1631507 h 1718390"/>
                <a:gd name="connsiteX1156" fmla="*/ 2812235 w 3813995"/>
                <a:gd name="connsiteY1156" fmla="*/ 1631507 h 1718390"/>
                <a:gd name="connsiteX1157" fmla="*/ 2817689 w 3813995"/>
                <a:gd name="connsiteY1157" fmla="*/ 1631507 h 1718390"/>
                <a:gd name="connsiteX1158" fmla="*/ 2827202 w 3813995"/>
                <a:gd name="connsiteY1158" fmla="*/ 1631507 h 1718390"/>
                <a:gd name="connsiteX1159" fmla="*/ 2833924 w 3813995"/>
                <a:gd name="connsiteY1159" fmla="*/ 1631507 h 1718390"/>
                <a:gd name="connsiteX1160" fmla="*/ 2851301 w 3813995"/>
                <a:gd name="connsiteY1160" fmla="*/ 1631507 h 1718390"/>
                <a:gd name="connsiteX1161" fmla="*/ 2851301 w 3813995"/>
                <a:gd name="connsiteY1161" fmla="*/ 1658270 h 1718390"/>
                <a:gd name="connsiteX1162" fmla="*/ 2850286 w 3813995"/>
                <a:gd name="connsiteY1162" fmla="*/ 1657509 h 1718390"/>
                <a:gd name="connsiteX1163" fmla="*/ 2893791 w 3813995"/>
                <a:gd name="connsiteY1163" fmla="*/ 1657509 h 1718390"/>
                <a:gd name="connsiteX1164" fmla="*/ 2897850 w 3813995"/>
                <a:gd name="connsiteY1164" fmla="*/ 1657509 h 1718390"/>
                <a:gd name="connsiteX1165" fmla="*/ 2901909 w 3813995"/>
                <a:gd name="connsiteY1165" fmla="*/ 1657509 h 1718390"/>
                <a:gd name="connsiteX1166" fmla="*/ 3035088 w 3813995"/>
                <a:gd name="connsiteY1166" fmla="*/ 1657509 h 1718390"/>
                <a:gd name="connsiteX1167" fmla="*/ 3045996 w 3813995"/>
                <a:gd name="connsiteY1167" fmla="*/ 1657509 h 1718390"/>
                <a:gd name="connsiteX1168" fmla="*/ 3082652 w 3813995"/>
                <a:gd name="connsiteY1168" fmla="*/ 1657509 h 1718390"/>
                <a:gd name="connsiteX1169" fmla="*/ 3086838 w 3813995"/>
                <a:gd name="connsiteY1169" fmla="*/ 1657509 h 1718390"/>
                <a:gd name="connsiteX1170" fmla="*/ 3113981 w 3813995"/>
                <a:gd name="connsiteY1170" fmla="*/ 1657509 h 1718390"/>
                <a:gd name="connsiteX1171" fmla="*/ 3136811 w 3813995"/>
                <a:gd name="connsiteY1171" fmla="*/ 1657509 h 1718390"/>
                <a:gd name="connsiteX1172" fmla="*/ 3136811 w 3813995"/>
                <a:gd name="connsiteY1172" fmla="*/ 1717630 h 1718390"/>
                <a:gd name="connsiteX1173" fmla="*/ 3135797 w 3813995"/>
                <a:gd name="connsiteY1173" fmla="*/ 1716742 h 1718390"/>
                <a:gd name="connsiteX1174" fmla="*/ 3191478 w 3813995"/>
                <a:gd name="connsiteY1174" fmla="*/ 1716742 h 1718390"/>
                <a:gd name="connsiteX1175" fmla="*/ 3296119 w 3813995"/>
                <a:gd name="connsiteY1175" fmla="*/ 1716742 h 1718390"/>
                <a:gd name="connsiteX1176" fmla="*/ 3542183 w 3813995"/>
                <a:gd name="connsiteY1176" fmla="*/ 1716742 h 1718390"/>
                <a:gd name="connsiteX1177" fmla="*/ 3707959 w 3813995"/>
                <a:gd name="connsiteY1177" fmla="*/ 1716742 h 1718390"/>
                <a:gd name="connsiteX1178" fmla="*/ 3732312 w 3813995"/>
                <a:gd name="connsiteY1178" fmla="*/ 1716742 h 1718390"/>
                <a:gd name="connsiteX1179" fmla="*/ 3813996 w 3813995"/>
                <a:gd name="connsiteY1179" fmla="*/ 1716742 h 1718390"/>
                <a:gd name="connsiteX1180" fmla="*/ 3813996 w 3813995"/>
                <a:gd name="connsiteY1180" fmla="*/ 1718391 h 1718390"/>
                <a:gd name="connsiteX1181" fmla="*/ 3732312 w 3813995"/>
                <a:gd name="connsiteY1181" fmla="*/ 1718391 h 1718390"/>
                <a:gd name="connsiteX1182" fmla="*/ 3707959 w 3813995"/>
                <a:gd name="connsiteY1182" fmla="*/ 1718391 h 1718390"/>
                <a:gd name="connsiteX1183" fmla="*/ 3542183 w 3813995"/>
                <a:gd name="connsiteY1183" fmla="*/ 1718391 h 1718390"/>
                <a:gd name="connsiteX1184" fmla="*/ 3296119 w 3813995"/>
                <a:gd name="connsiteY1184" fmla="*/ 1718391 h 1718390"/>
                <a:gd name="connsiteX1185" fmla="*/ 3191478 w 3813995"/>
                <a:gd name="connsiteY1185" fmla="*/ 1718391 h 1718390"/>
                <a:gd name="connsiteX1186" fmla="*/ 3134655 w 3813995"/>
                <a:gd name="connsiteY1186" fmla="*/ 1718391 h 1718390"/>
                <a:gd name="connsiteX1187" fmla="*/ 3134655 w 3813995"/>
                <a:gd name="connsiteY1187" fmla="*/ 1658270 h 1718390"/>
                <a:gd name="connsiteX1188" fmla="*/ 3135797 w 3813995"/>
                <a:gd name="connsiteY1188" fmla="*/ 1659031 h 1718390"/>
                <a:gd name="connsiteX1189" fmla="*/ 3113981 w 3813995"/>
                <a:gd name="connsiteY1189" fmla="*/ 1659031 h 1718390"/>
                <a:gd name="connsiteX1190" fmla="*/ 3086838 w 3813995"/>
                <a:gd name="connsiteY1190" fmla="*/ 1659031 h 1718390"/>
                <a:gd name="connsiteX1191" fmla="*/ 3082652 w 3813995"/>
                <a:gd name="connsiteY1191" fmla="*/ 1659031 h 1718390"/>
                <a:gd name="connsiteX1192" fmla="*/ 3045996 w 3813995"/>
                <a:gd name="connsiteY1192" fmla="*/ 1659031 h 1718390"/>
                <a:gd name="connsiteX1193" fmla="*/ 3035088 w 3813995"/>
                <a:gd name="connsiteY1193" fmla="*/ 1659031 h 1718390"/>
                <a:gd name="connsiteX1194" fmla="*/ 2901909 w 3813995"/>
                <a:gd name="connsiteY1194" fmla="*/ 1659031 h 1718390"/>
                <a:gd name="connsiteX1195" fmla="*/ 2897850 w 3813995"/>
                <a:gd name="connsiteY1195" fmla="*/ 1659031 h 1718390"/>
                <a:gd name="connsiteX1196" fmla="*/ 2893791 w 3813995"/>
                <a:gd name="connsiteY1196" fmla="*/ 1659031 h 1718390"/>
                <a:gd name="connsiteX1197" fmla="*/ 2849145 w 3813995"/>
                <a:gd name="connsiteY1197" fmla="*/ 1659031 h 1718390"/>
                <a:gd name="connsiteX1198" fmla="*/ 2849145 w 3813995"/>
                <a:gd name="connsiteY1198" fmla="*/ 1632268 h 1718390"/>
                <a:gd name="connsiteX1199" fmla="*/ 2850286 w 3813995"/>
                <a:gd name="connsiteY1199" fmla="*/ 1633029 h 1718390"/>
                <a:gd name="connsiteX1200" fmla="*/ 2833924 w 3813995"/>
                <a:gd name="connsiteY1200" fmla="*/ 1633029 h 1718390"/>
                <a:gd name="connsiteX1201" fmla="*/ 2827202 w 3813995"/>
                <a:gd name="connsiteY1201" fmla="*/ 1633029 h 1718390"/>
                <a:gd name="connsiteX1202" fmla="*/ 2817689 w 3813995"/>
                <a:gd name="connsiteY1202" fmla="*/ 1633029 h 1718390"/>
                <a:gd name="connsiteX1203" fmla="*/ 2812235 w 3813995"/>
                <a:gd name="connsiteY1203" fmla="*/ 1633029 h 1718390"/>
                <a:gd name="connsiteX1204" fmla="*/ 2778496 w 3813995"/>
                <a:gd name="connsiteY1204" fmla="*/ 1633029 h 1718390"/>
                <a:gd name="connsiteX1205" fmla="*/ 2778496 w 3813995"/>
                <a:gd name="connsiteY1205" fmla="*/ 1611213 h 1718390"/>
                <a:gd name="connsiteX1206" fmla="*/ 2779638 w 3813995"/>
                <a:gd name="connsiteY1206" fmla="*/ 1612101 h 1718390"/>
                <a:gd name="connsiteX1207" fmla="*/ 2774057 w 3813995"/>
                <a:gd name="connsiteY1207" fmla="*/ 1612101 h 1718390"/>
                <a:gd name="connsiteX1208" fmla="*/ 2770125 w 3813995"/>
                <a:gd name="connsiteY1208" fmla="*/ 1612101 h 1718390"/>
                <a:gd name="connsiteX1209" fmla="*/ 2761881 w 3813995"/>
                <a:gd name="connsiteY1209" fmla="*/ 1612101 h 1718390"/>
                <a:gd name="connsiteX1210" fmla="*/ 2745899 w 3813995"/>
                <a:gd name="connsiteY1210" fmla="*/ 1612101 h 1718390"/>
                <a:gd name="connsiteX1211" fmla="*/ 2745899 w 3813995"/>
                <a:gd name="connsiteY1211" fmla="*/ 1592695 h 1718390"/>
                <a:gd name="connsiteX1212" fmla="*/ 2747041 w 3813995"/>
                <a:gd name="connsiteY1212" fmla="*/ 1593583 h 1718390"/>
                <a:gd name="connsiteX1213" fmla="*/ 2714317 w 3813995"/>
                <a:gd name="connsiteY1213" fmla="*/ 1593583 h 1718390"/>
                <a:gd name="connsiteX1214" fmla="*/ 2635424 w 3813995"/>
                <a:gd name="connsiteY1214" fmla="*/ 1593583 h 1718390"/>
                <a:gd name="connsiteX1215" fmla="*/ 2598768 w 3813995"/>
                <a:gd name="connsiteY1215" fmla="*/ 1593583 h 1718390"/>
                <a:gd name="connsiteX1216" fmla="*/ 2571625 w 3813995"/>
                <a:gd name="connsiteY1216" fmla="*/ 1593583 h 1718390"/>
                <a:gd name="connsiteX1217" fmla="*/ 2559449 w 3813995"/>
                <a:gd name="connsiteY1217" fmla="*/ 1593583 h 1718390"/>
                <a:gd name="connsiteX1218" fmla="*/ 2541691 w 3813995"/>
                <a:gd name="connsiteY1218" fmla="*/ 1593583 h 1718390"/>
                <a:gd name="connsiteX1219" fmla="*/ 2521270 w 3813995"/>
                <a:gd name="connsiteY1219" fmla="*/ 1593583 h 1718390"/>
                <a:gd name="connsiteX1220" fmla="*/ 2517212 w 3813995"/>
                <a:gd name="connsiteY1220" fmla="*/ 1593583 h 1718390"/>
                <a:gd name="connsiteX1221" fmla="*/ 2509348 w 3813995"/>
                <a:gd name="connsiteY1221" fmla="*/ 1593583 h 1718390"/>
                <a:gd name="connsiteX1222" fmla="*/ 2509348 w 3813995"/>
                <a:gd name="connsiteY1222" fmla="*/ 1578616 h 1718390"/>
                <a:gd name="connsiteX1223" fmla="*/ 2510489 w 3813995"/>
                <a:gd name="connsiteY1223" fmla="*/ 1579377 h 1718390"/>
                <a:gd name="connsiteX1224" fmla="*/ 2504908 w 3813995"/>
                <a:gd name="connsiteY1224" fmla="*/ 1579377 h 1718390"/>
                <a:gd name="connsiteX1225" fmla="*/ 2480556 w 3813995"/>
                <a:gd name="connsiteY1225" fmla="*/ 1579377 h 1718390"/>
                <a:gd name="connsiteX1226" fmla="*/ 2476497 w 3813995"/>
                <a:gd name="connsiteY1226" fmla="*/ 1579377 h 1718390"/>
                <a:gd name="connsiteX1227" fmla="*/ 2475102 w 3813995"/>
                <a:gd name="connsiteY1227" fmla="*/ 1579377 h 1718390"/>
                <a:gd name="connsiteX1228" fmla="*/ 2468379 w 3813995"/>
                <a:gd name="connsiteY1228" fmla="*/ 1579377 h 1718390"/>
                <a:gd name="connsiteX1229" fmla="*/ 2465589 w 3813995"/>
                <a:gd name="connsiteY1229" fmla="*/ 1579377 h 1718390"/>
                <a:gd name="connsiteX1230" fmla="*/ 2456076 w 3813995"/>
                <a:gd name="connsiteY1230" fmla="*/ 1579377 h 1718390"/>
                <a:gd name="connsiteX1231" fmla="*/ 2359807 w 3813995"/>
                <a:gd name="connsiteY1231" fmla="*/ 1579377 h 1718390"/>
                <a:gd name="connsiteX1232" fmla="*/ 2359807 w 3813995"/>
                <a:gd name="connsiteY1232" fmla="*/ 1567327 h 1718390"/>
                <a:gd name="connsiteX1233" fmla="*/ 2360948 w 3813995"/>
                <a:gd name="connsiteY1233" fmla="*/ 1568088 h 1718390"/>
                <a:gd name="connsiteX1234" fmla="*/ 2355494 w 3813995"/>
                <a:gd name="connsiteY1234" fmla="*/ 1568088 h 1718390"/>
                <a:gd name="connsiteX1235" fmla="*/ 2343191 w 3813995"/>
                <a:gd name="connsiteY1235" fmla="*/ 1568088 h 1718390"/>
                <a:gd name="connsiteX1236" fmla="*/ 2324292 w 3813995"/>
                <a:gd name="connsiteY1236" fmla="*/ 1568088 h 1718390"/>
                <a:gd name="connsiteX1237" fmla="*/ 2286495 w 3813995"/>
                <a:gd name="connsiteY1237" fmla="*/ 1568088 h 1718390"/>
                <a:gd name="connsiteX1238" fmla="*/ 2286495 w 3813995"/>
                <a:gd name="connsiteY1238" fmla="*/ 1556800 h 1718390"/>
                <a:gd name="connsiteX1239" fmla="*/ 2287509 w 3813995"/>
                <a:gd name="connsiteY1239" fmla="*/ 1557561 h 1718390"/>
                <a:gd name="connsiteX1240" fmla="*/ 2283704 w 3813995"/>
                <a:gd name="connsiteY1240" fmla="*/ 1557561 h 1718390"/>
                <a:gd name="connsiteX1241" fmla="*/ 2283704 w 3813995"/>
                <a:gd name="connsiteY1241" fmla="*/ 1546272 h 1718390"/>
                <a:gd name="connsiteX1242" fmla="*/ 2284846 w 3813995"/>
                <a:gd name="connsiteY1242" fmla="*/ 1547034 h 1718390"/>
                <a:gd name="connsiteX1243" fmla="*/ 2267215 w 3813995"/>
                <a:gd name="connsiteY1243" fmla="*/ 1547034 h 1718390"/>
                <a:gd name="connsiteX1244" fmla="*/ 2265820 w 3813995"/>
                <a:gd name="connsiteY1244" fmla="*/ 1547034 h 1718390"/>
                <a:gd name="connsiteX1245" fmla="*/ 2252502 w 3813995"/>
                <a:gd name="connsiteY1245" fmla="*/ 1547034 h 1718390"/>
                <a:gd name="connsiteX1246" fmla="*/ 2252502 w 3813995"/>
                <a:gd name="connsiteY1246" fmla="*/ 1536126 h 1718390"/>
                <a:gd name="connsiteX1247" fmla="*/ 2253517 w 3813995"/>
                <a:gd name="connsiteY1247" fmla="*/ 1536887 h 1718390"/>
                <a:gd name="connsiteX1248" fmla="*/ 2251107 w 3813995"/>
                <a:gd name="connsiteY1248" fmla="*/ 1536887 h 1718390"/>
                <a:gd name="connsiteX1249" fmla="*/ 2251107 w 3813995"/>
                <a:gd name="connsiteY1249" fmla="*/ 1525979 h 1718390"/>
                <a:gd name="connsiteX1250" fmla="*/ 2252122 w 3813995"/>
                <a:gd name="connsiteY1250" fmla="*/ 1526740 h 1718390"/>
                <a:gd name="connsiteX1251" fmla="*/ 2239946 w 3813995"/>
                <a:gd name="connsiteY1251" fmla="*/ 1526740 h 1718390"/>
                <a:gd name="connsiteX1252" fmla="*/ 2189591 w 3813995"/>
                <a:gd name="connsiteY1252" fmla="*/ 1526740 h 1718390"/>
                <a:gd name="connsiteX1253" fmla="*/ 2170692 w 3813995"/>
                <a:gd name="connsiteY1253" fmla="*/ 1526740 h 1718390"/>
                <a:gd name="connsiteX1254" fmla="*/ 2163843 w 3813995"/>
                <a:gd name="connsiteY1254" fmla="*/ 1526740 h 1718390"/>
                <a:gd name="connsiteX1255" fmla="*/ 2072774 w 3813995"/>
                <a:gd name="connsiteY1255" fmla="*/ 1526740 h 1718390"/>
                <a:gd name="connsiteX1256" fmla="*/ 2070110 w 3813995"/>
                <a:gd name="connsiteY1256" fmla="*/ 1526740 h 1718390"/>
                <a:gd name="connsiteX1257" fmla="*/ 2028127 w 3813995"/>
                <a:gd name="connsiteY1257" fmla="*/ 1526740 h 1718390"/>
                <a:gd name="connsiteX1258" fmla="*/ 2028127 w 3813995"/>
                <a:gd name="connsiteY1258" fmla="*/ 1516846 h 1718390"/>
                <a:gd name="connsiteX1259" fmla="*/ 2029269 w 3813995"/>
                <a:gd name="connsiteY1259" fmla="*/ 1517607 h 1718390"/>
                <a:gd name="connsiteX1260" fmla="*/ 2008848 w 3813995"/>
                <a:gd name="connsiteY1260" fmla="*/ 1517607 h 1718390"/>
                <a:gd name="connsiteX1261" fmla="*/ 1999335 w 3813995"/>
                <a:gd name="connsiteY1261" fmla="*/ 1517607 h 1718390"/>
                <a:gd name="connsiteX1262" fmla="*/ 1992613 w 3813995"/>
                <a:gd name="connsiteY1262" fmla="*/ 1517607 h 1718390"/>
                <a:gd name="connsiteX1263" fmla="*/ 1976505 w 3813995"/>
                <a:gd name="connsiteY1263" fmla="*/ 1517607 h 1718390"/>
                <a:gd name="connsiteX1264" fmla="*/ 1976505 w 3813995"/>
                <a:gd name="connsiteY1264" fmla="*/ 1508095 h 1718390"/>
                <a:gd name="connsiteX1265" fmla="*/ 1977519 w 3813995"/>
                <a:gd name="connsiteY1265" fmla="*/ 1508856 h 1718390"/>
                <a:gd name="connsiteX1266" fmla="*/ 1972192 w 3813995"/>
                <a:gd name="connsiteY1266" fmla="*/ 1508856 h 1718390"/>
                <a:gd name="connsiteX1267" fmla="*/ 1947966 w 3813995"/>
                <a:gd name="connsiteY1267" fmla="*/ 1508856 h 1718390"/>
                <a:gd name="connsiteX1268" fmla="*/ 1947966 w 3813995"/>
                <a:gd name="connsiteY1268" fmla="*/ 1499850 h 1718390"/>
                <a:gd name="connsiteX1269" fmla="*/ 1949108 w 3813995"/>
                <a:gd name="connsiteY1269" fmla="*/ 1500611 h 1718390"/>
                <a:gd name="connsiteX1270" fmla="*/ 1915115 w 3813995"/>
                <a:gd name="connsiteY1270" fmla="*/ 1500611 h 1718390"/>
                <a:gd name="connsiteX1271" fmla="*/ 1901797 w 3813995"/>
                <a:gd name="connsiteY1271" fmla="*/ 1500611 h 1718390"/>
                <a:gd name="connsiteX1272" fmla="*/ 1901797 w 3813995"/>
                <a:gd name="connsiteY1272" fmla="*/ 1491606 h 1718390"/>
                <a:gd name="connsiteX1273" fmla="*/ 1902812 w 3813995"/>
                <a:gd name="connsiteY1273" fmla="*/ 1492367 h 1718390"/>
                <a:gd name="connsiteX1274" fmla="*/ 1893426 w 3813995"/>
                <a:gd name="connsiteY1274" fmla="*/ 1492367 h 1718390"/>
                <a:gd name="connsiteX1275" fmla="*/ 1883787 w 3813995"/>
                <a:gd name="connsiteY1275" fmla="*/ 1492367 h 1718390"/>
                <a:gd name="connsiteX1276" fmla="*/ 1882518 w 3813995"/>
                <a:gd name="connsiteY1276" fmla="*/ 1492367 h 1718390"/>
                <a:gd name="connsiteX1277" fmla="*/ 1878713 w 3813995"/>
                <a:gd name="connsiteY1277" fmla="*/ 1492367 h 1718390"/>
                <a:gd name="connsiteX1278" fmla="*/ 1878713 w 3813995"/>
                <a:gd name="connsiteY1278" fmla="*/ 1483742 h 1718390"/>
                <a:gd name="connsiteX1279" fmla="*/ 1879728 w 3813995"/>
                <a:gd name="connsiteY1279" fmla="*/ 1484503 h 1718390"/>
                <a:gd name="connsiteX1280" fmla="*/ 1871864 w 3813995"/>
                <a:gd name="connsiteY1280" fmla="*/ 1484503 h 1718390"/>
                <a:gd name="connsiteX1281" fmla="*/ 1871864 w 3813995"/>
                <a:gd name="connsiteY1281" fmla="*/ 1476005 h 1718390"/>
                <a:gd name="connsiteX1282" fmla="*/ 1872879 w 3813995"/>
                <a:gd name="connsiteY1282" fmla="*/ 1476766 h 1718390"/>
                <a:gd name="connsiteX1283" fmla="*/ 1864761 w 3813995"/>
                <a:gd name="connsiteY1283" fmla="*/ 1476766 h 1718390"/>
                <a:gd name="connsiteX1284" fmla="*/ 1860702 w 3813995"/>
                <a:gd name="connsiteY1284" fmla="*/ 1476766 h 1718390"/>
                <a:gd name="connsiteX1285" fmla="*/ 1856897 w 3813995"/>
                <a:gd name="connsiteY1285" fmla="*/ 1476766 h 1718390"/>
                <a:gd name="connsiteX1286" fmla="*/ 1856897 w 3813995"/>
                <a:gd name="connsiteY1286" fmla="*/ 1468394 h 1718390"/>
                <a:gd name="connsiteX1287" fmla="*/ 1858039 w 3813995"/>
                <a:gd name="connsiteY1287" fmla="*/ 1469155 h 1718390"/>
                <a:gd name="connsiteX1288" fmla="*/ 1856643 w 3813995"/>
                <a:gd name="connsiteY1288" fmla="*/ 1469155 h 1718390"/>
                <a:gd name="connsiteX1289" fmla="*/ 1839267 w 3813995"/>
                <a:gd name="connsiteY1289" fmla="*/ 1469155 h 1718390"/>
                <a:gd name="connsiteX1290" fmla="*/ 1839267 w 3813995"/>
                <a:gd name="connsiteY1290" fmla="*/ 1460911 h 1718390"/>
                <a:gd name="connsiteX1291" fmla="*/ 1840281 w 3813995"/>
                <a:gd name="connsiteY1291" fmla="*/ 1461672 h 1718390"/>
                <a:gd name="connsiteX1292" fmla="*/ 1838886 w 3813995"/>
                <a:gd name="connsiteY1292" fmla="*/ 1461672 h 1718390"/>
                <a:gd name="connsiteX1293" fmla="*/ 1835208 w 3813995"/>
                <a:gd name="connsiteY1293" fmla="*/ 1461672 h 1718390"/>
                <a:gd name="connsiteX1294" fmla="*/ 1835208 w 3813995"/>
                <a:gd name="connsiteY1294" fmla="*/ 1453554 h 1718390"/>
                <a:gd name="connsiteX1295" fmla="*/ 1836349 w 3813995"/>
                <a:gd name="connsiteY1295" fmla="*/ 1454315 h 1718390"/>
                <a:gd name="connsiteX1296" fmla="*/ 1825315 w 3813995"/>
                <a:gd name="connsiteY1296" fmla="*/ 1454315 h 1718390"/>
                <a:gd name="connsiteX1297" fmla="*/ 1819987 w 3813995"/>
                <a:gd name="connsiteY1297" fmla="*/ 1454315 h 1718390"/>
                <a:gd name="connsiteX1298" fmla="*/ 1796903 w 3813995"/>
                <a:gd name="connsiteY1298" fmla="*/ 1454315 h 1718390"/>
                <a:gd name="connsiteX1299" fmla="*/ 1779146 w 3813995"/>
                <a:gd name="connsiteY1299" fmla="*/ 1454315 h 1718390"/>
                <a:gd name="connsiteX1300" fmla="*/ 1760374 w 3813995"/>
                <a:gd name="connsiteY1300" fmla="*/ 1454315 h 1718390"/>
                <a:gd name="connsiteX1301" fmla="*/ 1760374 w 3813995"/>
                <a:gd name="connsiteY1301" fmla="*/ 1446578 h 1718390"/>
                <a:gd name="connsiteX1302" fmla="*/ 1761515 w 3813995"/>
                <a:gd name="connsiteY1302" fmla="*/ 1447339 h 1718390"/>
                <a:gd name="connsiteX1303" fmla="*/ 1738431 w 3813995"/>
                <a:gd name="connsiteY1303" fmla="*/ 1447339 h 1718390"/>
                <a:gd name="connsiteX1304" fmla="*/ 1731582 w 3813995"/>
                <a:gd name="connsiteY1304" fmla="*/ 1447339 h 1718390"/>
                <a:gd name="connsiteX1305" fmla="*/ 1723718 w 3813995"/>
                <a:gd name="connsiteY1305" fmla="*/ 1447339 h 1718390"/>
                <a:gd name="connsiteX1306" fmla="*/ 1723718 w 3813995"/>
                <a:gd name="connsiteY1306" fmla="*/ 1439602 h 1718390"/>
                <a:gd name="connsiteX1307" fmla="*/ 1724733 w 3813995"/>
                <a:gd name="connsiteY1307" fmla="*/ 1440363 h 1718390"/>
                <a:gd name="connsiteX1308" fmla="*/ 1723464 w 3813995"/>
                <a:gd name="connsiteY1308" fmla="*/ 1440363 h 1718390"/>
                <a:gd name="connsiteX1309" fmla="*/ 1718010 w 3813995"/>
                <a:gd name="connsiteY1309" fmla="*/ 1440363 h 1718390"/>
                <a:gd name="connsiteX1310" fmla="*/ 1710020 w 3813995"/>
                <a:gd name="connsiteY1310" fmla="*/ 1440363 h 1718390"/>
                <a:gd name="connsiteX1311" fmla="*/ 1710020 w 3813995"/>
                <a:gd name="connsiteY1311" fmla="*/ 1432880 h 1718390"/>
                <a:gd name="connsiteX1312" fmla="*/ 1711161 w 3813995"/>
                <a:gd name="connsiteY1312" fmla="*/ 1433641 h 1718390"/>
                <a:gd name="connsiteX1313" fmla="*/ 1705834 w 3813995"/>
                <a:gd name="connsiteY1313" fmla="*/ 1433641 h 1718390"/>
                <a:gd name="connsiteX1314" fmla="*/ 1703043 w 3813995"/>
                <a:gd name="connsiteY1314" fmla="*/ 1433641 h 1718390"/>
                <a:gd name="connsiteX1315" fmla="*/ 1694926 w 3813995"/>
                <a:gd name="connsiteY1315" fmla="*/ 1433641 h 1718390"/>
                <a:gd name="connsiteX1316" fmla="*/ 1679959 w 3813995"/>
                <a:gd name="connsiteY1316" fmla="*/ 1433641 h 1718390"/>
                <a:gd name="connsiteX1317" fmla="*/ 1668036 w 3813995"/>
                <a:gd name="connsiteY1317" fmla="*/ 1433641 h 1718390"/>
                <a:gd name="connsiteX1318" fmla="*/ 1668036 w 3813995"/>
                <a:gd name="connsiteY1318" fmla="*/ 1419943 h 1718390"/>
                <a:gd name="connsiteX1319" fmla="*/ 1669051 w 3813995"/>
                <a:gd name="connsiteY1319" fmla="*/ 1420704 h 1718390"/>
                <a:gd name="connsiteX1320" fmla="*/ 1661187 w 3813995"/>
                <a:gd name="connsiteY1320" fmla="*/ 1420704 h 1718390"/>
                <a:gd name="connsiteX1321" fmla="*/ 1661187 w 3813995"/>
                <a:gd name="connsiteY1321" fmla="*/ 1413474 h 1718390"/>
                <a:gd name="connsiteX1322" fmla="*/ 1662202 w 3813995"/>
                <a:gd name="connsiteY1322" fmla="*/ 1414235 h 1718390"/>
                <a:gd name="connsiteX1323" fmla="*/ 1647362 w 3813995"/>
                <a:gd name="connsiteY1323" fmla="*/ 1414235 h 1718390"/>
                <a:gd name="connsiteX1324" fmla="*/ 1641908 w 3813995"/>
                <a:gd name="connsiteY1324" fmla="*/ 1414235 h 1718390"/>
                <a:gd name="connsiteX1325" fmla="*/ 1637976 w 3813995"/>
                <a:gd name="connsiteY1325" fmla="*/ 1414235 h 1718390"/>
                <a:gd name="connsiteX1326" fmla="*/ 1637976 w 3813995"/>
                <a:gd name="connsiteY1326" fmla="*/ 1407132 h 1718390"/>
                <a:gd name="connsiteX1327" fmla="*/ 1639117 w 3813995"/>
                <a:gd name="connsiteY1327" fmla="*/ 1407893 h 1718390"/>
                <a:gd name="connsiteX1328" fmla="*/ 1636454 w 3813995"/>
                <a:gd name="connsiteY1328" fmla="*/ 1407893 h 1718390"/>
                <a:gd name="connsiteX1329" fmla="*/ 1633790 w 3813995"/>
                <a:gd name="connsiteY1329" fmla="*/ 1407893 h 1718390"/>
                <a:gd name="connsiteX1330" fmla="*/ 1625546 w 3813995"/>
                <a:gd name="connsiteY1330" fmla="*/ 1407893 h 1718390"/>
                <a:gd name="connsiteX1331" fmla="*/ 1620092 w 3813995"/>
                <a:gd name="connsiteY1331" fmla="*/ 1407893 h 1718390"/>
                <a:gd name="connsiteX1332" fmla="*/ 1605379 w 3813995"/>
                <a:gd name="connsiteY1332" fmla="*/ 1407893 h 1718390"/>
                <a:gd name="connsiteX1333" fmla="*/ 1605379 w 3813995"/>
                <a:gd name="connsiteY1333" fmla="*/ 1401044 h 1718390"/>
                <a:gd name="connsiteX1334" fmla="*/ 1606520 w 3813995"/>
                <a:gd name="connsiteY1334" fmla="*/ 1401805 h 1718390"/>
                <a:gd name="connsiteX1335" fmla="*/ 1602715 w 3813995"/>
                <a:gd name="connsiteY1335" fmla="*/ 1401805 h 1718390"/>
                <a:gd name="connsiteX1336" fmla="*/ 1602715 w 3813995"/>
                <a:gd name="connsiteY1336" fmla="*/ 1394956 h 1718390"/>
                <a:gd name="connsiteX1337" fmla="*/ 1603730 w 3813995"/>
                <a:gd name="connsiteY1337" fmla="*/ 1395717 h 1718390"/>
                <a:gd name="connsiteX1338" fmla="*/ 1595612 w 3813995"/>
                <a:gd name="connsiteY1338" fmla="*/ 1395717 h 1718390"/>
                <a:gd name="connsiteX1339" fmla="*/ 1592949 w 3813995"/>
                <a:gd name="connsiteY1339" fmla="*/ 1395717 h 1718390"/>
                <a:gd name="connsiteX1340" fmla="*/ 1580645 w 3813995"/>
                <a:gd name="connsiteY1340" fmla="*/ 1395717 h 1718390"/>
                <a:gd name="connsiteX1341" fmla="*/ 1575572 w 3813995"/>
                <a:gd name="connsiteY1341" fmla="*/ 1395717 h 1718390"/>
                <a:gd name="connsiteX1342" fmla="*/ 1575572 w 3813995"/>
                <a:gd name="connsiteY1342" fmla="*/ 1388994 h 1718390"/>
                <a:gd name="connsiteX1343" fmla="*/ 1576714 w 3813995"/>
                <a:gd name="connsiteY1343" fmla="*/ 1389882 h 1718390"/>
                <a:gd name="connsiteX1344" fmla="*/ 1564410 w 3813995"/>
                <a:gd name="connsiteY1344" fmla="*/ 1389882 h 1718390"/>
                <a:gd name="connsiteX1345" fmla="*/ 1560605 w 3813995"/>
                <a:gd name="connsiteY1345" fmla="*/ 1389882 h 1718390"/>
                <a:gd name="connsiteX1346" fmla="*/ 1560605 w 3813995"/>
                <a:gd name="connsiteY1346" fmla="*/ 1383287 h 1718390"/>
                <a:gd name="connsiteX1347" fmla="*/ 1561620 w 3813995"/>
                <a:gd name="connsiteY1347" fmla="*/ 1384048 h 1718390"/>
                <a:gd name="connsiteX1348" fmla="*/ 1542975 w 3813995"/>
                <a:gd name="connsiteY1348" fmla="*/ 1384048 h 1718390"/>
                <a:gd name="connsiteX1349" fmla="*/ 1542975 w 3813995"/>
                <a:gd name="connsiteY1349" fmla="*/ 1377452 h 1718390"/>
                <a:gd name="connsiteX1350" fmla="*/ 1544116 w 3813995"/>
                <a:gd name="connsiteY1350" fmla="*/ 1378340 h 1718390"/>
                <a:gd name="connsiteX1351" fmla="*/ 1509997 w 3813995"/>
                <a:gd name="connsiteY1351" fmla="*/ 1378340 h 1718390"/>
                <a:gd name="connsiteX1352" fmla="*/ 1491225 w 3813995"/>
                <a:gd name="connsiteY1352" fmla="*/ 1378340 h 1718390"/>
                <a:gd name="connsiteX1353" fmla="*/ 1491225 w 3813995"/>
                <a:gd name="connsiteY1353" fmla="*/ 1371745 h 1718390"/>
                <a:gd name="connsiteX1354" fmla="*/ 1492367 w 3813995"/>
                <a:gd name="connsiteY1354" fmla="*/ 1372632 h 1718390"/>
                <a:gd name="connsiteX1355" fmla="*/ 1477654 w 3813995"/>
                <a:gd name="connsiteY1355" fmla="*/ 1372632 h 1718390"/>
                <a:gd name="connsiteX1356" fmla="*/ 1477654 w 3813995"/>
                <a:gd name="connsiteY1356" fmla="*/ 1366037 h 1718390"/>
                <a:gd name="connsiteX1357" fmla="*/ 1478795 w 3813995"/>
                <a:gd name="connsiteY1357" fmla="*/ 1366925 h 1718390"/>
                <a:gd name="connsiteX1358" fmla="*/ 1469282 w 3813995"/>
                <a:gd name="connsiteY1358" fmla="*/ 1366925 h 1718390"/>
                <a:gd name="connsiteX1359" fmla="*/ 1460023 w 3813995"/>
                <a:gd name="connsiteY1359" fmla="*/ 1366925 h 1718390"/>
                <a:gd name="connsiteX1360" fmla="*/ 1460023 w 3813995"/>
                <a:gd name="connsiteY1360" fmla="*/ 1360329 h 1718390"/>
                <a:gd name="connsiteX1361" fmla="*/ 1461165 w 3813995"/>
                <a:gd name="connsiteY1361" fmla="*/ 1361217 h 1718390"/>
                <a:gd name="connsiteX1362" fmla="*/ 1451779 w 3813995"/>
                <a:gd name="connsiteY1362" fmla="*/ 1361217 h 1718390"/>
                <a:gd name="connsiteX1363" fmla="*/ 1451779 w 3813995"/>
                <a:gd name="connsiteY1363" fmla="*/ 1354748 h 1718390"/>
                <a:gd name="connsiteX1364" fmla="*/ 1452920 w 3813995"/>
                <a:gd name="connsiteY1364" fmla="*/ 1355509 h 1718390"/>
                <a:gd name="connsiteX1365" fmla="*/ 1417787 w 3813995"/>
                <a:gd name="connsiteY1365" fmla="*/ 1355509 h 1718390"/>
                <a:gd name="connsiteX1366" fmla="*/ 1417787 w 3813995"/>
                <a:gd name="connsiteY1366" fmla="*/ 1349041 h 1718390"/>
                <a:gd name="connsiteX1367" fmla="*/ 1418928 w 3813995"/>
                <a:gd name="connsiteY1367" fmla="*/ 1349928 h 1718390"/>
                <a:gd name="connsiteX1368" fmla="*/ 1373013 w 3813995"/>
                <a:gd name="connsiteY1368" fmla="*/ 1349928 h 1718390"/>
                <a:gd name="connsiteX1369" fmla="*/ 1373013 w 3813995"/>
                <a:gd name="connsiteY1369" fmla="*/ 1343460 h 1718390"/>
                <a:gd name="connsiteX1370" fmla="*/ 1374155 w 3813995"/>
                <a:gd name="connsiteY1370" fmla="*/ 1344221 h 1718390"/>
                <a:gd name="connsiteX1371" fmla="*/ 1364895 w 3813995"/>
                <a:gd name="connsiteY1371" fmla="*/ 1344221 h 1718390"/>
                <a:gd name="connsiteX1372" fmla="*/ 1364895 w 3813995"/>
                <a:gd name="connsiteY1372" fmla="*/ 1337752 h 1718390"/>
                <a:gd name="connsiteX1373" fmla="*/ 1365910 w 3813995"/>
                <a:gd name="connsiteY1373" fmla="*/ 1338513 h 1718390"/>
                <a:gd name="connsiteX1374" fmla="*/ 1355129 w 3813995"/>
                <a:gd name="connsiteY1374" fmla="*/ 1338513 h 1718390"/>
                <a:gd name="connsiteX1375" fmla="*/ 1349675 w 3813995"/>
                <a:gd name="connsiteY1375" fmla="*/ 1338513 h 1718390"/>
                <a:gd name="connsiteX1376" fmla="*/ 1333313 w 3813995"/>
                <a:gd name="connsiteY1376" fmla="*/ 1338513 h 1718390"/>
                <a:gd name="connsiteX1377" fmla="*/ 1322405 w 3813995"/>
                <a:gd name="connsiteY1377" fmla="*/ 1338513 h 1718390"/>
                <a:gd name="connsiteX1378" fmla="*/ 1321137 w 3813995"/>
                <a:gd name="connsiteY1378" fmla="*/ 1338513 h 1718390"/>
                <a:gd name="connsiteX1379" fmla="*/ 1315683 w 3813995"/>
                <a:gd name="connsiteY1379" fmla="*/ 1338513 h 1718390"/>
                <a:gd name="connsiteX1380" fmla="*/ 1314287 w 3813995"/>
                <a:gd name="connsiteY1380" fmla="*/ 1338513 h 1718390"/>
                <a:gd name="connsiteX1381" fmla="*/ 1308833 w 3813995"/>
                <a:gd name="connsiteY1381" fmla="*/ 1338513 h 1718390"/>
                <a:gd name="connsiteX1382" fmla="*/ 1306170 w 3813995"/>
                <a:gd name="connsiteY1382" fmla="*/ 1338513 h 1718390"/>
                <a:gd name="connsiteX1383" fmla="*/ 1304775 w 3813995"/>
                <a:gd name="connsiteY1383" fmla="*/ 1338513 h 1718390"/>
                <a:gd name="connsiteX1384" fmla="*/ 1303379 w 3813995"/>
                <a:gd name="connsiteY1384" fmla="*/ 1338513 h 1718390"/>
                <a:gd name="connsiteX1385" fmla="*/ 1295262 w 3813995"/>
                <a:gd name="connsiteY1385" fmla="*/ 1338513 h 1718390"/>
                <a:gd name="connsiteX1386" fmla="*/ 1290061 w 3813995"/>
                <a:gd name="connsiteY1386" fmla="*/ 1338513 h 1718390"/>
                <a:gd name="connsiteX1387" fmla="*/ 1290061 w 3813995"/>
                <a:gd name="connsiteY1387" fmla="*/ 1332679 h 1718390"/>
                <a:gd name="connsiteX1388" fmla="*/ 1291203 w 3813995"/>
                <a:gd name="connsiteY1388" fmla="*/ 1333440 h 1718390"/>
                <a:gd name="connsiteX1389" fmla="*/ 1283085 w 3813995"/>
                <a:gd name="connsiteY1389" fmla="*/ 1333440 h 1718390"/>
                <a:gd name="connsiteX1390" fmla="*/ 1274968 w 3813995"/>
                <a:gd name="connsiteY1390" fmla="*/ 1333440 h 1718390"/>
                <a:gd name="connsiteX1391" fmla="*/ 1273573 w 3813995"/>
                <a:gd name="connsiteY1391" fmla="*/ 1333440 h 1718390"/>
                <a:gd name="connsiteX1392" fmla="*/ 1268119 w 3813995"/>
                <a:gd name="connsiteY1392" fmla="*/ 1333440 h 1718390"/>
                <a:gd name="connsiteX1393" fmla="*/ 1262918 w 3813995"/>
                <a:gd name="connsiteY1393" fmla="*/ 1333440 h 1718390"/>
                <a:gd name="connsiteX1394" fmla="*/ 1262918 w 3813995"/>
                <a:gd name="connsiteY1394" fmla="*/ 1327605 h 1718390"/>
                <a:gd name="connsiteX1395" fmla="*/ 1263933 w 3813995"/>
                <a:gd name="connsiteY1395" fmla="*/ 1328366 h 1718390"/>
                <a:gd name="connsiteX1396" fmla="*/ 1257211 w 3813995"/>
                <a:gd name="connsiteY1396" fmla="*/ 1328366 h 1718390"/>
                <a:gd name="connsiteX1397" fmla="*/ 1250742 w 3813995"/>
                <a:gd name="connsiteY1397" fmla="*/ 1328366 h 1718390"/>
                <a:gd name="connsiteX1398" fmla="*/ 1250742 w 3813995"/>
                <a:gd name="connsiteY1398" fmla="*/ 1322658 h 1718390"/>
                <a:gd name="connsiteX1399" fmla="*/ 1251757 w 3813995"/>
                <a:gd name="connsiteY1399" fmla="*/ 1323419 h 1718390"/>
                <a:gd name="connsiteX1400" fmla="*/ 1227531 w 3813995"/>
                <a:gd name="connsiteY1400" fmla="*/ 1323419 h 1718390"/>
                <a:gd name="connsiteX1401" fmla="*/ 1227531 w 3813995"/>
                <a:gd name="connsiteY1401" fmla="*/ 1317712 h 1718390"/>
                <a:gd name="connsiteX1402" fmla="*/ 1228672 w 3813995"/>
                <a:gd name="connsiteY1402" fmla="*/ 1318473 h 1718390"/>
                <a:gd name="connsiteX1403" fmla="*/ 1226009 w 3813995"/>
                <a:gd name="connsiteY1403" fmla="*/ 1318473 h 1718390"/>
                <a:gd name="connsiteX1404" fmla="*/ 1217764 w 3813995"/>
                <a:gd name="connsiteY1404" fmla="*/ 1318473 h 1718390"/>
                <a:gd name="connsiteX1405" fmla="*/ 1212691 w 3813995"/>
                <a:gd name="connsiteY1405" fmla="*/ 1318473 h 1718390"/>
                <a:gd name="connsiteX1406" fmla="*/ 1212691 w 3813995"/>
                <a:gd name="connsiteY1406" fmla="*/ 1312765 h 1718390"/>
                <a:gd name="connsiteX1407" fmla="*/ 1213705 w 3813995"/>
                <a:gd name="connsiteY1407" fmla="*/ 1313526 h 1718390"/>
                <a:gd name="connsiteX1408" fmla="*/ 1198739 w 3813995"/>
                <a:gd name="connsiteY1408" fmla="*/ 1313526 h 1718390"/>
                <a:gd name="connsiteX1409" fmla="*/ 1185167 w 3813995"/>
                <a:gd name="connsiteY1409" fmla="*/ 1313526 h 1718390"/>
                <a:gd name="connsiteX1410" fmla="*/ 1178698 w 3813995"/>
                <a:gd name="connsiteY1410" fmla="*/ 1313526 h 1718390"/>
                <a:gd name="connsiteX1411" fmla="*/ 1178698 w 3813995"/>
                <a:gd name="connsiteY1411" fmla="*/ 1307945 h 1718390"/>
                <a:gd name="connsiteX1412" fmla="*/ 1179713 w 3813995"/>
                <a:gd name="connsiteY1412" fmla="*/ 1308706 h 1718390"/>
                <a:gd name="connsiteX1413" fmla="*/ 1177050 w 3813995"/>
                <a:gd name="connsiteY1413" fmla="*/ 1308706 h 1718390"/>
                <a:gd name="connsiteX1414" fmla="*/ 1167790 w 3813995"/>
                <a:gd name="connsiteY1414" fmla="*/ 1308706 h 1718390"/>
                <a:gd name="connsiteX1415" fmla="*/ 1167790 w 3813995"/>
                <a:gd name="connsiteY1415" fmla="*/ 1298433 h 1718390"/>
                <a:gd name="connsiteX1416" fmla="*/ 1168932 w 3813995"/>
                <a:gd name="connsiteY1416" fmla="*/ 1299194 h 1718390"/>
                <a:gd name="connsiteX1417" fmla="*/ 1159292 w 3813995"/>
                <a:gd name="connsiteY1417" fmla="*/ 1299194 h 1718390"/>
                <a:gd name="connsiteX1418" fmla="*/ 1156629 w 3813995"/>
                <a:gd name="connsiteY1418" fmla="*/ 1299194 h 1718390"/>
                <a:gd name="connsiteX1419" fmla="*/ 1145848 w 3813995"/>
                <a:gd name="connsiteY1419" fmla="*/ 1299194 h 1718390"/>
                <a:gd name="connsiteX1420" fmla="*/ 1137857 w 3813995"/>
                <a:gd name="connsiteY1420" fmla="*/ 1299194 h 1718390"/>
                <a:gd name="connsiteX1421" fmla="*/ 1137857 w 3813995"/>
                <a:gd name="connsiteY1421" fmla="*/ 1289047 h 1718390"/>
                <a:gd name="connsiteX1422" fmla="*/ 1138998 w 3813995"/>
                <a:gd name="connsiteY1422" fmla="*/ 1289808 h 1718390"/>
                <a:gd name="connsiteX1423" fmla="*/ 1126949 w 3813995"/>
                <a:gd name="connsiteY1423" fmla="*/ 1289808 h 1718390"/>
                <a:gd name="connsiteX1424" fmla="*/ 1126949 w 3813995"/>
                <a:gd name="connsiteY1424" fmla="*/ 1284354 h 1718390"/>
                <a:gd name="connsiteX1425" fmla="*/ 1128090 w 3813995"/>
                <a:gd name="connsiteY1425" fmla="*/ 1285115 h 1718390"/>
                <a:gd name="connsiteX1426" fmla="*/ 1124285 w 3813995"/>
                <a:gd name="connsiteY1426" fmla="*/ 1285115 h 1718390"/>
                <a:gd name="connsiteX1427" fmla="*/ 1124285 w 3813995"/>
                <a:gd name="connsiteY1427" fmla="*/ 1279661 h 1718390"/>
                <a:gd name="connsiteX1428" fmla="*/ 1125300 w 3813995"/>
                <a:gd name="connsiteY1428" fmla="*/ 1280549 h 1718390"/>
                <a:gd name="connsiteX1429" fmla="*/ 1119973 w 3813995"/>
                <a:gd name="connsiteY1429" fmla="*/ 1280549 h 1718390"/>
                <a:gd name="connsiteX1430" fmla="*/ 1115787 w 3813995"/>
                <a:gd name="connsiteY1430" fmla="*/ 1280549 h 1718390"/>
                <a:gd name="connsiteX1431" fmla="*/ 1113377 w 3813995"/>
                <a:gd name="connsiteY1431" fmla="*/ 1280549 h 1718390"/>
                <a:gd name="connsiteX1432" fmla="*/ 1113377 w 3813995"/>
                <a:gd name="connsiteY1432" fmla="*/ 1270528 h 1718390"/>
                <a:gd name="connsiteX1433" fmla="*/ 1114519 w 3813995"/>
                <a:gd name="connsiteY1433" fmla="*/ 1271289 h 1718390"/>
                <a:gd name="connsiteX1434" fmla="*/ 1111982 w 3813995"/>
                <a:gd name="connsiteY1434" fmla="*/ 1271289 h 1718390"/>
                <a:gd name="connsiteX1435" fmla="*/ 1111982 w 3813995"/>
                <a:gd name="connsiteY1435" fmla="*/ 1265835 h 1718390"/>
                <a:gd name="connsiteX1436" fmla="*/ 1113124 w 3813995"/>
                <a:gd name="connsiteY1436" fmla="*/ 1266723 h 1718390"/>
                <a:gd name="connsiteX1437" fmla="*/ 1106274 w 3813995"/>
                <a:gd name="connsiteY1437" fmla="*/ 1266723 h 1718390"/>
                <a:gd name="connsiteX1438" fmla="*/ 1103864 w 3813995"/>
                <a:gd name="connsiteY1438" fmla="*/ 1266723 h 1718390"/>
                <a:gd name="connsiteX1439" fmla="*/ 1103864 w 3813995"/>
                <a:gd name="connsiteY1439" fmla="*/ 1261269 h 1718390"/>
                <a:gd name="connsiteX1440" fmla="*/ 1105006 w 3813995"/>
                <a:gd name="connsiteY1440" fmla="*/ 1262030 h 1718390"/>
                <a:gd name="connsiteX1441" fmla="*/ 1099552 w 3813995"/>
                <a:gd name="connsiteY1441" fmla="*/ 1262030 h 1718390"/>
                <a:gd name="connsiteX1442" fmla="*/ 1086234 w 3813995"/>
                <a:gd name="connsiteY1442" fmla="*/ 1262030 h 1718390"/>
                <a:gd name="connsiteX1443" fmla="*/ 1086234 w 3813995"/>
                <a:gd name="connsiteY1443" fmla="*/ 1256703 h 1718390"/>
                <a:gd name="connsiteX1444" fmla="*/ 1087376 w 3813995"/>
                <a:gd name="connsiteY1444" fmla="*/ 1257591 h 1718390"/>
                <a:gd name="connsiteX1445" fmla="*/ 1083190 w 3813995"/>
                <a:gd name="connsiteY1445" fmla="*/ 1257591 h 1718390"/>
                <a:gd name="connsiteX1446" fmla="*/ 1075326 w 3813995"/>
                <a:gd name="connsiteY1446" fmla="*/ 1257591 h 1718390"/>
                <a:gd name="connsiteX1447" fmla="*/ 1075326 w 3813995"/>
                <a:gd name="connsiteY1447" fmla="*/ 1252137 h 1718390"/>
                <a:gd name="connsiteX1448" fmla="*/ 1076468 w 3813995"/>
                <a:gd name="connsiteY1448" fmla="*/ 1252898 h 1718390"/>
                <a:gd name="connsiteX1449" fmla="*/ 1071267 w 3813995"/>
                <a:gd name="connsiteY1449" fmla="*/ 1252898 h 1718390"/>
                <a:gd name="connsiteX1450" fmla="*/ 1071267 w 3813995"/>
                <a:gd name="connsiteY1450" fmla="*/ 1247571 h 1718390"/>
                <a:gd name="connsiteX1451" fmla="*/ 1072409 w 3813995"/>
                <a:gd name="connsiteY1451" fmla="*/ 1248459 h 1718390"/>
                <a:gd name="connsiteX1452" fmla="*/ 1065813 w 3813995"/>
                <a:gd name="connsiteY1452" fmla="*/ 1248459 h 1718390"/>
                <a:gd name="connsiteX1453" fmla="*/ 1065813 w 3813995"/>
                <a:gd name="connsiteY1453" fmla="*/ 1243132 h 1718390"/>
                <a:gd name="connsiteX1454" fmla="*/ 1066828 w 3813995"/>
                <a:gd name="connsiteY1454" fmla="*/ 1243893 h 1718390"/>
                <a:gd name="connsiteX1455" fmla="*/ 1064291 w 3813995"/>
                <a:gd name="connsiteY1455" fmla="*/ 1243893 h 1718390"/>
                <a:gd name="connsiteX1456" fmla="*/ 1050846 w 3813995"/>
                <a:gd name="connsiteY1456" fmla="*/ 1243893 h 1718390"/>
                <a:gd name="connsiteX1457" fmla="*/ 1050846 w 3813995"/>
                <a:gd name="connsiteY1457" fmla="*/ 1238565 h 1718390"/>
                <a:gd name="connsiteX1458" fmla="*/ 1051988 w 3813995"/>
                <a:gd name="connsiteY1458" fmla="*/ 1239326 h 1718390"/>
                <a:gd name="connsiteX1459" fmla="*/ 1038670 w 3813995"/>
                <a:gd name="connsiteY1459" fmla="*/ 1239326 h 1718390"/>
                <a:gd name="connsiteX1460" fmla="*/ 1038670 w 3813995"/>
                <a:gd name="connsiteY1460" fmla="*/ 1234126 h 1718390"/>
                <a:gd name="connsiteX1461" fmla="*/ 1039812 w 3813995"/>
                <a:gd name="connsiteY1461" fmla="*/ 1234887 h 1718390"/>
                <a:gd name="connsiteX1462" fmla="*/ 1037275 w 3813995"/>
                <a:gd name="connsiteY1462" fmla="*/ 1234887 h 1718390"/>
                <a:gd name="connsiteX1463" fmla="*/ 1037275 w 3813995"/>
                <a:gd name="connsiteY1463" fmla="*/ 1229560 h 1718390"/>
                <a:gd name="connsiteX1464" fmla="*/ 1038416 w 3813995"/>
                <a:gd name="connsiteY1464" fmla="*/ 1230321 h 1718390"/>
                <a:gd name="connsiteX1465" fmla="*/ 1037021 w 3813995"/>
                <a:gd name="connsiteY1465" fmla="*/ 1230321 h 1718390"/>
                <a:gd name="connsiteX1466" fmla="*/ 1025098 w 3813995"/>
                <a:gd name="connsiteY1466" fmla="*/ 1230321 h 1718390"/>
                <a:gd name="connsiteX1467" fmla="*/ 1025098 w 3813995"/>
                <a:gd name="connsiteY1467" fmla="*/ 1224994 h 1718390"/>
                <a:gd name="connsiteX1468" fmla="*/ 1026113 w 3813995"/>
                <a:gd name="connsiteY1468" fmla="*/ 1225882 h 1718390"/>
                <a:gd name="connsiteX1469" fmla="*/ 1014190 w 3813995"/>
                <a:gd name="connsiteY1469" fmla="*/ 1225882 h 1718390"/>
                <a:gd name="connsiteX1470" fmla="*/ 1014190 w 3813995"/>
                <a:gd name="connsiteY1470" fmla="*/ 1220681 h 1718390"/>
                <a:gd name="connsiteX1471" fmla="*/ 1015332 w 3813995"/>
                <a:gd name="connsiteY1471" fmla="*/ 1221442 h 1718390"/>
                <a:gd name="connsiteX1472" fmla="*/ 1012795 w 3813995"/>
                <a:gd name="connsiteY1472" fmla="*/ 1221442 h 1718390"/>
                <a:gd name="connsiteX1473" fmla="*/ 1012795 w 3813995"/>
                <a:gd name="connsiteY1473" fmla="*/ 1211676 h 1718390"/>
                <a:gd name="connsiteX1474" fmla="*/ 1013937 w 3813995"/>
                <a:gd name="connsiteY1474" fmla="*/ 1212564 h 1718390"/>
                <a:gd name="connsiteX1475" fmla="*/ 1011146 w 3813995"/>
                <a:gd name="connsiteY1475" fmla="*/ 1212564 h 1718390"/>
                <a:gd name="connsiteX1476" fmla="*/ 1005819 w 3813995"/>
                <a:gd name="connsiteY1476" fmla="*/ 1212564 h 1718390"/>
                <a:gd name="connsiteX1477" fmla="*/ 1003029 w 3813995"/>
                <a:gd name="connsiteY1477" fmla="*/ 1212564 h 1718390"/>
                <a:gd name="connsiteX1478" fmla="*/ 999224 w 3813995"/>
                <a:gd name="connsiteY1478" fmla="*/ 1212564 h 1718390"/>
                <a:gd name="connsiteX1479" fmla="*/ 999224 w 3813995"/>
                <a:gd name="connsiteY1479" fmla="*/ 1207364 h 1718390"/>
                <a:gd name="connsiteX1480" fmla="*/ 1000365 w 3813995"/>
                <a:gd name="connsiteY1480" fmla="*/ 1208251 h 1718390"/>
                <a:gd name="connsiteX1481" fmla="*/ 997828 w 3813995"/>
                <a:gd name="connsiteY1481" fmla="*/ 1208251 h 1718390"/>
                <a:gd name="connsiteX1482" fmla="*/ 997828 w 3813995"/>
                <a:gd name="connsiteY1482" fmla="*/ 1203051 h 1718390"/>
                <a:gd name="connsiteX1483" fmla="*/ 998970 w 3813995"/>
                <a:gd name="connsiteY1483" fmla="*/ 1203812 h 1718390"/>
                <a:gd name="connsiteX1484" fmla="*/ 995165 w 3813995"/>
                <a:gd name="connsiteY1484" fmla="*/ 1203812 h 1718390"/>
                <a:gd name="connsiteX1485" fmla="*/ 995165 w 3813995"/>
                <a:gd name="connsiteY1485" fmla="*/ 1198739 h 1718390"/>
                <a:gd name="connsiteX1486" fmla="*/ 996180 w 3813995"/>
                <a:gd name="connsiteY1486" fmla="*/ 1199500 h 1718390"/>
                <a:gd name="connsiteX1487" fmla="*/ 974490 w 3813995"/>
                <a:gd name="connsiteY1487" fmla="*/ 1199500 h 1718390"/>
                <a:gd name="connsiteX1488" fmla="*/ 969036 w 3813995"/>
                <a:gd name="connsiteY1488" fmla="*/ 1199500 h 1718390"/>
                <a:gd name="connsiteX1489" fmla="*/ 958255 w 3813995"/>
                <a:gd name="connsiteY1489" fmla="*/ 1199500 h 1718390"/>
                <a:gd name="connsiteX1490" fmla="*/ 955718 w 3813995"/>
                <a:gd name="connsiteY1490" fmla="*/ 1199500 h 1718390"/>
                <a:gd name="connsiteX1491" fmla="*/ 955718 w 3813995"/>
                <a:gd name="connsiteY1491" fmla="*/ 1194426 h 1718390"/>
                <a:gd name="connsiteX1492" fmla="*/ 956860 w 3813995"/>
                <a:gd name="connsiteY1492" fmla="*/ 1195314 h 1718390"/>
                <a:gd name="connsiteX1493" fmla="*/ 948616 w 3813995"/>
                <a:gd name="connsiteY1493" fmla="*/ 1195314 h 1718390"/>
                <a:gd name="connsiteX1494" fmla="*/ 947347 w 3813995"/>
                <a:gd name="connsiteY1494" fmla="*/ 1195314 h 1718390"/>
                <a:gd name="connsiteX1495" fmla="*/ 941893 w 3813995"/>
                <a:gd name="connsiteY1495" fmla="*/ 1195314 h 1718390"/>
                <a:gd name="connsiteX1496" fmla="*/ 936693 w 3813995"/>
                <a:gd name="connsiteY1496" fmla="*/ 1195314 h 1718390"/>
                <a:gd name="connsiteX1497" fmla="*/ 936693 w 3813995"/>
                <a:gd name="connsiteY1497" fmla="*/ 1190240 h 1718390"/>
                <a:gd name="connsiteX1498" fmla="*/ 937708 w 3813995"/>
                <a:gd name="connsiteY1498" fmla="*/ 1191001 h 1718390"/>
                <a:gd name="connsiteX1499" fmla="*/ 925531 w 3813995"/>
                <a:gd name="connsiteY1499" fmla="*/ 1191001 h 1718390"/>
                <a:gd name="connsiteX1500" fmla="*/ 917667 w 3813995"/>
                <a:gd name="connsiteY1500" fmla="*/ 1191001 h 1718390"/>
                <a:gd name="connsiteX1501" fmla="*/ 917667 w 3813995"/>
                <a:gd name="connsiteY1501" fmla="*/ 1186055 h 1718390"/>
                <a:gd name="connsiteX1502" fmla="*/ 918809 w 3813995"/>
                <a:gd name="connsiteY1502" fmla="*/ 1186816 h 1718390"/>
                <a:gd name="connsiteX1503" fmla="*/ 898642 w 3813995"/>
                <a:gd name="connsiteY1503" fmla="*/ 1186816 h 1718390"/>
                <a:gd name="connsiteX1504" fmla="*/ 898642 w 3813995"/>
                <a:gd name="connsiteY1504" fmla="*/ 1181996 h 1718390"/>
                <a:gd name="connsiteX1505" fmla="*/ 899783 w 3813995"/>
                <a:gd name="connsiteY1505" fmla="*/ 1182757 h 1718390"/>
                <a:gd name="connsiteX1506" fmla="*/ 893188 w 3813995"/>
                <a:gd name="connsiteY1506" fmla="*/ 1182757 h 1718390"/>
                <a:gd name="connsiteX1507" fmla="*/ 893188 w 3813995"/>
                <a:gd name="connsiteY1507" fmla="*/ 1173625 h 1718390"/>
                <a:gd name="connsiteX1508" fmla="*/ 894329 w 3813995"/>
                <a:gd name="connsiteY1508" fmla="*/ 1174386 h 1718390"/>
                <a:gd name="connsiteX1509" fmla="*/ 876826 w 3813995"/>
                <a:gd name="connsiteY1509" fmla="*/ 1174386 h 1718390"/>
                <a:gd name="connsiteX1510" fmla="*/ 876826 w 3813995"/>
                <a:gd name="connsiteY1510" fmla="*/ 1169439 h 1718390"/>
                <a:gd name="connsiteX1511" fmla="*/ 877967 w 3813995"/>
                <a:gd name="connsiteY1511" fmla="*/ 1170200 h 1718390"/>
                <a:gd name="connsiteX1512" fmla="*/ 875557 w 3813995"/>
                <a:gd name="connsiteY1512" fmla="*/ 1170200 h 1718390"/>
                <a:gd name="connsiteX1513" fmla="*/ 875557 w 3813995"/>
                <a:gd name="connsiteY1513" fmla="*/ 1165380 h 1718390"/>
                <a:gd name="connsiteX1514" fmla="*/ 876699 w 3813995"/>
                <a:gd name="connsiteY1514" fmla="*/ 1166141 h 1718390"/>
                <a:gd name="connsiteX1515" fmla="*/ 871499 w 3813995"/>
                <a:gd name="connsiteY1515" fmla="*/ 1166141 h 1718390"/>
                <a:gd name="connsiteX1516" fmla="*/ 871499 w 3813995"/>
                <a:gd name="connsiteY1516" fmla="*/ 1161195 h 1718390"/>
                <a:gd name="connsiteX1517" fmla="*/ 872513 w 3813995"/>
                <a:gd name="connsiteY1517" fmla="*/ 1161956 h 1718390"/>
                <a:gd name="connsiteX1518" fmla="*/ 870103 w 3813995"/>
                <a:gd name="connsiteY1518" fmla="*/ 1161956 h 1718390"/>
                <a:gd name="connsiteX1519" fmla="*/ 870103 w 3813995"/>
                <a:gd name="connsiteY1519" fmla="*/ 1157009 h 1718390"/>
                <a:gd name="connsiteX1520" fmla="*/ 871118 w 3813995"/>
                <a:gd name="connsiteY1520" fmla="*/ 1157897 h 1718390"/>
                <a:gd name="connsiteX1521" fmla="*/ 868708 w 3813995"/>
                <a:gd name="connsiteY1521" fmla="*/ 1157897 h 1718390"/>
                <a:gd name="connsiteX1522" fmla="*/ 868708 w 3813995"/>
                <a:gd name="connsiteY1522" fmla="*/ 1152950 h 1718390"/>
                <a:gd name="connsiteX1523" fmla="*/ 869850 w 3813995"/>
                <a:gd name="connsiteY1523" fmla="*/ 1153711 h 1718390"/>
                <a:gd name="connsiteX1524" fmla="*/ 864396 w 3813995"/>
                <a:gd name="connsiteY1524" fmla="*/ 1153711 h 1718390"/>
                <a:gd name="connsiteX1525" fmla="*/ 859195 w 3813995"/>
                <a:gd name="connsiteY1525" fmla="*/ 1153711 h 1718390"/>
                <a:gd name="connsiteX1526" fmla="*/ 859195 w 3813995"/>
                <a:gd name="connsiteY1526" fmla="*/ 1148892 h 1718390"/>
                <a:gd name="connsiteX1527" fmla="*/ 860337 w 3813995"/>
                <a:gd name="connsiteY1527" fmla="*/ 1149653 h 1718390"/>
                <a:gd name="connsiteX1528" fmla="*/ 855137 w 3813995"/>
                <a:gd name="connsiteY1528" fmla="*/ 1149653 h 1718390"/>
                <a:gd name="connsiteX1529" fmla="*/ 855137 w 3813995"/>
                <a:gd name="connsiteY1529" fmla="*/ 1144833 h 1718390"/>
                <a:gd name="connsiteX1530" fmla="*/ 856151 w 3813995"/>
                <a:gd name="connsiteY1530" fmla="*/ 1145594 h 1718390"/>
                <a:gd name="connsiteX1531" fmla="*/ 845624 w 3813995"/>
                <a:gd name="connsiteY1531" fmla="*/ 1145594 h 1718390"/>
                <a:gd name="connsiteX1532" fmla="*/ 845624 w 3813995"/>
                <a:gd name="connsiteY1532" fmla="*/ 1140647 h 1718390"/>
                <a:gd name="connsiteX1533" fmla="*/ 846765 w 3813995"/>
                <a:gd name="connsiteY1533" fmla="*/ 1141408 h 1718390"/>
                <a:gd name="connsiteX1534" fmla="*/ 844229 w 3813995"/>
                <a:gd name="connsiteY1534" fmla="*/ 1141408 h 1718390"/>
                <a:gd name="connsiteX1535" fmla="*/ 844229 w 3813995"/>
                <a:gd name="connsiteY1535" fmla="*/ 1132530 h 1718390"/>
                <a:gd name="connsiteX1536" fmla="*/ 845370 w 3813995"/>
                <a:gd name="connsiteY1536" fmla="*/ 1133291 h 1718390"/>
                <a:gd name="connsiteX1537" fmla="*/ 830403 w 3813995"/>
                <a:gd name="connsiteY1537" fmla="*/ 1133291 h 1718390"/>
                <a:gd name="connsiteX1538" fmla="*/ 820891 w 3813995"/>
                <a:gd name="connsiteY1538" fmla="*/ 1133291 h 1718390"/>
                <a:gd name="connsiteX1539" fmla="*/ 819495 w 3813995"/>
                <a:gd name="connsiteY1539" fmla="*/ 1133291 h 1718390"/>
                <a:gd name="connsiteX1540" fmla="*/ 815690 w 3813995"/>
                <a:gd name="connsiteY1540" fmla="*/ 1133291 h 1718390"/>
                <a:gd name="connsiteX1541" fmla="*/ 815690 w 3813995"/>
                <a:gd name="connsiteY1541" fmla="*/ 1124412 h 1718390"/>
                <a:gd name="connsiteX1542" fmla="*/ 816832 w 3813995"/>
                <a:gd name="connsiteY1542" fmla="*/ 1125300 h 1718390"/>
                <a:gd name="connsiteX1543" fmla="*/ 814422 w 3813995"/>
                <a:gd name="connsiteY1543" fmla="*/ 1125300 h 1718390"/>
                <a:gd name="connsiteX1544" fmla="*/ 814422 w 3813995"/>
                <a:gd name="connsiteY1544" fmla="*/ 1120480 h 1718390"/>
                <a:gd name="connsiteX1545" fmla="*/ 815437 w 3813995"/>
                <a:gd name="connsiteY1545" fmla="*/ 1121241 h 1718390"/>
                <a:gd name="connsiteX1546" fmla="*/ 814041 w 3813995"/>
                <a:gd name="connsiteY1546" fmla="*/ 1121241 h 1718390"/>
                <a:gd name="connsiteX1547" fmla="*/ 809983 w 3813995"/>
                <a:gd name="connsiteY1547" fmla="*/ 1121241 h 1718390"/>
                <a:gd name="connsiteX1548" fmla="*/ 807319 w 3813995"/>
                <a:gd name="connsiteY1548" fmla="*/ 1121241 h 1718390"/>
                <a:gd name="connsiteX1549" fmla="*/ 802119 w 3813995"/>
                <a:gd name="connsiteY1549" fmla="*/ 1121241 h 1718390"/>
                <a:gd name="connsiteX1550" fmla="*/ 802119 w 3813995"/>
                <a:gd name="connsiteY1550" fmla="*/ 1116548 h 1718390"/>
                <a:gd name="connsiteX1551" fmla="*/ 803260 w 3813995"/>
                <a:gd name="connsiteY1551" fmla="*/ 1117309 h 1718390"/>
                <a:gd name="connsiteX1552" fmla="*/ 801865 w 3813995"/>
                <a:gd name="connsiteY1552" fmla="*/ 1117309 h 1718390"/>
                <a:gd name="connsiteX1553" fmla="*/ 798060 w 3813995"/>
                <a:gd name="connsiteY1553" fmla="*/ 1117309 h 1718390"/>
                <a:gd name="connsiteX1554" fmla="*/ 798060 w 3813995"/>
                <a:gd name="connsiteY1554" fmla="*/ 1112616 h 1718390"/>
                <a:gd name="connsiteX1555" fmla="*/ 799075 w 3813995"/>
                <a:gd name="connsiteY1555" fmla="*/ 1113377 h 1718390"/>
                <a:gd name="connsiteX1556" fmla="*/ 795269 w 3813995"/>
                <a:gd name="connsiteY1556" fmla="*/ 1113377 h 1718390"/>
                <a:gd name="connsiteX1557" fmla="*/ 795269 w 3813995"/>
                <a:gd name="connsiteY1557" fmla="*/ 1108557 h 1718390"/>
                <a:gd name="connsiteX1558" fmla="*/ 796411 w 3813995"/>
                <a:gd name="connsiteY1558" fmla="*/ 1109318 h 1718390"/>
                <a:gd name="connsiteX1559" fmla="*/ 792606 w 3813995"/>
                <a:gd name="connsiteY1559" fmla="*/ 1109318 h 1718390"/>
                <a:gd name="connsiteX1560" fmla="*/ 792606 w 3813995"/>
                <a:gd name="connsiteY1560" fmla="*/ 1104625 h 1718390"/>
                <a:gd name="connsiteX1561" fmla="*/ 793747 w 3813995"/>
                <a:gd name="connsiteY1561" fmla="*/ 1105386 h 1718390"/>
                <a:gd name="connsiteX1562" fmla="*/ 791211 w 3813995"/>
                <a:gd name="connsiteY1562" fmla="*/ 1105386 h 1718390"/>
                <a:gd name="connsiteX1563" fmla="*/ 791211 w 3813995"/>
                <a:gd name="connsiteY1563" fmla="*/ 1100693 h 1718390"/>
                <a:gd name="connsiteX1564" fmla="*/ 792352 w 3813995"/>
                <a:gd name="connsiteY1564" fmla="*/ 1101454 h 1718390"/>
                <a:gd name="connsiteX1565" fmla="*/ 789942 w 3813995"/>
                <a:gd name="connsiteY1565" fmla="*/ 1101454 h 1718390"/>
                <a:gd name="connsiteX1566" fmla="*/ 789942 w 3813995"/>
                <a:gd name="connsiteY1566" fmla="*/ 1096761 h 1718390"/>
                <a:gd name="connsiteX1567" fmla="*/ 790957 w 3813995"/>
                <a:gd name="connsiteY1567" fmla="*/ 1097522 h 1718390"/>
                <a:gd name="connsiteX1568" fmla="*/ 785757 w 3813995"/>
                <a:gd name="connsiteY1568" fmla="*/ 1097522 h 1718390"/>
                <a:gd name="connsiteX1569" fmla="*/ 785757 w 3813995"/>
                <a:gd name="connsiteY1569" fmla="*/ 1092829 h 1718390"/>
                <a:gd name="connsiteX1570" fmla="*/ 786898 w 3813995"/>
                <a:gd name="connsiteY1570" fmla="*/ 1093591 h 1718390"/>
                <a:gd name="connsiteX1571" fmla="*/ 782839 w 3813995"/>
                <a:gd name="connsiteY1571" fmla="*/ 1093591 h 1718390"/>
                <a:gd name="connsiteX1572" fmla="*/ 777385 w 3813995"/>
                <a:gd name="connsiteY1572" fmla="*/ 1093591 h 1718390"/>
                <a:gd name="connsiteX1573" fmla="*/ 773580 w 3813995"/>
                <a:gd name="connsiteY1573" fmla="*/ 1093591 h 1718390"/>
                <a:gd name="connsiteX1574" fmla="*/ 773580 w 3813995"/>
                <a:gd name="connsiteY1574" fmla="*/ 1088897 h 1718390"/>
                <a:gd name="connsiteX1575" fmla="*/ 774595 w 3813995"/>
                <a:gd name="connsiteY1575" fmla="*/ 1089785 h 1718390"/>
                <a:gd name="connsiteX1576" fmla="*/ 773327 w 3813995"/>
                <a:gd name="connsiteY1576" fmla="*/ 1089785 h 1718390"/>
                <a:gd name="connsiteX1577" fmla="*/ 772058 w 3813995"/>
                <a:gd name="connsiteY1577" fmla="*/ 1089785 h 1718390"/>
                <a:gd name="connsiteX1578" fmla="*/ 770663 w 3813995"/>
                <a:gd name="connsiteY1578" fmla="*/ 1089785 h 1718390"/>
                <a:gd name="connsiteX1579" fmla="*/ 766858 w 3813995"/>
                <a:gd name="connsiteY1579" fmla="*/ 1089785 h 1718390"/>
                <a:gd name="connsiteX1580" fmla="*/ 766858 w 3813995"/>
                <a:gd name="connsiteY1580" fmla="*/ 1085092 h 1718390"/>
                <a:gd name="connsiteX1581" fmla="*/ 767873 w 3813995"/>
                <a:gd name="connsiteY1581" fmla="*/ 1085853 h 1718390"/>
                <a:gd name="connsiteX1582" fmla="*/ 762672 w 3813995"/>
                <a:gd name="connsiteY1582" fmla="*/ 1085853 h 1718390"/>
                <a:gd name="connsiteX1583" fmla="*/ 762672 w 3813995"/>
                <a:gd name="connsiteY1583" fmla="*/ 1081160 h 1718390"/>
                <a:gd name="connsiteX1584" fmla="*/ 763814 w 3813995"/>
                <a:gd name="connsiteY1584" fmla="*/ 1082048 h 1718390"/>
                <a:gd name="connsiteX1585" fmla="*/ 758613 w 3813995"/>
                <a:gd name="connsiteY1585" fmla="*/ 1082048 h 1718390"/>
                <a:gd name="connsiteX1586" fmla="*/ 758613 w 3813995"/>
                <a:gd name="connsiteY1586" fmla="*/ 1077355 h 1718390"/>
                <a:gd name="connsiteX1587" fmla="*/ 759755 w 3813995"/>
                <a:gd name="connsiteY1587" fmla="*/ 1078116 h 1718390"/>
                <a:gd name="connsiteX1588" fmla="*/ 746437 w 3813995"/>
                <a:gd name="connsiteY1588" fmla="*/ 1078116 h 1718390"/>
                <a:gd name="connsiteX1589" fmla="*/ 746437 w 3813995"/>
                <a:gd name="connsiteY1589" fmla="*/ 1073423 h 1718390"/>
                <a:gd name="connsiteX1590" fmla="*/ 747579 w 3813995"/>
                <a:gd name="connsiteY1590" fmla="*/ 1074311 h 1718390"/>
                <a:gd name="connsiteX1591" fmla="*/ 746183 w 3813995"/>
                <a:gd name="connsiteY1591" fmla="*/ 1074311 h 1718390"/>
                <a:gd name="connsiteX1592" fmla="*/ 743393 w 3813995"/>
                <a:gd name="connsiteY1592" fmla="*/ 1074311 h 1718390"/>
                <a:gd name="connsiteX1593" fmla="*/ 741998 w 3813995"/>
                <a:gd name="connsiteY1593" fmla="*/ 1074311 h 1718390"/>
                <a:gd name="connsiteX1594" fmla="*/ 737939 w 3813995"/>
                <a:gd name="connsiteY1594" fmla="*/ 1074311 h 1718390"/>
                <a:gd name="connsiteX1595" fmla="*/ 732865 w 3813995"/>
                <a:gd name="connsiteY1595" fmla="*/ 1074311 h 1718390"/>
                <a:gd name="connsiteX1596" fmla="*/ 732865 w 3813995"/>
                <a:gd name="connsiteY1596" fmla="*/ 1069618 h 1718390"/>
                <a:gd name="connsiteX1597" fmla="*/ 733880 w 3813995"/>
                <a:gd name="connsiteY1597" fmla="*/ 1070506 h 1718390"/>
                <a:gd name="connsiteX1598" fmla="*/ 730075 w 3813995"/>
                <a:gd name="connsiteY1598" fmla="*/ 1070506 h 1718390"/>
                <a:gd name="connsiteX1599" fmla="*/ 730075 w 3813995"/>
                <a:gd name="connsiteY1599" fmla="*/ 1065940 h 1718390"/>
                <a:gd name="connsiteX1600" fmla="*/ 731217 w 3813995"/>
                <a:gd name="connsiteY1600" fmla="*/ 1066701 h 1718390"/>
                <a:gd name="connsiteX1601" fmla="*/ 728426 w 3813995"/>
                <a:gd name="connsiteY1601" fmla="*/ 1066701 h 1718390"/>
                <a:gd name="connsiteX1602" fmla="*/ 726016 w 3813995"/>
                <a:gd name="connsiteY1602" fmla="*/ 1066701 h 1718390"/>
                <a:gd name="connsiteX1603" fmla="*/ 726016 w 3813995"/>
                <a:gd name="connsiteY1603" fmla="*/ 1062135 h 1718390"/>
                <a:gd name="connsiteX1604" fmla="*/ 727031 w 3813995"/>
                <a:gd name="connsiteY1604" fmla="*/ 1062896 h 1718390"/>
                <a:gd name="connsiteX1605" fmla="*/ 723353 w 3813995"/>
                <a:gd name="connsiteY1605" fmla="*/ 1062896 h 1718390"/>
                <a:gd name="connsiteX1606" fmla="*/ 723353 w 3813995"/>
                <a:gd name="connsiteY1606" fmla="*/ 1058330 h 1718390"/>
                <a:gd name="connsiteX1607" fmla="*/ 724367 w 3813995"/>
                <a:gd name="connsiteY1607" fmla="*/ 1059091 h 1718390"/>
                <a:gd name="connsiteX1608" fmla="*/ 719167 w 3813995"/>
                <a:gd name="connsiteY1608" fmla="*/ 1059091 h 1718390"/>
                <a:gd name="connsiteX1609" fmla="*/ 719167 w 3813995"/>
                <a:gd name="connsiteY1609" fmla="*/ 1046914 h 1718390"/>
                <a:gd name="connsiteX1610" fmla="*/ 720309 w 3813995"/>
                <a:gd name="connsiteY1610" fmla="*/ 1047675 h 1718390"/>
                <a:gd name="connsiteX1611" fmla="*/ 716503 w 3813995"/>
                <a:gd name="connsiteY1611" fmla="*/ 1047675 h 1718390"/>
                <a:gd name="connsiteX1612" fmla="*/ 716503 w 3813995"/>
                <a:gd name="connsiteY1612" fmla="*/ 1043109 h 1718390"/>
                <a:gd name="connsiteX1613" fmla="*/ 717518 w 3813995"/>
                <a:gd name="connsiteY1613" fmla="*/ 1043870 h 1718390"/>
                <a:gd name="connsiteX1614" fmla="*/ 712445 w 3813995"/>
                <a:gd name="connsiteY1614" fmla="*/ 1043870 h 1718390"/>
                <a:gd name="connsiteX1615" fmla="*/ 712445 w 3813995"/>
                <a:gd name="connsiteY1615" fmla="*/ 1039431 h 1718390"/>
                <a:gd name="connsiteX1616" fmla="*/ 713586 w 3813995"/>
                <a:gd name="connsiteY1616" fmla="*/ 1040192 h 1718390"/>
                <a:gd name="connsiteX1617" fmla="*/ 709654 w 3813995"/>
                <a:gd name="connsiteY1617" fmla="*/ 1040192 h 1718390"/>
                <a:gd name="connsiteX1618" fmla="*/ 709654 w 3813995"/>
                <a:gd name="connsiteY1618" fmla="*/ 1035626 h 1718390"/>
                <a:gd name="connsiteX1619" fmla="*/ 710796 w 3813995"/>
                <a:gd name="connsiteY1619" fmla="*/ 1036387 h 1718390"/>
                <a:gd name="connsiteX1620" fmla="*/ 708132 w 3813995"/>
                <a:gd name="connsiteY1620" fmla="*/ 1036387 h 1718390"/>
                <a:gd name="connsiteX1621" fmla="*/ 704200 w 3813995"/>
                <a:gd name="connsiteY1621" fmla="*/ 1036387 h 1718390"/>
                <a:gd name="connsiteX1622" fmla="*/ 704200 w 3813995"/>
                <a:gd name="connsiteY1622" fmla="*/ 1031821 h 1718390"/>
                <a:gd name="connsiteX1623" fmla="*/ 705342 w 3813995"/>
                <a:gd name="connsiteY1623" fmla="*/ 1032582 h 1718390"/>
                <a:gd name="connsiteX1624" fmla="*/ 700268 w 3813995"/>
                <a:gd name="connsiteY1624" fmla="*/ 1032582 h 1718390"/>
                <a:gd name="connsiteX1625" fmla="*/ 700268 w 3813995"/>
                <a:gd name="connsiteY1625" fmla="*/ 1028142 h 1718390"/>
                <a:gd name="connsiteX1626" fmla="*/ 701283 w 3813995"/>
                <a:gd name="connsiteY1626" fmla="*/ 1028904 h 1718390"/>
                <a:gd name="connsiteX1627" fmla="*/ 699888 w 3813995"/>
                <a:gd name="connsiteY1627" fmla="*/ 1028904 h 1718390"/>
                <a:gd name="connsiteX1628" fmla="*/ 698619 w 3813995"/>
                <a:gd name="connsiteY1628" fmla="*/ 1028904 h 1718390"/>
                <a:gd name="connsiteX1629" fmla="*/ 696083 w 3813995"/>
                <a:gd name="connsiteY1629" fmla="*/ 1028904 h 1718390"/>
                <a:gd name="connsiteX1630" fmla="*/ 696083 w 3813995"/>
                <a:gd name="connsiteY1630" fmla="*/ 1024337 h 1718390"/>
                <a:gd name="connsiteX1631" fmla="*/ 697224 w 3813995"/>
                <a:gd name="connsiteY1631" fmla="*/ 1025098 h 1718390"/>
                <a:gd name="connsiteX1632" fmla="*/ 686570 w 3813995"/>
                <a:gd name="connsiteY1632" fmla="*/ 1025098 h 1718390"/>
                <a:gd name="connsiteX1633" fmla="*/ 686570 w 3813995"/>
                <a:gd name="connsiteY1633" fmla="*/ 1020659 h 1718390"/>
                <a:gd name="connsiteX1634" fmla="*/ 687711 w 3813995"/>
                <a:gd name="connsiteY1634" fmla="*/ 1021420 h 1718390"/>
                <a:gd name="connsiteX1635" fmla="*/ 683906 w 3813995"/>
                <a:gd name="connsiteY1635" fmla="*/ 1021420 h 1718390"/>
                <a:gd name="connsiteX1636" fmla="*/ 683906 w 3813995"/>
                <a:gd name="connsiteY1636" fmla="*/ 1013176 h 1718390"/>
                <a:gd name="connsiteX1637" fmla="*/ 684921 w 3813995"/>
                <a:gd name="connsiteY1637" fmla="*/ 1014063 h 1718390"/>
                <a:gd name="connsiteX1638" fmla="*/ 677057 w 3813995"/>
                <a:gd name="connsiteY1638" fmla="*/ 1014063 h 1718390"/>
                <a:gd name="connsiteX1639" fmla="*/ 677057 w 3813995"/>
                <a:gd name="connsiteY1639" fmla="*/ 1009497 h 1718390"/>
                <a:gd name="connsiteX1640" fmla="*/ 678199 w 3813995"/>
                <a:gd name="connsiteY1640" fmla="*/ 1010385 h 1718390"/>
                <a:gd name="connsiteX1641" fmla="*/ 676803 w 3813995"/>
                <a:gd name="connsiteY1641" fmla="*/ 1010385 h 1718390"/>
                <a:gd name="connsiteX1642" fmla="*/ 671603 w 3813995"/>
                <a:gd name="connsiteY1642" fmla="*/ 1010385 h 1718390"/>
                <a:gd name="connsiteX1643" fmla="*/ 671603 w 3813995"/>
                <a:gd name="connsiteY1643" fmla="*/ 1002141 h 1718390"/>
                <a:gd name="connsiteX1644" fmla="*/ 672745 w 3813995"/>
                <a:gd name="connsiteY1644" fmla="*/ 1002902 h 1718390"/>
                <a:gd name="connsiteX1645" fmla="*/ 663485 w 3813995"/>
                <a:gd name="connsiteY1645" fmla="*/ 1002902 h 1718390"/>
                <a:gd name="connsiteX1646" fmla="*/ 663485 w 3813995"/>
                <a:gd name="connsiteY1646" fmla="*/ 998463 h 1718390"/>
                <a:gd name="connsiteX1647" fmla="*/ 664627 w 3813995"/>
                <a:gd name="connsiteY1647" fmla="*/ 999224 h 1718390"/>
                <a:gd name="connsiteX1648" fmla="*/ 659173 w 3813995"/>
                <a:gd name="connsiteY1648" fmla="*/ 999224 h 1718390"/>
                <a:gd name="connsiteX1649" fmla="*/ 652578 w 3813995"/>
                <a:gd name="connsiteY1649" fmla="*/ 999224 h 1718390"/>
                <a:gd name="connsiteX1650" fmla="*/ 652578 w 3813995"/>
                <a:gd name="connsiteY1650" fmla="*/ 994784 h 1718390"/>
                <a:gd name="connsiteX1651" fmla="*/ 653719 w 3813995"/>
                <a:gd name="connsiteY1651" fmla="*/ 995545 h 1718390"/>
                <a:gd name="connsiteX1652" fmla="*/ 651309 w 3813995"/>
                <a:gd name="connsiteY1652" fmla="*/ 995545 h 1718390"/>
                <a:gd name="connsiteX1653" fmla="*/ 651309 w 3813995"/>
                <a:gd name="connsiteY1653" fmla="*/ 991106 h 1718390"/>
                <a:gd name="connsiteX1654" fmla="*/ 652324 w 3813995"/>
                <a:gd name="connsiteY1654" fmla="*/ 991867 h 1718390"/>
                <a:gd name="connsiteX1655" fmla="*/ 651056 w 3813995"/>
                <a:gd name="connsiteY1655" fmla="*/ 991867 h 1718390"/>
                <a:gd name="connsiteX1656" fmla="*/ 647124 w 3813995"/>
                <a:gd name="connsiteY1656" fmla="*/ 991867 h 1718390"/>
                <a:gd name="connsiteX1657" fmla="*/ 647124 w 3813995"/>
                <a:gd name="connsiteY1657" fmla="*/ 987428 h 1718390"/>
                <a:gd name="connsiteX1658" fmla="*/ 648265 w 3813995"/>
                <a:gd name="connsiteY1658" fmla="*/ 988189 h 1718390"/>
                <a:gd name="connsiteX1659" fmla="*/ 645475 w 3813995"/>
                <a:gd name="connsiteY1659" fmla="*/ 988189 h 1718390"/>
                <a:gd name="connsiteX1660" fmla="*/ 643065 w 3813995"/>
                <a:gd name="connsiteY1660" fmla="*/ 988189 h 1718390"/>
                <a:gd name="connsiteX1661" fmla="*/ 643065 w 3813995"/>
                <a:gd name="connsiteY1661" fmla="*/ 983876 h 1718390"/>
                <a:gd name="connsiteX1662" fmla="*/ 644206 w 3813995"/>
                <a:gd name="connsiteY1662" fmla="*/ 984637 h 1718390"/>
                <a:gd name="connsiteX1663" fmla="*/ 636342 w 3813995"/>
                <a:gd name="connsiteY1663" fmla="*/ 984637 h 1718390"/>
                <a:gd name="connsiteX1664" fmla="*/ 636342 w 3813995"/>
                <a:gd name="connsiteY1664" fmla="*/ 980198 h 1718390"/>
                <a:gd name="connsiteX1665" fmla="*/ 637357 w 3813995"/>
                <a:gd name="connsiteY1665" fmla="*/ 980959 h 1718390"/>
                <a:gd name="connsiteX1666" fmla="*/ 633552 w 3813995"/>
                <a:gd name="connsiteY1666" fmla="*/ 980959 h 1718390"/>
                <a:gd name="connsiteX1667" fmla="*/ 633552 w 3813995"/>
                <a:gd name="connsiteY1667" fmla="*/ 976520 h 1718390"/>
                <a:gd name="connsiteX1668" fmla="*/ 634693 w 3813995"/>
                <a:gd name="connsiteY1668" fmla="*/ 977281 h 1718390"/>
                <a:gd name="connsiteX1669" fmla="*/ 628225 w 3813995"/>
                <a:gd name="connsiteY1669" fmla="*/ 977281 h 1718390"/>
                <a:gd name="connsiteX1670" fmla="*/ 628225 w 3813995"/>
                <a:gd name="connsiteY1670" fmla="*/ 972968 h 1718390"/>
                <a:gd name="connsiteX1671" fmla="*/ 629239 w 3813995"/>
                <a:gd name="connsiteY1671" fmla="*/ 973729 h 1718390"/>
                <a:gd name="connsiteX1672" fmla="*/ 622644 w 3813995"/>
                <a:gd name="connsiteY1672" fmla="*/ 973729 h 1718390"/>
                <a:gd name="connsiteX1673" fmla="*/ 622644 w 3813995"/>
                <a:gd name="connsiteY1673" fmla="*/ 965739 h 1718390"/>
                <a:gd name="connsiteX1674" fmla="*/ 623785 w 3813995"/>
                <a:gd name="connsiteY1674" fmla="*/ 966500 h 1718390"/>
                <a:gd name="connsiteX1675" fmla="*/ 618712 w 3813995"/>
                <a:gd name="connsiteY1675" fmla="*/ 966500 h 1718390"/>
                <a:gd name="connsiteX1676" fmla="*/ 618712 w 3813995"/>
                <a:gd name="connsiteY1676" fmla="*/ 962060 h 1718390"/>
                <a:gd name="connsiteX1677" fmla="*/ 619727 w 3813995"/>
                <a:gd name="connsiteY1677" fmla="*/ 962821 h 1718390"/>
                <a:gd name="connsiteX1678" fmla="*/ 618331 w 3813995"/>
                <a:gd name="connsiteY1678" fmla="*/ 962821 h 1718390"/>
                <a:gd name="connsiteX1679" fmla="*/ 615922 w 3813995"/>
                <a:gd name="connsiteY1679" fmla="*/ 962821 h 1718390"/>
                <a:gd name="connsiteX1680" fmla="*/ 615922 w 3813995"/>
                <a:gd name="connsiteY1680" fmla="*/ 958509 h 1718390"/>
                <a:gd name="connsiteX1681" fmla="*/ 617063 w 3813995"/>
                <a:gd name="connsiteY1681" fmla="*/ 959270 h 1718390"/>
                <a:gd name="connsiteX1682" fmla="*/ 614526 w 3813995"/>
                <a:gd name="connsiteY1682" fmla="*/ 959270 h 1718390"/>
                <a:gd name="connsiteX1683" fmla="*/ 614526 w 3813995"/>
                <a:gd name="connsiteY1683" fmla="*/ 954831 h 1718390"/>
                <a:gd name="connsiteX1684" fmla="*/ 615668 w 3813995"/>
                <a:gd name="connsiteY1684" fmla="*/ 955718 h 1718390"/>
                <a:gd name="connsiteX1685" fmla="*/ 611863 w 3813995"/>
                <a:gd name="connsiteY1685" fmla="*/ 955718 h 1718390"/>
                <a:gd name="connsiteX1686" fmla="*/ 611863 w 3813995"/>
                <a:gd name="connsiteY1686" fmla="*/ 951279 h 1718390"/>
                <a:gd name="connsiteX1687" fmla="*/ 612877 w 3813995"/>
                <a:gd name="connsiteY1687" fmla="*/ 952040 h 1718390"/>
                <a:gd name="connsiteX1688" fmla="*/ 611482 w 3813995"/>
                <a:gd name="connsiteY1688" fmla="*/ 952040 h 1718390"/>
                <a:gd name="connsiteX1689" fmla="*/ 609072 w 3813995"/>
                <a:gd name="connsiteY1689" fmla="*/ 952040 h 1718390"/>
                <a:gd name="connsiteX1690" fmla="*/ 609072 w 3813995"/>
                <a:gd name="connsiteY1690" fmla="*/ 947728 h 1718390"/>
                <a:gd name="connsiteX1691" fmla="*/ 610214 w 3813995"/>
                <a:gd name="connsiteY1691" fmla="*/ 948489 h 1718390"/>
                <a:gd name="connsiteX1692" fmla="*/ 606409 w 3813995"/>
                <a:gd name="connsiteY1692" fmla="*/ 948489 h 1718390"/>
                <a:gd name="connsiteX1693" fmla="*/ 606409 w 3813995"/>
                <a:gd name="connsiteY1693" fmla="*/ 944176 h 1718390"/>
                <a:gd name="connsiteX1694" fmla="*/ 607550 w 3813995"/>
                <a:gd name="connsiteY1694" fmla="*/ 944937 h 1718390"/>
                <a:gd name="connsiteX1695" fmla="*/ 605014 w 3813995"/>
                <a:gd name="connsiteY1695" fmla="*/ 944937 h 1718390"/>
                <a:gd name="connsiteX1696" fmla="*/ 605014 w 3813995"/>
                <a:gd name="connsiteY1696" fmla="*/ 936947 h 1718390"/>
                <a:gd name="connsiteX1697" fmla="*/ 606155 w 3813995"/>
                <a:gd name="connsiteY1697" fmla="*/ 937708 h 1718390"/>
                <a:gd name="connsiteX1698" fmla="*/ 604760 w 3813995"/>
                <a:gd name="connsiteY1698" fmla="*/ 937708 h 1718390"/>
                <a:gd name="connsiteX1699" fmla="*/ 600701 w 3813995"/>
                <a:gd name="connsiteY1699" fmla="*/ 937708 h 1718390"/>
                <a:gd name="connsiteX1700" fmla="*/ 595501 w 3813995"/>
                <a:gd name="connsiteY1700" fmla="*/ 937708 h 1718390"/>
                <a:gd name="connsiteX1701" fmla="*/ 595501 w 3813995"/>
                <a:gd name="connsiteY1701" fmla="*/ 929844 h 1718390"/>
                <a:gd name="connsiteX1702" fmla="*/ 596642 w 3813995"/>
                <a:gd name="connsiteY1702" fmla="*/ 930605 h 1718390"/>
                <a:gd name="connsiteX1703" fmla="*/ 592837 w 3813995"/>
                <a:gd name="connsiteY1703" fmla="*/ 930605 h 1718390"/>
                <a:gd name="connsiteX1704" fmla="*/ 592837 w 3813995"/>
                <a:gd name="connsiteY1704" fmla="*/ 926292 h 1718390"/>
                <a:gd name="connsiteX1705" fmla="*/ 593979 w 3813995"/>
                <a:gd name="connsiteY1705" fmla="*/ 927053 h 1718390"/>
                <a:gd name="connsiteX1706" fmla="*/ 591442 w 3813995"/>
                <a:gd name="connsiteY1706" fmla="*/ 927053 h 1718390"/>
                <a:gd name="connsiteX1707" fmla="*/ 591442 w 3813995"/>
                <a:gd name="connsiteY1707" fmla="*/ 922614 h 1718390"/>
                <a:gd name="connsiteX1708" fmla="*/ 592584 w 3813995"/>
                <a:gd name="connsiteY1708" fmla="*/ 923502 h 1718390"/>
                <a:gd name="connsiteX1709" fmla="*/ 590047 w 3813995"/>
                <a:gd name="connsiteY1709" fmla="*/ 923502 h 1718390"/>
                <a:gd name="connsiteX1710" fmla="*/ 590047 w 3813995"/>
                <a:gd name="connsiteY1710" fmla="*/ 919062 h 1718390"/>
                <a:gd name="connsiteX1711" fmla="*/ 591188 w 3813995"/>
                <a:gd name="connsiteY1711" fmla="*/ 919950 h 1718390"/>
                <a:gd name="connsiteX1712" fmla="*/ 587383 w 3813995"/>
                <a:gd name="connsiteY1712" fmla="*/ 919950 h 1718390"/>
                <a:gd name="connsiteX1713" fmla="*/ 587383 w 3813995"/>
                <a:gd name="connsiteY1713" fmla="*/ 915511 h 1718390"/>
                <a:gd name="connsiteX1714" fmla="*/ 588398 w 3813995"/>
                <a:gd name="connsiteY1714" fmla="*/ 916399 h 1718390"/>
                <a:gd name="connsiteX1715" fmla="*/ 584593 w 3813995"/>
                <a:gd name="connsiteY1715" fmla="*/ 916399 h 1718390"/>
                <a:gd name="connsiteX1716" fmla="*/ 584593 w 3813995"/>
                <a:gd name="connsiteY1716" fmla="*/ 912086 h 1718390"/>
                <a:gd name="connsiteX1717" fmla="*/ 585734 w 3813995"/>
                <a:gd name="connsiteY1717" fmla="*/ 912847 h 1718390"/>
                <a:gd name="connsiteX1718" fmla="*/ 581929 w 3813995"/>
                <a:gd name="connsiteY1718" fmla="*/ 912847 h 1718390"/>
                <a:gd name="connsiteX1719" fmla="*/ 581929 w 3813995"/>
                <a:gd name="connsiteY1719" fmla="*/ 908535 h 1718390"/>
                <a:gd name="connsiteX1720" fmla="*/ 583071 w 3813995"/>
                <a:gd name="connsiteY1720" fmla="*/ 909296 h 1718390"/>
                <a:gd name="connsiteX1721" fmla="*/ 580534 w 3813995"/>
                <a:gd name="connsiteY1721" fmla="*/ 909296 h 1718390"/>
                <a:gd name="connsiteX1722" fmla="*/ 580534 w 3813995"/>
                <a:gd name="connsiteY1722" fmla="*/ 901305 h 1718390"/>
                <a:gd name="connsiteX1723" fmla="*/ 581676 w 3813995"/>
                <a:gd name="connsiteY1723" fmla="*/ 902066 h 1718390"/>
                <a:gd name="connsiteX1724" fmla="*/ 579266 w 3813995"/>
                <a:gd name="connsiteY1724" fmla="*/ 902066 h 1718390"/>
                <a:gd name="connsiteX1725" fmla="*/ 579266 w 3813995"/>
                <a:gd name="connsiteY1725" fmla="*/ 897754 h 1718390"/>
                <a:gd name="connsiteX1726" fmla="*/ 580280 w 3813995"/>
                <a:gd name="connsiteY1726" fmla="*/ 898515 h 1718390"/>
                <a:gd name="connsiteX1727" fmla="*/ 575080 w 3813995"/>
                <a:gd name="connsiteY1727" fmla="*/ 898515 h 1718390"/>
                <a:gd name="connsiteX1728" fmla="*/ 575080 w 3813995"/>
                <a:gd name="connsiteY1728" fmla="*/ 894202 h 1718390"/>
                <a:gd name="connsiteX1729" fmla="*/ 576222 w 3813995"/>
                <a:gd name="connsiteY1729" fmla="*/ 894963 h 1718390"/>
                <a:gd name="connsiteX1730" fmla="*/ 574826 w 3813995"/>
                <a:gd name="connsiteY1730" fmla="*/ 894963 h 1718390"/>
                <a:gd name="connsiteX1731" fmla="*/ 572416 w 3813995"/>
                <a:gd name="connsiteY1731" fmla="*/ 894963 h 1718390"/>
                <a:gd name="connsiteX1732" fmla="*/ 572416 w 3813995"/>
                <a:gd name="connsiteY1732" fmla="*/ 890651 h 1718390"/>
                <a:gd name="connsiteX1733" fmla="*/ 573431 w 3813995"/>
                <a:gd name="connsiteY1733" fmla="*/ 891539 h 1718390"/>
                <a:gd name="connsiteX1734" fmla="*/ 572163 w 3813995"/>
                <a:gd name="connsiteY1734" fmla="*/ 891539 h 1718390"/>
                <a:gd name="connsiteX1735" fmla="*/ 568104 w 3813995"/>
                <a:gd name="connsiteY1735" fmla="*/ 891539 h 1718390"/>
                <a:gd name="connsiteX1736" fmla="*/ 562904 w 3813995"/>
                <a:gd name="connsiteY1736" fmla="*/ 891539 h 1718390"/>
                <a:gd name="connsiteX1737" fmla="*/ 562904 w 3813995"/>
                <a:gd name="connsiteY1737" fmla="*/ 887226 h 1718390"/>
                <a:gd name="connsiteX1738" fmla="*/ 563918 w 3813995"/>
                <a:gd name="connsiteY1738" fmla="*/ 887987 h 1718390"/>
                <a:gd name="connsiteX1739" fmla="*/ 562650 w 3813995"/>
                <a:gd name="connsiteY1739" fmla="*/ 887987 h 1718390"/>
                <a:gd name="connsiteX1740" fmla="*/ 558591 w 3813995"/>
                <a:gd name="connsiteY1740" fmla="*/ 887987 h 1718390"/>
                <a:gd name="connsiteX1741" fmla="*/ 557196 w 3813995"/>
                <a:gd name="connsiteY1741" fmla="*/ 887987 h 1718390"/>
                <a:gd name="connsiteX1742" fmla="*/ 554786 w 3813995"/>
                <a:gd name="connsiteY1742" fmla="*/ 887987 h 1718390"/>
                <a:gd name="connsiteX1743" fmla="*/ 554786 w 3813995"/>
                <a:gd name="connsiteY1743" fmla="*/ 880250 h 1718390"/>
                <a:gd name="connsiteX1744" fmla="*/ 555801 w 3813995"/>
                <a:gd name="connsiteY1744" fmla="*/ 881011 h 1718390"/>
                <a:gd name="connsiteX1745" fmla="*/ 553391 w 3813995"/>
                <a:gd name="connsiteY1745" fmla="*/ 881011 h 1718390"/>
                <a:gd name="connsiteX1746" fmla="*/ 553391 w 3813995"/>
                <a:gd name="connsiteY1746" fmla="*/ 876826 h 1718390"/>
                <a:gd name="connsiteX1747" fmla="*/ 554406 w 3813995"/>
                <a:gd name="connsiteY1747" fmla="*/ 877587 h 1718390"/>
                <a:gd name="connsiteX1748" fmla="*/ 550347 w 3813995"/>
                <a:gd name="connsiteY1748" fmla="*/ 877587 h 1718390"/>
                <a:gd name="connsiteX1749" fmla="*/ 547683 w 3813995"/>
                <a:gd name="connsiteY1749" fmla="*/ 877587 h 1718390"/>
                <a:gd name="connsiteX1750" fmla="*/ 545273 w 3813995"/>
                <a:gd name="connsiteY1750" fmla="*/ 877587 h 1718390"/>
                <a:gd name="connsiteX1751" fmla="*/ 545273 w 3813995"/>
                <a:gd name="connsiteY1751" fmla="*/ 869850 h 1718390"/>
                <a:gd name="connsiteX1752" fmla="*/ 546288 w 3813995"/>
                <a:gd name="connsiteY1752" fmla="*/ 870611 h 1718390"/>
                <a:gd name="connsiteX1753" fmla="*/ 545020 w 3813995"/>
                <a:gd name="connsiteY1753" fmla="*/ 870611 h 1718390"/>
                <a:gd name="connsiteX1754" fmla="*/ 542483 w 3813995"/>
                <a:gd name="connsiteY1754" fmla="*/ 870611 h 1718390"/>
                <a:gd name="connsiteX1755" fmla="*/ 542483 w 3813995"/>
                <a:gd name="connsiteY1755" fmla="*/ 866425 h 1718390"/>
                <a:gd name="connsiteX1756" fmla="*/ 543624 w 3813995"/>
                <a:gd name="connsiteY1756" fmla="*/ 867186 h 1718390"/>
                <a:gd name="connsiteX1757" fmla="*/ 538424 w 3813995"/>
                <a:gd name="connsiteY1757" fmla="*/ 867186 h 1718390"/>
                <a:gd name="connsiteX1758" fmla="*/ 538424 w 3813995"/>
                <a:gd name="connsiteY1758" fmla="*/ 863000 h 1718390"/>
                <a:gd name="connsiteX1759" fmla="*/ 539439 w 3813995"/>
                <a:gd name="connsiteY1759" fmla="*/ 863761 h 1718390"/>
                <a:gd name="connsiteX1760" fmla="*/ 535760 w 3813995"/>
                <a:gd name="connsiteY1760" fmla="*/ 863761 h 1718390"/>
                <a:gd name="connsiteX1761" fmla="*/ 535760 w 3813995"/>
                <a:gd name="connsiteY1761" fmla="*/ 859576 h 1718390"/>
                <a:gd name="connsiteX1762" fmla="*/ 536902 w 3813995"/>
                <a:gd name="connsiteY1762" fmla="*/ 860337 h 1718390"/>
                <a:gd name="connsiteX1763" fmla="*/ 534365 w 3813995"/>
                <a:gd name="connsiteY1763" fmla="*/ 860337 h 1718390"/>
                <a:gd name="connsiteX1764" fmla="*/ 534365 w 3813995"/>
                <a:gd name="connsiteY1764" fmla="*/ 856151 h 1718390"/>
                <a:gd name="connsiteX1765" fmla="*/ 535507 w 3813995"/>
                <a:gd name="connsiteY1765" fmla="*/ 856912 h 1718390"/>
                <a:gd name="connsiteX1766" fmla="*/ 532970 w 3813995"/>
                <a:gd name="connsiteY1766" fmla="*/ 856912 h 1718390"/>
                <a:gd name="connsiteX1767" fmla="*/ 532970 w 3813995"/>
                <a:gd name="connsiteY1767" fmla="*/ 852727 h 1718390"/>
                <a:gd name="connsiteX1768" fmla="*/ 534112 w 3813995"/>
                <a:gd name="connsiteY1768" fmla="*/ 853614 h 1718390"/>
                <a:gd name="connsiteX1769" fmla="*/ 530306 w 3813995"/>
                <a:gd name="connsiteY1769" fmla="*/ 853614 h 1718390"/>
                <a:gd name="connsiteX1770" fmla="*/ 530306 w 3813995"/>
                <a:gd name="connsiteY1770" fmla="*/ 849302 h 1718390"/>
                <a:gd name="connsiteX1771" fmla="*/ 531321 w 3813995"/>
                <a:gd name="connsiteY1771" fmla="*/ 850190 h 1718390"/>
                <a:gd name="connsiteX1772" fmla="*/ 528911 w 3813995"/>
                <a:gd name="connsiteY1772" fmla="*/ 850190 h 1718390"/>
                <a:gd name="connsiteX1773" fmla="*/ 528911 w 3813995"/>
                <a:gd name="connsiteY1773" fmla="*/ 846004 h 1718390"/>
                <a:gd name="connsiteX1774" fmla="*/ 530053 w 3813995"/>
                <a:gd name="connsiteY1774" fmla="*/ 846765 h 1718390"/>
                <a:gd name="connsiteX1775" fmla="*/ 527516 w 3813995"/>
                <a:gd name="connsiteY1775" fmla="*/ 846765 h 1718390"/>
                <a:gd name="connsiteX1776" fmla="*/ 527516 w 3813995"/>
                <a:gd name="connsiteY1776" fmla="*/ 842580 h 1718390"/>
                <a:gd name="connsiteX1777" fmla="*/ 528658 w 3813995"/>
                <a:gd name="connsiteY1777" fmla="*/ 843341 h 1718390"/>
                <a:gd name="connsiteX1778" fmla="*/ 523204 w 3813995"/>
                <a:gd name="connsiteY1778" fmla="*/ 843341 h 1718390"/>
                <a:gd name="connsiteX1779" fmla="*/ 520540 w 3813995"/>
                <a:gd name="connsiteY1779" fmla="*/ 843341 h 1718390"/>
                <a:gd name="connsiteX1780" fmla="*/ 515340 w 3813995"/>
                <a:gd name="connsiteY1780" fmla="*/ 843341 h 1718390"/>
                <a:gd name="connsiteX1781" fmla="*/ 515340 w 3813995"/>
                <a:gd name="connsiteY1781" fmla="*/ 839282 h 1718390"/>
                <a:gd name="connsiteX1782" fmla="*/ 516354 w 3813995"/>
                <a:gd name="connsiteY1782" fmla="*/ 840043 h 1718390"/>
                <a:gd name="connsiteX1783" fmla="*/ 512422 w 3813995"/>
                <a:gd name="connsiteY1783" fmla="*/ 840043 h 1718390"/>
                <a:gd name="connsiteX1784" fmla="*/ 508490 w 3813995"/>
                <a:gd name="connsiteY1784" fmla="*/ 840043 h 1718390"/>
                <a:gd name="connsiteX1785" fmla="*/ 508490 w 3813995"/>
                <a:gd name="connsiteY1785" fmla="*/ 832559 h 1718390"/>
                <a:gd name="connsiteX1786" fmla="*/ 509632 w 3813995"/>
                <a:gd name="connsiteY1786" fmla="*/ 833320 h 1718390"/>
                <a:gd name="connsiteX1787" fmla="*/ 505827 w 3813995"/>
                <a:gd name="connsiteY1787" fmla="*/ 833320 h 1718390"/>
                <a:gd name="connsiteX1788" fmla="*/ 505827 w 3813995"/>
                <a:gd name="connsiteY1788" fmla="*/ 825837 h 1718390"/>
                <a:gd name="connsiteX1789" fmla="*/ 506842 w 3813995"/>
                <a:gd name="connsiteY1789" fmla="*/ 826598 h 1718390"/>
                <a:gd name="connsiteX1790" fmla="*/ 505573 w 3813995"/>
                <a:gd name="connsiteY1790" fmla="*/ 826598 h 1718390"/>
                <a:gd name="connsiteX1791" fmla="*/ 501768 w 3813995"/>
                <a:gd name="connsiteY1791" fmla="*/ 826598 h 1718390"/>
                <a:gd name="connsiteX1792" fmla="*/ 501768 w 3813995"/>
                <a:gd name="connsiteY1792" fmla="*/ 822539 h 1718390"/>
                <a:gd name="connsiteX1793" fmla="*/ 502910 w 3813995"/>
                <a:gd name="connsiteY1793" fmla="*/ 823300 h 1718390"/>
                <a:gd name="connsiteX1794" fmla="*/ 500373 w 3813995"/>
                <a:gd name="connsiteY1794" fmla="*/ 823300 h 1718390"/>
                <a:gd name="connsiteX1795" fmla="*/ 500373 w 3813995"/>
                <a:gd name="connsiteY1795" fmla="*/ 819242 h 1718390"/>
                <a:gd name="connsiteX1796" fmla="*/ 501514 w 3813995"/>
                <a:gd name="connsiteY1796" fmla="*/ 820003 h 1718390"/>
                <a:gd name="connsiteX1797" fmla="*/ 496314 w 3813995"/>
                <a:gd name="connsiteY1797" fmla="*/ 820003 h 1718390"/>
                <a:gd name="connsiteX1798" fmla="*/ 496314 w 3813995"/>
                <a:gd name="connsiteY1798" fmla="*/ 815944 h 1718390"/>
                <a:gd name="connsiteX1799" fmla="*/ 497329 w 3813995"/>
                <a:gd name="connsiteY1799" fmla="*/ 816705 h 1718390"/>
                <a:gd name="connsiteX1800" fmla="*/ 494919 w 3813995"/>
                <a:gd name="connsiteY1800" fmla="*/ 816705 h 1718390"/>
                <a:gd name="connsiteX1801" fmla="*/ 494919 w 3813995"/>
                <a:gd name="connsiteY1801" fmla="*/ 812646 h 1718390"/>
                <a:gd name="connsiteX1802" fmla="*/ 496060 w 3813995"/>
                <a:gd name="connsiteY1802" fmla="*/ 813407 h 1718390"/>
                <a:gd name="connsiteX1803" fmla="*/ 493524 w 3813995"/>
                <a:gd name="connsiteY1803" fmla="*/ 813407 h 1718390"/>
                <a:gd name="connsiteX1804" fmla="*/ 493524 w 3813995"/>
                <a:gd name="connsiteY1804" fmla="*/ 809348 h 1718390"/>
                <a:gd name="connsiteX1805" fmla="*/ 494665 w 3813995"/>
                <a:gd name="connsiteY1805" fmla="*/ 810109 h 1718390"/>
                <a:gd name="connsiteX1806" fmla="*/ 488196 w 3813995"/>
                <a:gd name="connsiteY1806" fmla="*/ 810109 h 1718390"/>
                <a:gd name="connsiteX1807" fmla="*/ 488196 w 3813995"/>
                <a:gd name="connsiteY1807" fmla="*/ 805924 h 1718390"/>
                <a:gd name="connsiteX1808" fmla="*/ 489211 w 3813995"/>
                <a:gd name="connsiteY1808" fmla="*/ 806812 h 1718390"/>
                <a:gd name="connsiteX1809" fmla="*/ 485406 w 3813995"/>
                <a:gd name="connsiteY1809" fmla="*/ 806812 h 1718390"/>
                <a:gd name="connsiteX1810" fmla="*/ 485406 w 3813995"/>
                <a:gd name="connsiteY1810" fmla="*/ 802753 h 1718390"/>
                <a:gd name="connsiteX1811" fmla="*/ 486548 w 3813995"/>
                <a:gd name="connsiteY1811" fmla="*/ 803514 h 1718390"/>
                <a:gd name="connsiteX1812" fmla="*/ 484011 w 3813995"/>
                <a:gd name="connsiteY1812" fmla="*/ 803514 h 1718390"/>
                <a:gd name="connsiteX1813" fmla="*/ 484011 w 3813995"/>
                <a:gd name="connsiteY1813" fmla="*/ 799328 h 1718390"/>
                <a:gd name="connsiteX1814" fmla="*/ 485152 w 3813995"/>
                <a:gd name="connsiteY1814" fmla="*/ 800089 h 1718390"/>
                <a:gd name="connsiteX1815" fmla="*/ 474498 w 3813995"/>
                <a:gd name="connsiteY1815" fmla="*/ 800089 h 1718390"/>
                <a:gd name="connsiteX1816" fmla="*/ 474498 w 3813995"/>
                <a:gd name="connsiteY1816" fmla="*/ 796030 h 1718390"/>
                <a:gd name="connsiteX1817" fmla="*/ 475640 w 3813995"/>
                <a:gd name="connsiteY1817" fmla="*/ 796791 h 1718390"/>
                <a:gd name="connsiteX1818" fmla="*/ 470439 w 3813995"/>
                <a:gd name="connsiteY1818" fmla="*/ 796791 h 1718390"/>
                <a:gd name="connsiteX1819" fmla="*/ 470439 w 3813995"/>
                <a:gd name="connsiteY1819" fmla="*/ 792733 h 1718390"/>
                <a:gd name="connsiteX1820" fmla="*/ 471581 w 3813995"/>
                <a:gd name="connsiteY1820" fmla="*/ 793620 h 1718390"/>
                <a:gd name="connsiteX1821" fmla="*/ 467649 w 3813995"/>
                <a:gd name="connsiteY1821" fmla="*/ 793620 h 1718390"/>
                <a:gd name="connsiteX1822" fmla="*/ 467649 w 3813995"/>
                <a:gd name="connsiteY1822" fmla="*/ 789435 h 1718390"/>
                <a:gd name="connsiteX1823" fmla="*/ 468790 w 3813995"/>
                <a:gd name="connsiteY1823" fmla="*/ 790196 h 1718390"/>
                <a:gd name="connsiteX1824" fmla="*/ 467522 w 3813995"/>
                <a:gd name="connsiteY1824" fmla="*/ 790196 h 1718390"/>
                <a:gd name="connsiteX1825" fmla="*/ 465112 w 3813995"/>
                <a:gd name="connsiteY1825" fmla="*/ 790196 h 1718390"/>
                <a:gd name="connsiteX1826" fmla="*/ 465112 w 3813995"/>
                <a:gd name="connsiteY1826" fmla="*/ 786137 h 1718390"/>
                <a:gd name="connsiteX1827" fmla="*/ 466127 w 3813995"/>
                <a:gd name="connsiteY1827" fmla="*/ 786898 h 1718390"/>
                <a:gd name="connsiteX1828" fmla="*/ 463717 w 3813995"/>
                <a:gd name="connsiteY1828" fmla="*/ 786898 h 1718390"/>
                <a:gd name="connsiteX1829" fmla="*/ 463717 w 3813995"/>
                <a:gd name="connsiteY1829" fmla="*/ 782839 h 1718390"/>
                <a:gd name="connsiteX1830" fmla="*/ 464732 w 3813995"/>
                <a:gd name="connsiteY1830" fmla="*/ 783600 h 1718390"/>
                <a:gd name="connsiteX1831" fmla="*/ 458263 w 3813995"/>
                <a:gd name="connsiteY1831" fmla="*/ 783600 h 1718390"/>
                <a:gd name="connsiteX1832" fmla="*/ 458263 w 3813995"/>
                <a:gd name="connsiteY1832" fmla="*/ 779542 h 1718390"/>
                <a:gd name="connsiteX1833" fmla="*/ 459278 w 3813995"/>
                <a:gd name="connsiteY1833" fmla="*/ 780303 h 1718390"/>
                <a:gd name="connsiteX1834" fmla="*/ 454204 w 3813995"/>
                <a:gd name="connsiteY1834" fmla="*/ 780303 h 1718390"/>
                <a:gd name="connsiteX1835" fmla="*/ 454204 w 3813995"/>
                <a:gd name="connsiteY1835" fmla="*/ 776244 h 1718390"/>
                <a:gd name="connsiteX1836" fmla="*/ 455346 w 3813995"/>
                <a:gd name="connsiteY1836" fmla="*/ 777005 h 1718390"/>
                <a:gd name="connsiteX1837" fmla="*/ 452809 w 3813995"/>
                <a:gd name="connsiteY1837" fmla="*/ 777005 h 1718390"/>
                <a:gd name="connsiteX1838" fmla="*/ 452809 w 3813995"/>
                <a:gd name="connsiteY1838" fmla="*/ 772946 h 1718390"/>
                <a:gd name="connsiteX1839" fmla="*/ 453950 w 3813995"/>
                <a:gd name="connsiteY1839" fmla="*/ 773707 h 1718390"/>
                <a:gd name="connsiteX1840" fmla="*/ 452555 w 3813995"/>
                <a:gd name="connsiteY1840" fmla="*/ 773707 h 1718390"/>
                <a:gd name="connsiteX1841" fmla="*/ 447355 w 3813995"/>
                <a:gd name="connsiteY1841" fmla="*/ 773707 h 1718390"/>
                <a:gd name="connsiteX1842" fmla="*/ 447355 w 3813995"/>
                <a:gd name="connsiteY1842" fmla="*/ 763180 h 1718390"/>
                <a:gd name="connsiteX1843" fmla="*/ 448496 w 3813995"/>
                <a:gd name="connsiteY1843" fmla="*/ 763941 h 1718390"/>
                <a:gd name="connsiteX1844" fmla="*/ 443296 w 3813995"/>
                <a:gd name="connsiteY1844" fmla="*/ 763941 h 1718390"/>
                <a:gd name="connsiteX1845" fmla="*/ 443296 w 3813995"/>
                <a:gd name="connsiteY1845" fmla="*/ 749988 h 1718390"/>
                <a:gd name="connsiteX1846" fmla="*/ 444438 w 3813995"/>
                <a:gd name="connsiteY1846" fmla="*/ 750749 h 1718390"/>
                <a:gd name="connsiteX1847" fmla="*/ 440633 w 3813995"/>
                <a:gd name="connsiteY1847" fmla="*/ 750749 h 1718390"/>
                <a:gd name="connsiteX1848" fmla="*/ 440633 w 3813995"/>
                <a:gd name="connsiteY1848" fmla="*/ 746691 h 1718390"/>
                <a:gd name="connsiteX1849" fmla="*/ 441647 w 3813995"/>
                <a:gd name="connsiteY1849" fmla="*/ 747452 h 1718390"/>
                <a:gd name="connsiteX1850" fmla="*/ 438984 w 3813995"/>
                <a:gd name="connsiteY1850" fmla="*/ 747452 h 1718390"/>
                <a:gd name="connsiteX1851" fmla="*/ 428329 w 3813995"/>
                <a:gd name="connsiteY1851" fmla="*/ 747452 h 1718390"/>
                <a:gd name="connsiteX1852" fmla="*/ 428329 w 3813995"/>
                <a:gd name="connsiteY1852" fmla="*/ 743393 h 1718390"/>
                <a:gd name="connsiteX1853" fmla="*/ 429471 w 3813995"/>
                <a:gd name="connsiteY1853" fmla="*/ 744281 h 1718390"/>
                <a:gd name="connsiteX1854" fmla="*/ 424271 w 3813995"/>
                <a:gd name="connsiteY1854" fmla="*/ 744281 h 1718390"/>
                <a:gd name="connsiteX1855" fmla="*/ 424271 w 3813995"/>
                <a:gd name="connsiteY1855" fmla="*/ 740095 h 1718390"/>
                <a:gd name="connsiteX1856" fmla="*/ 425285 w 3813995"/>
                <a:gd name="connsiteY1856" fmla="*/ 740983 h 1718390"/>
                <a:gd name="connsiteX1857" fmla="*/ 420085 w 3813995"/>
                <a:gd name="connsiteY1857" fmla="*/ 740983 h 1718390"/>
                <a:gd name="connsiteX1858" fmla="*/ 420085 w 3813995"/>
                <a:gd name="connsiteY1858" fmla="*/ 736924 h 1718390"/>
                <a:gd name="connsiteX1859" fmla="*/ 421226 w 3813995"/>
                <a:gd name="connsiteY1859" fmla="*/ 737685 h 1718390"/>
                <a:gd name="connsiteX1860" fmla="*/ 416153 w 3813995"/>
                <a:gd name="connsiteY1860" fmla="*/ 737685 h 1718390"/>
                <a:gd name="connsiteX1861" fmla="*/ 416153 w 3813995"/>
                <a:gd name="connsiteY1861" fmla="*/ 730329 h 1718390"/>
                <a:gd name="connsiteX1862" fmla="*/ 417168 w 3813995"/>
                <a:gd name="connsiteY1862" fmla="*/ 731090 h 1718390"/>
                <a:gd name="connsiteX1863" fmla="*/ 411967 w 3813995"/>
                <a:gd name="connsiteY1863" fmla="*/ 731090 h 1718390"/>
                <a:gd name="connsiteX1864" fmla="*/ 411967 w 3813995"/>
                <a:gd name="connsiteY1864" fmla="*/ 723733 h 1718390"/>
                <a:gd name="connsiteX1865" fmla="*/ 413109 w 3813995"/>
                <a:gd name="connsiteY1865" fmla="*/ 724494 h 1718390"/>
                <a:gd name="connsiteX1866" fmla="*/ 408035 w 3813995"/>
                <a:gd name="connsiteY1866" fmla="*/ 724494 h 1718390"/>
                <a:gd name="connsiteX1867" fmla="*/ 408035 w 3813995"/>
                <a:gd name="connsiteY1867" fmla="*/ 717138 h 1718390"/>
                <a:gd name="connsiteX1868" fmla="*/ 409050 w 3813995"/>
                <a:gd name="connsiteY1868" fmla="*/ 718025 h 1718390"/>
                <a:gd name="connsiteX1869" fmla="*/ 403850 w 3813995"/>
                <a:gd name="connsiteY1869" fmla="*/ 718025 h 1718390"/>
                <a:gd name="connsiteX1870" fmla="*/ 403850 w 3813995"/>
                <a:gd name="connsiteY1870" fmla="*/ 710669 h 1718390"/>
                <a:gd name="connsiteX1871" fmla="*/ 404991 w 3813995"/>
                <a:gd name="connsiteY1871" fmla="*/ 711430 h 1718390"/>
                <a:gd name="connsiteX1872" fmla="*/ 402455 w 3813995"/>
                <a:gd name="connsiteY1872" fmla="*/ 711430 h 1718390"/>
                <a:gd name="connsiteX1873" fmla="*/ 402455 w 3813995"/>
                <a:gd name="connsiteY1873" fmla="*/ 707371 h 1718390"/>
                <a:gd name="connsiteX1874" fmla="*/ 403596 w 3813995"/>
                <a:gd name="connsiteY1874" fmla="*/ 708132 h 1718390"/>
                <a:gd name="connsiteX1875" fmla="*/ 399791 w 3813995"/>
                <a:gd name="connsiteY1875" fmla="*/ 708132 h 1718390"/>
                <a:gd name="connsiteX1876" fmla="*/ 399791 w 3813995"/>
                <a:gd name="connsiteY1876" fmla="*/ 704073 h 1718390"/>
                <a:gd name="connsiteX1877" fmla="*/ 400806 w 3813995"/>
                <a:gd name="connsiteY1877" fmla="*/ 704834 h 1718390"/>
                <a:gd name="connsiteX1878" fmla="*/ 397001 w 3813995"/>
                <a:gd name="connsiteY1878" fmla="*/ 704834 h 1718390"/>
                <a:gd name="connsiteX1879" fmla="*/ 397001 w 3813995"/>
                <a:gd name="connsiteY1879" fmla="*/ 700902 h 1718390"/>
                <a:gd name="connsiteX1880" fmla="*/ 398142 w 3813995"/>
                <a:gd name="connsiteY1880" fmla="*/ 701663 h 1718390"/>
                <a:gd name="connsiteX1881" fmla="*/ 394337 w 3813995"/>
                <a:gd name="connsiteY1881" fmla="*/ 701663 h 1718390"/>
                <a:gd name="connsiteX1882" fmla="*/ 394337 w 3813995"/>
                <a:gd name="connsiteY1882" fmla="*/ 697605 h 1718390"/>
                <a:gd name="connsiteX1883" fmla="*/ 395478 w 3813995"/>
                <a:gd name="connsiteY1883" fmla="*/ 698366 h 1718390"/>
                <a:gd name="connsiteX1884" fmla="*/ 392942 w 3813995"/>
                <a:gd name="connsiteY1884" fmla="*/ 698366 h 1718390"/>
                <a:gd name="connsiteX1885" fmla="*/ 392942 w 3813995"/>
                <a:gd name="connsiteY1885" fmla="*/ 694307 h 1718390"/>
                <a:gd name="connsiteX1886" fmla="*/ 394083 w 3813995"/>
                <a:gd name="connsiteY1886" fmla="*/ 695068 h 1718390"/>
                <a:gd name="connsiteX1887" fmla="*/ 391673 w 3813995"/>
                <a:gd name="connsiteY1887" fmla="*/ 695068 h 1718390"/>
                <a:gd name="connsiteX1888" fmla="*/ 391673 w 3813995"/>
                <a:gd name="connsiteY1888" fmla="*/ 691009 h 1718390"/>
                <a:gd name="connsiteX1889" fmla="*/ 392688 w 3813995"/>
                <a:gd name="connsiteY1889" fmla="*/ 691770 h 1718390"/>
                <a:gd name="connsiteX1890" fmla="*/ 390278 w 3813995"/>
                <a:gd name="connsiteY1890" fmla="*/ 691770 h 1718390"/>
                <a:gd name="connsiteX1891" fmla="*/ 390278 w 3813995"/>
                <a:gd name="connsiteY1891" fmla="*/ 684414 h 1718390"/>
                <a:gd name="connsiteX1892" fmla="*/ 391420 w 3813995"/>
                <a:gd name="connsiteY1892" fmla="*/ 685175 h 1718390"/>
                <a:gd name="connsiteX1893" fmla="*/ 388883 w 3813995"/>
                <a:gd name="connsiteY1893" fmla="*/ 685175 h 1718390"/>
                <a:gd name="connsiteX1894" fmla="*/ 388883 w 3813995"/>
                <a:gd name="connsiteY1894" fmla="*/ 681116 h 1718390"/>
                <a:gd name="connsiteX1895" fmla="*/ 390024 w 3813995"/>
                <a:gd name="connsiteY1895" fmla="*/ 682004 h 1718390"/>
                <a:gd name="connsiteX1896" fmla="*/ 386093 w 3813995"/>
                <a:gd name="connsiteY1896" fmla="*/ 682004 h 1718390"/>
                <a:gd name="connsiteX1897" fmla="*/ 386093 w 3813995"/>
                <a:gd name="connsiteY1897" fmla="*/ 677818 h 1718390"/>
                <a:gd name="connsiteX1898" fmla="*/ 387234 w 3813995"/>
                <a:gd name="connsiteY1898" fmla="*/ 678706 h 1718390"/>
                <a:gd name="connsiteX1899" fmla="*/ 384824 w 3813995"/>
                <a:gd name="connsiteY1899" fmla="*/ 678706 h 1718390"/>
                <a:gd name="connsiteX1900" fmla="*/ 384824 w 3813995"/>
                <a:gd name="connsiteY1900" fmla="*/ 674647 h 1718390"/>
                <a:gd name="connsiteX1901" fmla="*/ 385966 w 3813995"/>
                <a:gd name="connsiteY1901" fmla="*/ 675408 h 1718390"/>
                <a:gd name="connsiteX1902" fmla="*/ 382161 w 3813995"/>
                <a:gd name="connsiteY1902" fmla="*/ 675408 h 1718390"/>
                <a:gd name="connsiteX1903" fmla="*/ 382161 w 3813995"/>
                <a:gd name="connsiteY1903" fmla="*/ 668052 h 1718390"/>
                <a:gd name="connsiteX1904" fmla="*/ 383175 w 3813995"/>
                <a:gd name="connsiteY1904" fmla="*/ 668813 h 1718390"/>
                <a:gd name="connsiteX1905" fmla="*/ 379116 w 3813995"/>
                <a:gd name="connsiteY1905" fmla="*/ 668813 h 1718390"/>
                <a:gd name="connsiteX1906" fmla="*/ 375311 w 3813995"/>
                <a:gd name="connsiteY1906" fmla="*/ 668813 h 1718390"/>
                <a:gd name="connsiteX1907" fmla="*/ 375311 w 3813995"/>
                <a:gd name="connsiteY1907" fmla="*/ 664754 h 1718390"/>
                <a:gd name="connsiteX1908" fmla="*/ 376326 w 3813995"/>
                <a:gd name="connsiteY1908" fmla="*/ 665515 h 1718390"/>
                <a:gd name="connsiteX1909" fmla="*/ 367194 w 3813995"/>
                <a:gd name="connsiteY1909" fmla="*/ 665515 h 1718390"/>
                <a:gd name="connsiteX1910" fmla="*/ 367194 w 3813995"/>
                <a:gd name="connsiteY1910" fmla="*/ 658285 h 1718390"/>
                <a:gd name="connsiteX1911" fmla="*/ 368208 w 3813995"/>
                <a:gd name="connsiteY1911" fmla="*/ 659046 h 1718390"/>
                <a:gd name="connsiteX1912" fmla="*/ 365799 w 3813995"/>
                <a:gd name="connsiteY1912" fmla="*/ 659046 h 1718390"/>
                <a:gd name="connsiteX1913" fmla="*/ 365799 w 3813995"/>
                <a:gd name="connsiteY1913" fmla="*/ 654987 h 1718390"/>
                <a:gd name="connsiteX1914" fmla="*/ 366940 w 3813995"/>
                <a:gd name="connsiteY1914" fmla="*/ 655748 h 1718390"/>
                <a:gd name="connsiteX1915" fmla="*/ 364403 w 3813995"/>
                <a:gd name="connsiteY1915" fmla="*/ 655748 h 1718390"/>
                <a:gd name="connsiteX1916" fmla="*/ 364403 w 3813995"/>
                <a:gd name="connsiteY1916" fmla="*/ 648392 h 1718390"/>
                <a:gd name="connsiteX1917" fmla="*/ 365545 w 3813995"/>
                <a:gd name="connsiteY1917" fmla="*/ 649153 h 1718390"/>
                <a:gd name="connsiteX1918" fmla="*/ 361740 w 3813995"/>
                <a:gd name="connsiteY1918" fmla="*/ 649153 h 1718390"/>
                <a:gd name="connsiteX1919" fmla="*/ 361740 w 3813995"/>
                <a:gd name="connsiteY1919" fmla="*/ 645221 h 1718390"/>
                <a:gd name="connsiteX1920" fmla="*/ 362754 w 3813995"/>
                <a:gd name="connsiteY1920" fmla="*/ 645982 h 1718390"/>
                <a:gd name="connsiteX1921" fmla="*/ 360345 w 3813995"/>
                <a:gd name="connsiteY1921" fmla="*/ 645982 h 1718390"/>
                <a:gd name="connsiteX1922" fmla="*/ 360345 w 3813995"/>
                <a:gd name="connsiteY1922" fmla="*/ 635328 h 1718390"/>
                <a:gd name="connsiteX1923" fmla="*/ 361486 w 3813995"/>
                <a:gd name="connsiteY1923" fmla="*/ 636089 h 1718390"/>
                <a:gd name="connsiteX1924" fmla="*/ 357681 w 3813995"/>
                <a:gd name="connsiteY1924" fmla="*/ 636089 h 1718390"/>
                <a:gd name="connsiteX1925" fmla="*/ 357681 w 3813995"/>
                <a:gd name="connsiteY1925" fmla="*/ 632030 h 1718390"/>
                <a:gd name="connsiteX1926" fmla="*/ 358696 w 3813995"/>
                <a:gd name="connsiteY1926" fmla="*/ 632791 h 1718390"/>
                <a:gd name="connsiteX1927" fmla="*/ 356286 w 3813995"/>
                <a:gd name="connsiteY1927" fmla="*/ 632791 h 1718390"/>
                <a:gd name="connsiteX1928" fmla="*/ 356286 w 3813995"/>
                <a:gd name="connsiteY1928" fmla="*/ 628732 h 1718390"/>
                <a:gd name="connsiteX1929" fmla="*/ 357427 w 3813995"/>
                <a:gd name="connsiteY1929" fmla="*/ 629620 h 1718390"/>
                <a:gd name="connsiteX1930" fmla="*/ 354891 w 3813995"/>
                <a:gd name="connsiteY1930" fmla="*/ 629620 h 1718390"/>
                <a:gd name="connsiteX1931" fmla="*/ 354891 w 3813995"/>
                <a:gd name="connsiteY1931" fmla="*/ 622263 h 1718390"/>
                <a:gd name="connsiteX1932" fmla="*/ 356032 w 3813995"/>
                <a:gd name="connsiteY1932" fmla="*/ 623024 h 1718390"/>
                <a:gd name="connsiteX1933" fmla="*/ 352227 w 3813995"/>
                <a:gd name="connsiteY1933" fmla="*/ 623024 h 1718390"/>
                <a:gd name="connsiteX1934" fmla="*/ 352227 w 3813995"/>
                <a:gd name="connsiteY1934" fmla="*/ 615668 h 1718390"/>
                <a:gd name="connsiteX1935" fmla="*/ 353242 w 3813995"/>
                <a:gd name="connsiteY1935" fmla="*/ 616556 h 1718390"/>
                <a:gd name="connsiteX1936" fmla="*/ 349563 w 3813995"/>
                <a:gd name="connsiteY1936" fmla="*/ 616556 h 1718390"/>
                <a:gd name="connsiteX1937" fmla="*/ 349563 w 3813995"/>
                <a:gd name="connsiteY1937" fmla="*/ 612497 h 1718390"/>
                <a:gd name="connsiteX1938" fmla="*/ 350578 w 3813995"/>
                <a:gd name="connsiteY1938" fmla="*/ 613258 h 1718390"/>
                <a:gd name="connsiteX1939" fmla="*/ 346773 w 3813995"/>
                <a:gd name="connsiteY1939" fmla="*/ 613258 h 1718390"/>
                <a:gd name="connsiteX1940" fmla="*/ 346773 w 3813995"/>
                <a:gd name="connsiteY1940" fmla="*/ 605901 h 1718390"/>
                <a:gd name="connsiteX1941" fmla="*/ 347915 w 3813995"/>
                <a:gd name="connsiteY1941" fmla="*/ 606789 h 1718390"/>
                <a:gd name="connsiteX1942" fmla="*/ 346519 w 3813995"/>
                <a:gd name="connsiteY1942" fmla="*/ 606789 h 1718390"/>
                <a:gd name="connsiteX1943" fmla="*/ 341319 w 3813995"/>
                <a:gd name="connsiteY1943" fmla="*/ 606789 h 1718390"/>
                <a:gd name="connsiteX1944" fmla="*/ 341319 w 3813995"/>
                <a:gd name="connsiteY1944" fmla="*/ 602730 h 1718390"/>
                <a:gd name="connsiteX1945" fmla="*/ 342461 w 3813995"/>
                <a:gd name="connsiteY1945" fmla="*/ 603491 h 1718390"/>
                <a:gd name="connsiteX1946" fmla="*/ 339924 w 3813995"/>
                <a:gd name="connsiteY1946" fmla="*/ 603491 h 1718390"/>
                <a:gd name="connsiteX1947" fmla="*/ 339924 w 3813995"/>
                <a:gd name="connsiteY1947" fmla="*/ 599433 h 1718390"/>
                <a:gd name="connsiteX1948" fmla="*/ 341065 w 3813995"/>
                <a:gd name="connsiteY1948" fmla="*/ 600194 h 1718390"/>
                <a:gd name="connsiteX1949" fmla="*/ 337260 w 3813995"/>
                <a:gd name="connsiteY1949" fmla="*/ 600194 h 1718390"/>
                <a:gd name="connsiteX1950" fmla="*/ 337260 w 3813995"/>
                <a:gd name="connsiteY1950" fmla="*/ 592964 h 1718390"/>
                <a:gd name="connsiteX1951" fmla="*/ 338402 w 3813995"/>
                <a:gd name="connsiteY1951" fmla="*/ 593725 h 1718390"/>
                <a:gd name="connsiteX1952" fmla="*/ 334597 w 3813995"/>
                <a:gd name="connsiteY1952" fmla="*/ 593725 h 1718390"/>
                <a:gd name="connsiteX1953" fmla="*/ 334597 w 3813995"/>
                <a:gd name="connsiteY1953" fmla="*/ 589793 h 1718390"/>
                <a:gd name="connsiteX1954" fmla="*/ 335611 w 3813995"/>
                <a:gd name="connsiteY1954" fmla="*/ 590554 h 1718390"/>
                <a:gd name="connsiteX1955" fmla="*/ 333201 w 3813995"/>
                <a:gd name="connsiteY1955" fmla="*/ 590554 h 1718390"/>
                <a:gd name="connsiteX1956" fmla="*/ 333201 w 3813995"/>
                <a:gd name="connsiteY1956" fmla="*/ 586495 h 1718390"/>
                <a:gd name="connsiteX1957" fmla="*/ 334343 w 3813995"/>
                <a:gd name="connsiteY1957" fmla="*/ 587256 h 1718390"/>
                <a:gd name="connsiteX1958" fmla="*/ 331806 w 3813995"/>
                <a:gd name="connsiteY1958" fmla="*/ 587256 h 1718390"/>
                <a:gd name="connsiteX1959" fmla="*/ 331806 w 3813995"/>
                <a:gd name="connsiteY1959" fmla="*/ 579900 h 1718390"/>
                <a:gd name="connsiteX1960" fmla="*/ 332948 w 3813995"/>
                <a:gd name="connsiteY1960" fmla="*/ 580788 h 1718390"/>
                <a:gd name="connsiteX1961" fmla="*/ 330411 w 3813995"/>
                <a:gd name="connsiteY1961" fmla="*/ 580788 h 1718390"/>
                <a:gd name="connsiteX1962" fmla="*/ 330411 w 3813995"/>
                <a:gd name="connsiteY1962" fmla="*/ 576729 h 1718390"/>
                <a:gd name="connsiteX1963" fmla="*/ 331552 w 3813995"/>
                <a:gd name="connsiteY1963" fmla="*/ 577490 h 1718390"/>
                <a:gd name="connsiteX1964" fmla="*/ 329016 w 3813995"/>
                <a:gd name="connsiteY1964" fmla="*/ 577490 h 1718390"/>
                <a:gd name="connsiteX1965" fmla="*/ 329016 w 3813995"/>
                <a:gd name="connsiteY1965" fmla="*/ 573558 h 1718390"/>
                <a:gd name="connsiteX1966" fmla="*/ 330157 w 3813995"/>
                <a:gd name="connsiteY1966" fmla="*/ 574319 h 1718390"/>
                <a:gd name="connsiteX1967" fmla="*/ 326479 w 3813995"/>
                <a:gd name="connsiteY1967" fmla="*/ 574319 h 1718390"/>
                <a:gd name="connsiteX1968" fmla="*/ 326479 w 3813995"/>
                <a:gd name="connsiteY1968" fmla="*/ 570260 h 1718390"/>
                <a:gd name="connsiteX1969" fmla="*/ 327494 w 3813995"/>
                <a:gd name="connsiteY1969" fmla="*/ 571021 h 1718390"/>
                <a:gd name="connsiteX1970" fmla="*/ 325084 w 3813995"/>
                <a:gd name="connsiteY1970" fmla="*/ 571021 h 1718390"/>
                <a:gd name="connsiteX1971" fmla="*/ 325084 w 3813995"/>
                <a:gd name="connsiteY1971" fmla="*/ 567089 h 1718390"/>
                <a:gd name="connsiteX1972" fmla="*/ 326099 w 3813995"/>
                <a:gd name="connsiteY1972" fmla="*/ 567850 h 1718390"/>
                <a:gd name="connsiteX1973" fmla="*/ 320898 w 3813995"/>
                <a:gd name="connsiteY1973" fmla="*/ 567850 h 1718390"/>
                <a:gd name="connsiteX1974" fmla="*/ 320898 w 3813995"/>
                <a:gd name="connsiteY1974" fmla="*/ 563791 h 1718390"/>
                <a:gd name="connsiteX1975" fmla="*/ 322040 w 3813995"/>
                <a:gd name="connsiteY1975" fmla="*/ 564552 h 1718390"/>
                <a:gd name="connsiteX1976" fmla="*/ 319630 w 3813995"/>
                <a:gd name="connsiteY1976" fmla="*/ 564552 h 1718390"/>
                <a:gd name="connsiteX1977" fmla="*/ 319630 w 3813995"/>
                <a:gd name="connsiteY1977" fmla="*/ 557196 h 1718390"/>
                <a:gd name="connsiteX1978" fmla="*/ 320645 w 3813995"/>
                <a:gd name="connsiteY1978" fmla="*/ 558084 h 1718390"/>
                <a:gd name="connsiteX1979" fmla="*/ 316839 w 3813995"/>
                <a:gd name="connsiteY1979" fmla="*/ 558084 h 1718390"/>
                <a:gd name="connsiteX1980" fmla="*/ 316839 w 3813995"/>
                <a:gd name="connsiteY1980" fmla="*/ 554025 h 1718390"/>
                <a:gd name="connsiteX1981" fmla="*/ 317981 w 3813995"/>
                <a:gd name="connsiteY1981" fmla="*/ 554786 h 1718390"/>
                <a:gd name="connsiteX1982" fmla="*/ 315444 w 3813995"/>
                <a:gd name="connsiteY1982" fmla="*/ 554786 h 1718390"/>
                <a:gd name="connsiteX1983" fmla="*/ 315444 w 3813995"/>
                <a:gd name="connsiteY1983" fmla="*/ 550727 h 1718390"/>
                <a:gd name="connsiteX1984" fmla="*/ 316586 w 3813995"/>
                <a:gd name="connsiteY1984" fmla="*/ 551488 h 1718390"/>
                <a:gd name="connsiteX1985" fmla="*/ 312781 w 3813995"/>
                <a:gd name="connsiteY1985" fmla="*/ 551488 h 1718390"/>
                <a:gd name="connsiteX1986" fmla="*/ 312781 w 3813995"/>
                <a:gd name="connsiteY1986" fmla="*/ 541088 h 1718390"/>
                <a:gd name="connsiteX1987" fmla="*/ 313922 w 3813995"/>
                <a:gd name="connsiteY1987" fmla="*/ 541849 h 1718390"/>
                <a:gd name="connsiteX1988" fmla="*/ 311512 w 3813995"/>
                <a:gd name="connsiteY1988" fmla="*/ 541849 h 1718390"/>
                <a:gd name="connsiteX1989" fmla="*/ 311512 w 3813995"/>
                <a:gd name="connsiteY1989" fmla="*/ 534492 h 1718390"/>
                <a:gd name="connsiteX1990" fmla="*/ 312527 w 3813995"/>
                <a:gd name="connsiteY1990" fmla="*/ 535380 h 1718390"/>
                <a:gd name="connsiteX1991" fmla="*/ 310117 w 3813995"/>
                <a:gd name="connsiteY1991" fmla="*/ 535380 h 1718390"/>
                <a:gd name="connsiteX1992" fmla="*/ 310117 w 3813995"/>
                <a:gd name="connsiteY1992" fmla="*/ 531321 h 1718390"/>
                <a:gd name="connsiteX1993" fmla="*/ 311132 w 3813995"/>
                <a:gd name="connsiteY1993" fmla="*/ 532082 h 1718390"/>
                <a:gd name="connsiteX1994" fmla="*/ 308722 w 3813995"/>
                <a:gd name="connsiteY1994" fmla="*/ 532082 h 1718390"/>
                <a:gd name="connsiteX1995" fmla="*/ 308722 w 3813995"/>
                <a:gd name="connsiteY1995" fmla="*/ 524726 h 1718390"/>
                <a:gd name="connsiteX1996" fmla="*/ 309863 w 3813995"/>
                <a:gd name="connsiteY1996" fmla="*/ 525613 h 1718390"/>
                <a:gd name="connsiteX1997" fmla="*/ 307327 w 3813995"/>
                <a:gd name="connsiteY1997" fmla="*/ 525613 h 1718390"/>
                <a:gd name="connsiteX1998" fmla="*/ 307327 w 3813995"/>
                <a:gd name="connsiteY1998" fmla="*/ 521555 h 1718390"/>
                <a:gd name="connsiteX1999" fmla="*/ 308468 w 3813995"/>
                <a:gd name="connsiteY1999" fmla="*/ 522316 h 1718390"/>
                <a:gd name="connsiteX2000" fmla="*/ 304663 w 3813995"/>
                <a:gd name="connsiteY2000" fmla="*/ 522316 h 1718390"/>
                <a:gd name="connsiteX2001" fmla="*/ 304663 w 3813995"/>
                <a:gd name="connsiteY2001" fmla="*/ 515086 h 1718390"/>
                <a:gd name="connsiteX2002" fmla="*/ 305678 w 3813995"/>
                <a:gd name="connsiteY2002" fmla="*/ 515847 h 1718390"/>
                <a:gd name="connsiteX2003" fmla="*/ 301999 w 3813995"/>
                <a:gd name="connsiteY2003" fmla="*/ 515847 h 1718390"/>
                <a:gd name="connsiteX2004" fmla="*/ 301999 w 3813995"/>
                <a:gd name="connsiteY2004" fmla="*/ 511788 h 1718390"/>
                <a:gd name="connsiteX2005" fmla="*/ 303014 w 3813995"/>
                <a:gd name="connsiteY2005" fmla="*/ 512549 h 1718390"/>
                <a:gd name="connsiteX2006" fmla="*/ 300604 w 3813995"/>
                <a:gd name="connsiteY2006" fmla="*/ 512549 h 1718390"/>
                <a:gd name="connsiteX2007" fmla="*/ 300604 w 3813995"/>
                <a:gd name="connsiteY2007" fmla="*/ 508617 h 1718390"/>
                <a:gd name="connsiteX2008" fmla="*/ 301619 w 3813995"/>
                <a:gd name="connsiteY2008" fmla="*/ 509378 h 1718390"/>
                <a:gd name="connsiteX2009" fmla="*/ 297814 w 3813995"/>
                <a:gd name="connsiteY2009" fmla="*/ 509378 h 1718390"/>
                <a:gd name="connsiteX2010" fmla="*/ 297814 w 3813995"/>
                <a:gd name="connsiteY2010" fmla="*/ 505319 h 1718390"/>
                <a:gd name="connsiteX2011" fmla="*/ 298955 w 3813995"/>
                <a:gd name="connsiteY2011" fmla="*/ 506080 h 1718390"/>
                <a:gd name="connsiteX2012" fmla="*/ 296165 w 3813995"/>
                <a:gd name="connsiteY2012" fmla="*/ 506080 h 1718390"/>
                <a:gd name="connsiteX2013" fmla="*/ 291091 w 3813995"/>
                <a:gd name="connsiteY2013" fmla="*/ 506080 h 1718390"/>
                <a:gd name="connsiteX2014" fmla="*/ 291091 w 3813995"/>
                <a:gd name="connsiteY2014" fmla="*/ 502022 h 1718390"/>
                <a:gd name="connsiteX2015" fmla="*/ 292233 w 3813995"/>
                <a:gd name="connsiteY2015" fmla="*/ 502910 h 1718390"/>
                <a:gd name="connsiteX2016" fmla="*/ 288301 w 3813995"/>
                <a:gd name="connsiteY2016" fmla="*/ 502910 h 1718390"/>
                <a:gd name="connsiteX2017" fmla="*/ 288301 w 3813995"/>
                <a:gd name="connsiteY2017" fmla="*/ 498851 h 1718390"/>
                <a:gd name="connsiteX2018" fmla="*/ 289443 w 3813995"/>
                <a:gd name="connsiteY2018" fmla="*/ 499612 h 1718390"/>
                <a:gd name="connsiteX2019" fmla="*/ 287033 w 3813995"/>
                <a:gd name="connsiteY2019" fmla="*/ 499612 h 1718390"/>
                <a:gd name="connsiteX2020" fmla="*/ 287033 w 3813995"/>
                <a:gd name="connsiteY2020" fmla="*/ 492382 h 1718390"/>
                <a:gd name="connsiteX2021" fmla="*/ 288047 w 3813995"/>
                <a:gd name="connsiteY2021" fmla="*/ 493143 h 1718390"/>
                <a:gd name="connsiteX2022" fmla="*/ 282847 w 3813995"/>
                <a:gd name="connsiteY2022" fmla="*/ 493143 h 1718390"/>
                <a:gd name="connsiteX2023" fmla="*/ 282847 w 3813995"/>
                <a:gd name="connsiteY2023" fmla="*/ 489084 h 1718390"/>
                <a:gd name="connsiteX2024" fmla="*/ 283989 w 3813995"/>
                <a:gd name="connsiteY2024" fmla="*/ 489972 h 1718390"/>
                <a:gd name="connsiteX2025" fmla="*/ 281198 w 3813995"/>
                <a:gd name="connsiteY2025" fmla="*/ 489972 h 1718390"/>
                <a:gd name="connsiteX2026" fmla="*/ 276125 w 3813995"/>
                <a:gd name="connsiteY2026" fmla="*/ 489972 h 1718390"/>
                <a:gd name="connsiteX2027" fmla="*/ 276125 w 3813995"/>
                <a:gd name="connsiteY2027" fmla="*/ 479445 h 1718390"/>
                <a:gd name="connsiteX2028" fmla="*/ 277266 w 3813995"/>
                <a:gd name="connsiteY2028" fmla="*/ 480206 h 1718390"/>
                <a:gd name="connsiteX2029" fmla="*/ 271939 w 3813995"/>
                <a:gd name="connsiteY2029" fmla="*/ 480206 h 1718390"/>
                <a:gd name="connsiteX2030" fmla="*/ 271939 w 3813995"/>
                <a:gd name="connsiteY2030" fmla="*/ 476147 h 1718390"/>
                <a:gd name="connsiteX2031" fmla="*/ 273081 w 3813995"/>
                <a:gd name="connsiteY2031" fmla="*/ 477035 h 1718390"/>
                <a:gd name="connsiteX2032" fmla="*/ 269275 w 3813995"/>
                <a:gd name="connsiteY2032" fmla="*/ 477035 h 1718390"/>
                <a:gd name="connsiteX2033" fmla="*/ 269275 w 3813995"/>
                <a:gd name="connsiteY2033" fmla="*/ 472976 h 1718390"/>
                <a:gd name="connsiteX2034" fmla="*/ 270417 w 3813995"/>
                <a:gd name="connsiteY2034" fmla="*/ 473737 h 1718390"/>
                <a:gd name="connsiteX2035" fmla="*/ 265217 w 3813995"/>
                <a:gd name="connsiteY2035" fmla="*/ 473737 h 1718390"/>
                <a:gd name="connsiteX2036" fmla="*/ 265217 w 3813995"/>
                <a:gd name="connsiteY2036" fmla="*/ 466507 h 1718390"/>
                <a:gd name="connsiteX2037" fmla="*/ 266358 w 3813995"/>
                <a:gd name="connsiteY2037" fmla="*/ 467395 h 1718390"/>
                <a:gd name="connsiteX2038" fmla="*/ 263821 w 3813995"/>
                <a:gd name="connsiteY2038" fmla="*/ 467395 h 1718390"/>
                <a:gd name="connsiteX2039" fmla="*/ 263821 w 3813995"/>
                <a:gd name="connsiteY2039" fmla="*/ 463336 h 1718390"/>
                <a:gd name="connsiteX2040" fmla="*/ 264963 w 3813995"/>
                <a:gd name="connsiteY2040" fmla="*/ 464097 h 1718390"/>
                <a:gd name="connsiteX2041" fmla="*/ 261158 w 3813995"/>
                <a:gd name="connsiteY2041" fmla="*/ 464097 h 1718390"/>
                <a:gd name="connsiteX2042" fmla="*/ 261158 w 3813995"/>
                <a:gd name="connsiteY2042" fmla="*/ 456868 h 1718390"/>
                <a:gd name="connsiteX2043" fmla="*/ 262173 w 3813995"/>
                <a:gd name="connsiteY2043" fmla="*/ 457756 h 1718390"/>
                <a:gd name="connsiteX2044" fmla="*/ 259763 w 3813995"/>
                <a:gd name="connsiteY2044" fmla="*/ 457756 h 1718390"/>
                <a:gd name="connsiteX2045" fmla="*/ 259763 w 3813995"/>
                <a:gd name="connsiteY2045" fmla="*/ 453697 h 1718390"/>
                <a:gd name="connsiteX2046" fmla="*/ 260904 w 3813995"/>
                <a:gd name="connsiteY2046" fmla="*/ 454458 h 1718390"/>
                <a:gd name="connsiteX2047" fmla="*/ 255704 w 3813995"/>
                <a:gd name="connsiteY2047" fmla="*/ 454458 h 1718390"/>
                <a:gd name="connsiteX2048" fmla="*/ 255704 w 3813995"/>
                <a:gd name="connsiteY2048" fmla="*/ 447228 h 1718390"/>
                <a:gd name="connsiteX2049" fmla="*/ 256845 w 3813995"/>
                <a:gd name="connsiteY2049" fmla="*/ 447989 h 1718390"/>
                <a:gd name="connsiteX2050" fmla="*/ 247586 w 3813995"/>
                <a:gd name="connsiteY2050" fmla="*/ 447989 h 1718390"/>
                <a:gd name="connsiteX2051" fmla="*/ 247586 w 3813995"/>
                <a:gd name="connsiteY2051" fmla="*/ 444057 h 1718390"/>
                <a:gd name="connsiteX2052" fmla="*/ 248601 w 3813995"/>
                <a:gd name="connsiteY2052" fmla="*/ 444818 h 1718390"/>
                <a:gd name="connsiteX2053" fmla="*/ 240737 w 3813995"/>
                <a:gd name="connsiteY2053" fmla="*/ 444818 h 1718390"/>
                <a:gd name="connsiteX2054" fmla="*/ 240737 w 3813995"/>
                <a:gd name="connsiteY2054" fmla="*/ 440886 h 1718390"/>
                <a:gd name="connsiteX2055" fmla="*/ 241879 w 3813995"/>
                <a:gd name="connsiteY2055" fmla="*/ 441647 h 1718390"/>
                <a:gd name="connsiteX2056" fmla="*/ 237693 w 3813995"/>
                <a:gd name="connsiteY2056" fmla="*/ 441647 h 1718390"/>
                <a:gd name="connsiteX2057" fmla="*/ 233888 w 3813995"/>
                <a:gd name="connsiteY2057" fmla="*/ 441647 h 1718390"/>
                <a:gd name="connsiteX2058" fmla="*/ 233888 w 3813995"/>
                <a:gd name="connsiteY2058" fmla="*/ 437588 h 1718390"/>
                <a:gd name="connsiteX2059" fmla="*/ 235029 w 3813995"/>
                <a:gd name="connsiteY2059" fmla="*/ 438349 h 1718390"/>
                <a:gd name="connsiteX2060" fmla="*/ 232619 w 3813995"/>
                <a:gd name="connsiteY2060" fmla="*/ 438349 h 1718390"/>
                <a:gd name="connsiteX2061" fmla="*/ 232619 w 3813995"/>
                <a:gd name="connsiteY2061" fmla="*/ 434417 h 1718390"/>
                <a:gd name="connsiteX2062" fmla="*/ 233761 w 3813995"/>
                <a:gd name="connsiteY2062" fmla="*/ 435178 h 1718390"/>
                <a:gd name="connsiteX2063" fmla="*/ 229956 w 3813995"/>
                <a:gd name="connsiteY2063" fmla="*/ 435178 h 1718390"/>
                <a:gd name="connsiteX2064" fmla="*/ 229956 w 3813995"/>
                <a:gd name="connsiteY2064" fmla="*/ 428076 h 1718390"/>
                <a:gd name="connsiteX2065" fmla="*/ 230971 w 3813995"/>
                <a:gd name="connsiteY2065" fmla="*/ 428837 h 1718390"/>
                <a:gd name="connsiteX2066" fmla="*/ 228561 w 3813995"/>
                <a:gd name="connsiteY2066" fmla="*/ 428837 h 1718390"/>
                <a:gd name="connsiteX2067" fmla="*/ 228561 w 3813995"/>
                <a:gd name="connsiteY2067" fmla="*/ 421607 h 1718390"/>
                <a:gd name="connsiteX2068" fmla="*/ 229575 w 3813995"/>
                <a:gd name="connsiteY2068" fmla="*/ 422368 h 1718390"/>
                <a:gd name="connsiteX2069" fmla="*/ 227165 w 3813995"/>
                <a:gd name="connsiteY2069" fmla="*/ 422368 h 1718390"/>
                <a:gd name="connsiteX2070" fmla="*/ 227165 w 3813995"/>
                <a:gd name="connsiteY2070" fmla="*/ 418436 h 1718390"/>
                <a:gd name="connsiteX2071" fmla="*/ 228307 w 3813995"/>
                <a:gd name="connsiteY2071" fmla="*/ 419197 h 1718390"/>
                <a:gd name="connsiteX2072" fmla="*/ 221711 w 3813995"/>
                <a:gd name="connsiteY2072" fmla="*/ 419197 h 1718390"/>
                <a:gd name="connsiteX2073" fmla="*/ 221711 w 3813995"/>
                <a:gd name="connsiteY2073" fmla="*/ 408796 h 1718390"/>
                <a:gd name="connsiteX2074" fmla="*/ 222726 w 3813995"/>
                <a:gd name="connsiteY2074" fmla="*/ 409557 h 1718390"/>
                <a:gd name="connsiteX2075" fmla="*/ 217399 w 3813995"/>
                <a:gd name="connsiteY2075" fmla="*/ 409557 h 1718390"/>
                <a:gd name="connsiteX2076" fmla="*/ 213594 w 3813995"/>
                <a:gd name="connsiteY2076" fmla="*/ 409557 h 1718390"/>
                <a:gd name="connsiteX2077" fmla="*/ 213594 w 3813995"/>
                <a:gd name="connsiteY2077" fmla="*/ 405499 h 1718390"/>
                <a:gd name="connsiteX2078" fmla="*/ 214609 w 3813995"/>
                <a:gd name="connsiteY2078" fmla="*/ 406260 h 1718390"/>
                <a:gd name="connsiteX2079" fmla="*/ 212199 w 3813995"/>
                <a:gd name="connsiteY2079" fmla="*/ 406260 h 1718390"/>
                <a:gd name="connsiteX2080" fmla="*/ 212199 w 3813995"/>
                <a:gd name="connsiteY2080" fmla="*/ 402328 h 1718390"/>
                <a:gd name="connsiteX2081" fmla="*/ 213340 w 3813995"/>
                <a:gd name="connsiteY2081" fmla="*/ 403216 h 1718390"/>
                <a:gd name="connsiteX2082" fmla="*/ 209535 w 3813995"/>
                <a:gd name="connsiteY2082" fmla="*/ 403216 h 1718390"/>
                <a:gd name="connsiteX2083" fmla="*/ 209535 w 3813995"/>
                <a:gd name="connsiteY2083" fmla="*/ 399157 h 1718390"/>
                <a:gd name="connsiteX2084" fmla="*/ 210677 w 3813995"/>
                <a:gd name="connsiteY2084" fmla="*/ 399918 h 1718390"/>
                <a:gd name="connsiteX2085" fmla="*/ 208140 w 3813995"/>
                <a:gd name="connsiteY2085" fmla="*/ 399918 h 1718390"/>
                <a:gd name="connsiteX2086" fmla="*/ 208140 w 3813995"/>
                <a:gd name="connsiteY2086" fmla="*/ 395986 h 1718390"/>
                <a:gd name="connsiteX2087" fmla="*/ 209281 w 3813995"/>
                <a:gd name="connsiteY2087" fmla="*/ 396747 h 1718390"/>
                <a:gd name="connsiteX2088" fmla="*/ 206745 w 3813995"/>
                <a:gd name="connsiteY2088" fmla="*/ 396747 h 1718390"/>
                <a:gd name="connsiteX2089" fmla="*/ 206745 w 3813995"/>
                <a:gd name="connsiteY2089" fmla="*/ 392688 h 1718390"/>
                <a:gd name="connsiteX2090" fmla="*/ 207886 w 3813995"/>
                <a:gd name="connsiteY2090" fmla="*/ 393576 h 1718390"/>
                <a:gd name="connsiteX2091" fmla="*/ 205476 w 3813995"/>
                <a:gd name="connsiteY2091" fmla="*/ 393576 h 1718390"/>
                <a:gd name="connsiteX2092" fmla="*/ 205476 w 3813995"/>
                <a:gd name="connsiteY2092" fmla="*/ 389517 h 1718390"/>
                <a:gd name="connsiteX2093" fmla="*/ 206491 w 3813995"/>
                <a:gd name="connsiteY2093" fmla="*/ 390278 h 1718390"/>
                <a:gd name="connsiteX2094" fmla="*/ 204081 w 3813995"/>
                <a:gd name="connsiteY2094" fmla="*/ 390278 h 1718390"/>
                <a:gd name="connsiteX2095" fmla="*/ 204081 w 3813995"/>
                <a:gd name="connsiteY2095" fmla="*/ 379877 h 1718390"/>
                <a:gd name="connsiteX2096" fmla="*/ 205096 w 3813995"/>
                <a:gd name="connsiteY2096" fmla="*/ 380765 h 1718390"/>
                <a:gd name="connsiteX2097" fmla="*/ 202686 w 3813995"/>
                <a:gd name="connsiteY2097" fmla="*/ 380765 h 1718390"/>
                <a:gd name="connsiteX2098" fmla="*/ 202686 w 3813995"/>
                <a:gd name="connsiteY2098" fmla="*/ 373536 h 1718390"/>
                <a:gd name="connsiteX2099" fmla="*/ 203827 w 3813995"/>
                <a:gd name="connsiteY2099" fmla="*/ 374297 h 1718390"/>
                <a:gd name="connsiteX2100" fmla="*/ 199895 w 3813995"/>
                <a:gd name="connsiteY2100" fmla="*/ 374297 h 1718390"/>
                <a:gd name="connsiteX2101" fmla="*/ 199895 w 3813995"/>
                <a:gd name="connsiteY2101" fmla="*/ 363896 h 1718390"/>
                <a:gd name="connsiteX2102" fmla="*/ 201037 w 3813995"/>
                <a:gd name="connsiteY2102" fmla="*/ 364657 h 1718390"/>
                <a:gd name="connsiteX2103" fmla="*/ 197359 w 3813995"/>
                <a:gd name="connsiteY2103" fmla="*/ 364657 h 1718390"/>
                <a:gd name="connsiteX2104" fmla="*/ 197359 w 3813995"/>
                <a:gd name="connsiteY2104" fmla="*/ 360725 h 1718390"/>
                <a:gd name="connsiteX2105" fmla="*/ 198373 w 3813995"/>
                <a:gd name="connsiteY2105" fmla="*/ 361486 h 1718390"/>
                <a:gd name="connsiteX2106" fmla="*/ 195964 w 3813995"/>
                <a:gd name="connsiteY2106" fmla="*/ 361486 h 1718390"/>
                <a:gd name="connsiteX2107" fmla="*/ 195964 w 3813995"/>
                <a:gd name="connsiteY2107" fmla="*/ 354383 h 1718390"/>
                <a:gd name="connsiteX2108" fmla="*/ 196978 w 3813995"/>
                <a:gd name="connsiteY2108" fmla="*/ 355144 h 1718390"/>
                <a:gd name="connsiteX2109" fmla="*/ 193173 w 3813995"/>
                <a:gd name="connsiteY2109" fmla="*/ 355144 h 1718390"/>
                <a:gd name="connsiteX2110" fmla="*/ 193173 w 3813995"/>
                <a:gd name="connsiteY2110" fmla="*/ 351085 h 1718390"/>
                <a:gd name="connsiteX2111" fmla="*/ 194315 w 3813995"/>
                <a:gd name="connsiteY2111" fmla="*/ 351973 h 1718390"/>
                <a:gd name="connsiteX2112" fmla="*/ 191778 w 3813995"/>
                <a:gd name="connsiteY2112" fmla="*/ 351973 h 1718390"/>
                <a:gd name="connsiteX2113" fmla="*/ 191778 w 3813995"/>
                <a:gd name="connsiteY2113" fmla="*/ 341573 h 1718390"/>
                <a:gd name="connsiteX2114" fmla="*/ 192919 w 3813995"/>
                <a:gd name="connsiteY2114" fmla="*/ 342334 h 1718390"/>
                <a:gd name="connsiteX2115" fmla="*/ 189114 w 3813995"/>
                <a:gd name="connsiteY2115" fmla="*/ 342334 h 1718390"/>
                <a:gd name="connsiteX2116" fmla="*/ 189114 w 3813995"/>
                <a:gd name="connsiteY2116" fmla="*/ 338402 h 1718390"/>
                <a:gd name="connsiteX2117" fmla="*/ 190129 w 3813995"/>
                <a:gd name="connsiteY2117" fmla="*/ 339163 h 1718390"/>
                <a:gd name="connsiteX2118" fmla="*/ 187719 w 3813995"/>
                <a:gd name="connsiteY2118" fmla="*/ 339163 h 1718390"/>
                <a:gd name="connsiteX2119" fmla="*/ 187719 w 3813995"/>
                <a:gd name="connsiteY2119" fmla="*/ 335231 h 1718390"/>
                <a:gd name="connsiteX2120" fmla="*/ 188861 w 3813995"/>
                <a:gd name="connsiteY2120" fmla="*/ 335992 h 1718390"/>
                <a:gd name="connsiteX2121" fmla="*/ 186324 w 3813995"/>
                <a:gd name="connsiteY2121" fmla="*/ 335992 h 1718390"/>
                <a:gd name="connsiteX2122" fmla="*/ 186324 w 3813995"/>
                <a:gd name="connsiteY2122" fmla="*/ 328762 h 1718390"/>
                <a:gd name="connsiteX2123" fmla="*/ 187465 w 3813995"/>
                <a:gd name="connsiteY2123" fmla="*/ 329523 h 1718390"/>
                <a:gd name="connsiteX2124" fmla="*/ 185056 w 3813995"/>
                <a:gd name="connsiteY2124" fmla="*/ 329523 h 1718390"/>
                <a:gd name="connsiteX2125" fmla="*/ 185056 w 3813995"/>
                <a:gd name="connsiteY2125" fmla="*/ 325591 h 1718390"/>
                <a:gd name="connsiteX2126" fmla="*/ 186197 w 3813995"/>
                <a:gd name="connsiteY2126" fmla="*/ 326352 h 1718390"/>
                <a:gd name="connsiteX2127" fmla="*/ 182265 w 3813995"/>
                <a:gd name="connsiteY2127" fmla="*/ 326352 h 1718390"/>
                <a:gd name="connsiteX2128" fmla="*/ 182265 w 3813995"/>
                <a:gd name="connsiteY2128" fmla="*/ 322420 h 1718390"/>
                <a:gd name="connsiteX2129" fmla="*/ 183407 w 3813995"/>
                <a:gd name="connsiteY2129" fmla="*/ 323181 h 1718390"/>
                <a:gd name="connsiteX2130" fmla="*/ 180997 w 3813995"/>
                <a:gd name="connsiteY2130" fmla="*/ 323181 h 1718390"/>
                <a:gd name="connsiteX2131" fmla="*/ 180997 w 3813995"/>
                <a:gd name="connsiteY2131" fmla="*/ 315952 h 1718390"/>
                <a:gd name="connsiteX2132" fmla="*/ 182011 w 3813995"/>
                <a:gd name="connsiteY2132" fmla="*/ 316839 h 1718390"/>
                <a:gd name="connsiteX2133" fmla="*/ 179602 w 3813995"/>
                <a:gd name="connsiteY2133" fmla="*/ 316839 h 1718390"/>
                <a:gd name="connsiteX2134" fmla="*/ 179602 w 3813995"/>
                <a:gd name="connsiteY2134" fmla="*/ 309610 h 1718390"/>
                <a:gd name="connsiteX2135" fmla="*/ 180616 w 3813995"/>
                <a:gd name="connsiteY2135" fmla="*/ 310371 h 1718390"/>
                <a:gd name="connsiteX2136" fmla="*/ 178206 w 3813995"/>
                <a:gd name="connsiteY2136" fmla="*/ 310371 h 1718390"/>
                <a:gd name="connsiteX2137" fmla="*/ 178206 w 3813995"/>
                <a:gd name="connsiteY2137" fmla="*/ 303268 h 1718390"/>
                <a:gd name="connsiteX2138" fmla="*/ 179348 w 3813995"/>
                <a:gd name="connsiteY2138" fmla="*/ 304029 h 1718390"/>
                <a:gd name="connsiteX2139" fmla="*/ 176811 w 3813995"/>
                <a:gd name="connsiteY2139" fmla="*/ 304029 h 1718390"/>
                <a:gd name="connsiteX2140" fmla="*/ 176811 w 3813995"/>
                <a:gd name="connsiteY2140" fmla="*/ 299970 h 1718390"/>
                <a:gd name="connsiteX2141" fmla="*/ 177953 w 3813995"/>
                <a:gd name="connsiteY2141" fmla="*/ 300731 h 1718390"/>
                <a:gd name="connsiteX2142" fmla="*/ 174148 w 3813995"/>
                <a:gd name="connsiteY2142" fmla="*/ 300731 h 1718390"/>
                <a:gd name="connsiteX2143" fmla="*/ 174148 w 3813995"/>
                <a:gd name="connsiteY2143" fmla="*/ 296799 h 1718390"/>
                <a:gd name="connsiteX2144" fmla="*/ 175289 w 3813995"/>
                <a:gd name="connsiteY2144" fmla="*/ 297560 h 1718390"/>
                <a:gd name="connsiteX2145" fmla="*/ 172879 w 3813995"/>
                <a:gd name="connsiteY2145" fmla="*/ 297560 h 1718390"/>
                <a:gd name="connsiteX2146" fmla="*/ 172879 w 3813995"/>
                <a:gd name="connsiteY2146" fmla="*/ 290457 h 1718390"/>
                <a:gd name="connsiteX2147" fmla="*/ 173894 w 3813995"/>
                <a:gd name="connsiteY2147" fmla="*/ 291218 h 1718390"/>
                <a:gd name="connsiteX2148" fmla="*/ 171484 w 3813995"/>
                <a:gd name="connsiteY2148" fmla="*/ 291218 h 1718390"/>
                <a:gd name="connsiteX2149" fmla="*/ 171484 w 3813995"/>
                <a:gd name="connsiteY2149" fmla="*/ 287159 h 1718390"/>
                <a:gd name="connsiteX2150" fmla="*/ 172499 w 3813995"/>
                <a:gd name="connsiteY2150" fmla="*/ 288047 h 1718390"/>
                <a:gd name="connsiteX2151" fmla="*/ 170089 w 3813995"/>
                <a:gd name="connsiteY2151" fmla="*/ 288047 h 1718390"/>
                <a:gd name="connsiteX2152" fmla="*/ 170089 w 3813995"/>
                <a:gd name="connsiteY2152" fmla="*/ 280818 h 1718390"/>
                <a:gd name="connsiteX2153" fmla="*/ 171230 w 3813995"/>
                <a:gd name="connsiteY2153" fmla="*/ 281579 h 1718390"/>
                <a:gd name="connsiteX2154" fmla="*/ 168694 w 3813995"/>
                <a:gd name="connsiteY2154" fmla="*/ 281579 h 1718390"/>
                <a:gd name="connsiteX2155" fmla="*/ 168694 w 3813995"/>
                <a:gd name="connsiteY2155" fmla="*/ 274476 h 1718390"/>
                <a:gd name="connsiteX2156" fmla="*/ 169835 w 3813995"/>
                <a:gd name="connsiteY2156" fmla="*/ 275237 h 1718390"/>
                <a:gd name="connsiteX2157" fmla="*/ 167298 w 3813995"/>
                <a:gd name="connsiteY2157" fmla="*/ 275237 h 1718390"/>
                <a:gd name="connsiteX2158" fmla="*/ 167298 w 3813995"/>
                <a:gd name="connsiteY2158" fmla="*/ 268007 h 1718390"/>
                <a:gd name="connsiteX2159" fmla="*/ 168440 w 3813995"/>
                <a:gd name="connsiteY2159" fmla="*/ 268768 h 1718390"/>
                <a:gd name="connsiteX2160" fmla="*/ 160576 w 3813995"/>
                <a:gd name="connsiteY2160" fmla="*/ 268768 h 1718390"/>
                <a:gd name="connsiteX2161" fmla="*/ 160576 w 3813995"/>
                <a:gd name="connsiteY2161" fmla="*/ 264836 h 1718390"/>
                <a:gd name="connsiteX2162" fmla="*/ 161717 w 3813995"/>
                <a:gd name="connsiteY2162" fmla="*/ 265724 h 1718390"/>
                <a:gd name="connsiteX2163" fmla="*/ 155122 w 3813995"/>
                <a:gd name="connsiteY2163" fmla="*/ 265724 h 1718390"/>
                <a:gd name="connsiteX2164" fmla="*/ 155122 w 3813995"/>
                <a:gd name="connsiteY2164" fmla="*/ 261665 h 1718390"/>
                <a:gd name="connsiteX2165" fmla="*/ 156137 w 3813995"/>
                <a:gd name="connsiteY2165" fmla="*/ 262426 h 1718390"/>
                <a:gd name="connsiteX2166" fmla="*/ 153727 w 3813995"/>
                <a:gd name="connsiteY2166" fmla="*/ 262426 h 1718390"/>
                <a:gd name="connsiteX2167" fmla="*/ 153727 w 3813995"/>
                <a:gd name="connsiteY2167" fmla="*/ 258494 h 1718390"/>
                <a:gd name="connsiteX2168" fmla="*/ 154868 w 3813995"/>
                <a:gd name="connsiteY2168" fmla="*/ 259255 h 1718390"/>
                <a:gd name="connsiteX2169" fmla="*/ 151063 w 3813995"/>
                <a:gd name="connsiteY2169" fmla="*/ 259255 h 1718390"/>
                <a:gd name="connsiteX2170" fmla="*/ 151063 w 3813995"/>
                <a:gd name="connsiteY2170" fmla="*/ 255196 h 1718390"/>
                <a:gd name="connsiteX2171" fmla="*/ 152205 w 3813995"/>
                <a:gd name="connsiteY2171" fmla="*/ 256084 h 1718390"/>
                <a:gd name="connsiteX2172" fmla="*/ 149668 w 3813995"/>
                <a:gd name="connsiteY2172" fmla="*/ 256084 h 1718390"/>
                <a:gd name="connsiteX2173" fmla="*/ 149668 w 3813995"/>
                <a:gd name="connsiteY2173" fmla="*/ 252152 h 1718390"/>
                <a:gd name="connsiteX2174" fmla="*/ 150809 w 3813995"/>
                <a:gd name="connsiteY2174" fmla="*/ 252913 h 1718390"/>
                <a:gd name="connsiteX2175" fmla="*/ 148400 w 3813995"/>
                <a:gd name="connsiteY2175" fmla="*/ 252913 h 1718390"/>
                <a:gd name="connsiteX2176" fmla="*/ 148400 w 3813995"/>
                <a:gd name="connsiteY2176" fmla="*/ 248855 h 1718390"/>
                <a:gd name="connsiteX2177" fmla="*/ 149414 w 3813995"/>
                <a:gd name="connsiteY2177" fmla="*/ 249616 h 1718390"/>
                <a:gd name="connsiteX2178" fmla="*/ 147004 w 3813995"/>
                <a:gd name="connsiteY2178" fmla="*/ 249616 h 1718390"/>
                <a:gd name="connsiteX2179" fmla="*/ 147004 w 3813995"/>
                <a:gd name="connsiteY2179" fmla="*/ 245684 h 1718390"/>
                <a:gd name="connsiteX2180" fmla="*/ 148019 w 3813995"/>
                <a:gd name="connsiteY2180" fmla="*/ 246445 h 1718390"/>
                <a:gd name="connsiteX2181" fmla="*/ 144214 w 3813995"/>
                <a:gd name="connsiteY2181" fmla="*/ 246445 h 1718390"/>
                <a:gd name="connsiteX2182" fmla="*/ 144214 w 3813995"/>
                <a:gd name="connsiteY2182" fmla="*/ 239342 h 1718390"/>
                <a:gd name="connsiteX2183" fmla="*/ 145355 w 3813995"/>
                <a:gd name="connsiteY2183" fmla="*/ 240103 h 1718390"/>
                <a:gd name="connsiteX2184" fmla="*/ 140155 w 3813995"/>
                <a:gd name="connsiteY2184" fmla="*/ 240103 h 1718390"/>
                <a:gd name="connsiteX2185" fmla="*/ 140155 w 3813995"/>
                <a:gd name="connsiteY2185" fmla="*/ 229702 h 1718390"/>
                <a:gd name="connsiteX2186" fmla="*/ 141170 w 3813995"/>
                <a:gd name="connsiteY2186" fmla="*/ 230463 h 1718390"/>
                <a:gd name="connsiteX2187" fmla="*/ 137492 w 3813995"/>
                <a:gd name="connsiteY2187" fmla="*/ 230463 h 1718390"/>
                <a:gd name="connsiteX2188" fmla="*/ 137492 w 3813995"/>
                <a:gd name="connsiteY2188" fmla="*/ 226531 h 1718390"/>
                <a:gd name="connsiteX2189" fmla="*/ 138633 w 3813995"/>
                <a:gd name="connsiteY2189" fmla="*/ 227292 h 1718390"/>
                <a:gd name="connsiteX2190" fmla="*/ 133306 w 3813995"/>
                <a:gd name="connsiteY2190" fmla="*/ 227292 h 1718390"/>
                <a:gd name="connsiteX2191" fmla="*/ 133306 w 3813995"/>
                <a:gd name="connsiteY2191" fmla="*/ 223233 h 1718390"/>
                <a:gd name="connsiteX2192" fmla="*/ 134447 w 3813995"/>
                <a:gd name="connsiteY2192" fmla="*/ 224121 h 1718390"/>
                <a:gd name="connsiteX2193" fmla="*/ 132038 w 3813995"/>
                <a:gd name="connsiteY2193" fmla="*/ 224121 h 1718390"/>
                <a:gd name="connsiteX2194" fmla="*/ 132038 w 3813995"/>
                <a:gd name="connsiteY2194" fmla="*/ 220189 h 1718390"/>
                <a:gd name="connsiteX2195" fmla="*/ 133052 w 3813995"/>
                <a:gd name="connsiteY2195" fmla="*/ 220950 h 1718390"/>
                <a:gd name="connsiteX2196" fmla="*/ 130642 w 3813995"/>
                <a:gd name="connsiteY2196" fmla="*/ 220950 h 1718390"/>
                <a:gd name="connsiteX2197" fmla="*/ 130642 w 3813995"/>
                <a:gd name="connsiteY2197" fmla="*/ 216892 h 1718390"/>
                <a:gd name="connsiteX2198" fmla="*/ 131784 w 3813995"/>
                <a:gd name="connsiteY2198" fmla="*/ 217653 h 1718390"/>
                <a:gd name="connsiteX2199" fmla="*/ 129247 w 3813995"/>
                <a:gd name="connsiteY2199" fmla="*/ 217653 h 1718390"/>
                <a:gd name="connsiteX2200" fmla="*/ 129247 w 3813995"/>
                <a:gd name="connsiteY2200" fmla="*/ 213721 h 1718390"/>
                <a:gd name="connsiteX2201" fmla="*/ 130389 w 3813995"/>
                <a:gd name="connsiteY2201" fmla="*/ 214482 h 1718390"/>
                <a:gd name="connsiteX2202" fmla="*/ 127852 w 3813995"/>
                <a:gd name="connsiteY2202" fmla="*/ 214482 h 1718390"/>
                <a:gd name="connsiteX2203" fmla="*/ 127852 w 3813995"/>
                <a:gd name="connsiteY2203" fmla="*/ 210550 h 1718390"/>
                <a:gd name="connsiteX2204" fmla="*/ 128993 w 3813995"/>
                <a:gd name="connsiteY2204" fmla="*/ 211311 h 1718390"/>
                <a:gd name="connsiteX2205" fmla="*/ 125188 w 3813995"/>
                <a:gd name="connsiteY2205" fmla="*/ 211311 h 1718390"/>
                <a:gd name="connsiteX2206" fmla="*/ 125188 w 3813995"/>
                <a:gd name="connsiteY2206" fmla="*/ 204081 h 1718390"/>
                <a:gd name="connsiteX2207" fmla="*/ 126330 w 3813995"/>
                <a:gd name="connsiteY2207" fmla="*/ 204969 h 1718390"/>
                <a:gd name="connsiteX2208" fmla="*/ 122525 w 3813995"/>
                <a:gd name="connsiteY2208" fmla="*/ 204969 h 1718390"/>
                <a:gd name="connsiteX2209" fmla="*/ 122525 w 3813995"/>
                <a:gd name="connsiteY2209" fmla="*/ 201037 h 1718390"/>
                <a:gd name="connsiteX2210" fmla="*/ 123539 w 3813995"/>
                <a:gd name="connsiteY2210" fmla="*/ 201798 h 1718390"/>
                <a:gd name="connsiteX2211" fmla="*/ 121130 w 3813995"/>
                <a:gd name="connsiteY2211" fmla="*/ 201798 h 1718390"/>
                <a:gd name="connsiteX2212" fmla="*/ 121130 w 3813995"/>
                <a:gd name="connsiteY2212" fmla="*/ 191397 h 1718390"/>
                <a:gd name="connsiteX2213" fmla="*/ 122271 w 3813995"/>
                <a:gd name="connsiteY2213" fmla="*/ 192158 h 1718390"/>
                <a:gd name="connsiteX2214" fmla="*/ 118339 w 3813995"/>
                <a:gd name="connsiteY2214" fmla="*/ 192158 h 1718390"/>
                <a:gd name="connsiteX2215" fmla="*/ 118339 w 3813995"/>
                <a:gd name="connsiteY2215" fmla="*/ 188226 h 1718390"/>
                <a:gd name="connsiteX2216" fmla="*/ 119481 w 3813995"/>
                <a:gd name="connsiteY2216" fmla="*/ 188987 h 1718390"/>
                <a:gd name="connsiteX2217" fmla="*/ 117071 w 3813995"/>
                <a:gd name="connsiteY2217" fmla="*/ 188987 h 1718390"/>
                <a:gd name="connsiteX2218" fmla="*/ 117071 w 3813995"/>
                <a:gd name="connsiteY2218" fmla="*/ 185055 h 1718390"/>
                <a:gd name="connsiteX2219" fmla="*/ 118085 w 3813995"/>
                <a:gd name="connsiteY2219" fmla="*/ 185817 h 1718390"/>
                <a:gd name="connsiteX2220" fmla="*/ 115802 w 3813995"/>
                <a:gd name="connsiteY2220" fmla="*/ 185817 h 1718390"/>
                <a:gd name="connsiteX2221" fmla="*/ 115802 w 3813995"/>
                <a:gd name="connsiteY2221" fmla="*/ 181758 h 1718390"/>
                <a:gd name="connsiteX2222" fmla="*/ 116817 w 3813995"/>
                <a:gd name="connsiteY2222" fmla="*/ 182646 h 1718390"/>
                <a:gd name="connsiteX2223" fmla="*/ 114407 w 3813995"/>
                <a:gd name="connsiteY2223" fmla="*/ 182646 h 1718390"/>
                <a:gd name="connsiteX2224" fmla="*/ 114407 w 3813995"/>
                <a:gd name="connsiteY2224" fmla="*/ 178714 h 1718390"/>
                <a:gd name="connsiteX2225" fmla="*/ 115422 w 3813995"/>
                <a:gd name="connsiteY2225" fmla="*/ 179475 h 1718390"/>
                <a:gd name="connsiteX2226" fmla="*/ 113012 w 3813995"/>
                <a:gd name="connsiteY2226" fmla="*/ 179475 h 1718390"/>
                <a:gd name="connsiteX2227" fmla="*/ 113012 w 3813995"/>
                <a:gd name="connsiteY2227" fmla="*/ 172245 h 1718390"/>
                <a:gd name="connsiteX2228" fmla="*/ 114154 w 3813995"/>
                <a:gd name="connsiteY2228" fmla="*/ 173133 h 1718390"/>
                <a:gd name="connsiteX2229" fmla="*/ 111617 w 3813995"/>
                <a:gd name="connsiteY2229" fmla="*/ 173133 h 1718390"/>
                <a:gd name="connsiteX2230" fmla="*/ 111617 w 3813995"/>
                <a:gd name="connsiteY2230" fmla="*/ 169074 h 1718390"/>
                <a:gd name="connsiteX2231" fmla="*/ 112758 w 3813995"/>
                <a:gd name="connsiteY2231" fmla="*/ 169835 h 1718390"/>
                <a:gd name="connsiteX2232" fmla="*/ 110222 w 3813995"/>
                <a:gd name="connsiteY2232" fmla="*/ 169835 h 1718390"/>
                <a:gd name="connsiteX2233" fmla="*/ 110222 w 3813995"/>
                <a:gd name="connsiteY2233" fmla="*/ 165903 h 1718390"/>
                <a:gd name="connsiteX2234" fmla="*/ 111363 w 3813995"/>
                <a:gd name="connsiteY2234" fmla="*/ 166664 h 1718390"/>
                <a:gd name="connsiteX2235" fmla="*/ 108953 w 3813995"/>
                <a:gd name="connsiteY2235" fmla="*/ 166664 h 1718390"/>
                <a:gd name="connsiteX2236" fmla="*/ 108953 w 3813995"/>
                <a:gd name="connsiteY2236" fmla="*/ 162732 h 1718390"/>
                <a:gd name="connsiteX2237" fmla="*/ 109968 w 3813995"/>
                <a:gd name="connsiteY2237" fmla="*/ 163493 h 1718390"/>
                <a:gd name="connsiteX2238" fmla="*/ 106163 w 3813995"/>
                <a:gd name="connsiteY2238" fmla="*/ 163493 h 1718390"/>
                <a:gd name="connsiteX2239" fmla="*/ 106163 w 3813995"/>
                <a:gd name="connsiteY2239" fmla="*/ 156390 h 1718390"/>
                <a:gd name="connsiteX2240" fmla="*/ 107304 w 3813995"/>
                <a:gd name="connsiteY2240" fmla="*/ 157151 h 1718390"/>
                <a:gd name="connsiteX2241" fmla="*/ 104768 w 3813995"/>
                <a:gd name="connsiteY2241" fmla="*/ 157151 h 1718390"/>
                <a:gd name="connsiteX2242" fmla="*/ 104768 w 3813995"/>
                <a:gd name="connsiteY2242" fmla="*/ 153093 h 1718390"/>
                <a:gd name="connsiteX2243" fmla="*/ 105909 w 3813995"/>
                <a:gd name="connsiteY2243" fmla="*/ 153980 h 1718390"/>
                <a:gd name="connsiteX2244" fmla="*/ 103499 w 3813995"/>
                <a:gd name="connsiteY2244" fmla="*/ 153980 h 1718390"/>
                <a:gd name="connsiteX2245" fmla="*/ 103499 w 3813995"/>
                <a:gd name="connsiteY2245" fmla="*/ 149922 h 1718390"/>
                <a:gd name="connsiteX2246" fmla="*/ 104641 w 3813995"/>
                <a:gd name="connsiteY2246" fmla="*/ 150809 h 1718390"/>
                <a:gd name="connsiteX2247" fmla="*/ 99060 w 3813995"/>
                <a:gd name="connsiteY2247" fmla="*/ 150809 h 1718390"/>
                <a:gd name="connsiteX2248" fmla="*/ 96650 w 3813995"/>
                <a:gd name="connsiteY2248" fmla="*/ 150809 h 1718390"/>
                <a:gd name="connsiteX2249" fmla="*/ 96650 w 3813995"/>
                <a:gd name="connsiteY2249" fmla="*/ 143580 h 1718390"/>
                <a:gd name="connsiteX2250" fmla="*/ 97792 w 3813995"/>
                <a:gd name="connsiteY2250" fmla="*/ 144468 h 1718390"/>
                <a:gd name="connsiteX2251" fmla="*/ 93860 w 3813995"/>
                <a:gd name="connsiteY2251" fmla="*/ 144468 h 1718390"/>
                <a:gd name="connsiteX2252" fmla="*/ 93860 w 3813995"/>
                <a:gd name="connsiteY2252" fmla="*/ 134067 h 1718390"/>
                <a:gd name="connsiteX2253" fmla="*/ 95001 w 3813995"/>
                <a:gd name="connsiteY2253" fmla="*/ 134828 h 1718390"/>
                <a:gd name="connsiteX2254" fmla="*/ 88532 w 3813995"/>
                <a:gd name="connsiteY2254" fmla="*/ 134828 h 1718390"/>
                <a:gd name="connsiteX2255" fmla="*/ 88532 w 3813995"/>
                <a:gd name="connsiteY2255" fmla="*/ 124554 h 1718390"/>
                <a:gd name="connsiteX2256" fmla="*/ 89674 w 3813995"/>
                <a:gd name="connsiteY2256" fmla="*/ 125315 h 1718390"/>
                <a:gd name="connsiteX2257" fmla="*/ 87137 w 3813995"/>
                <a:gd name="connsiteY2257" fmla="*/ 125315 h 1718390"/>
                <a:gd name="connsiteX2258" fmla="*/ 87137 w 3813995"/>
                <a:gd name="connsiteY2258" fmla="*/ 118212 h 1718390"/>
                <a:gd name="connsiteX2259" fmla="*/ 88279 w 3813995"/>
                <a:gd name="connsiteY2259" fmla="*/ 118973 h 1718390"/>
                <a:gd name="connsiteX2260" fmla="*/ 85742 w 3813995"/>
                <a:gd name="connsiteY2260" fmla="*/ 118973 h 1718390"/>
                <a:gd name="connsiteX2261" fmla="*/ 85742 w 3813995"/>
                <a:gd name="connsiteY2261" fmla="*/ 115041 h 1718390"/>
                <a:gd name="connsiteX2262" fmla="*/ 86883 w 3813995"/>
                <a:gd name="connsiteY2262" fmla="*/ 115802 h 1718390"/>
                <a:gd name="connsiteX2263" fmla="*/ 83078 w 3813995"/>
                <a:gd name="connsiteY2263" fmla="*/ 115802 h 1718390"/>
                <a:gd name="connsiteX2264" fmla="*/ 83078 w 3813995"/>
                <a:gd name="connsiteY2264" fmla="*/ 111870 h 1718390"/>
                <a:gd name="connsiteX2265" fmla="*/ 84093 w 3813995"/>
                <a:gd name="connsiteY2265" fmla="*/ 112631 h 1718390"/>
                <a:gd name="connsiteX2266" fmla="*/ 81683 w 3813995"/>
                <a:gd name="connsiteY2266" fmla="*/ 112631 h 1718390"/>
                <a:gd name="connsiteX2267" fmla="*/ 81683 w 3813995"/>
                <a:gd name="connsiteY2267" fmla="*/ 108699 h 1718390"/>
                <a:gd name="connsiteX2268" fmla="*/ 82825 w 3813995"/>
                <a:gd name="connsiteY2268" fmla="*/ 109461 h 1718390"/>
                <a:gd name="connsiteX2269" fmla="*/ 77624 w 3813995"/>
                <a:gd name="connsiteY2269" fmla="*/ 109461 h 1718390"/>
                <a:gd name="connsiteX2270" fmla="*/ 77624 w 3813995"/>
                <a:gd name="connsiteY2270" fmla="*/ 105529 h 1718390"/>
                <a:gd name="connsiteX2271" fmla="*/ 78766 w 3813995"/>
                <a:gd name="connsiteY2271" fmla="*/ 106290 h 1718390"/>
                <a:gd name="connsiteX2272" fmla="*/ 74961 w 3813995"/>
                <a:gd name="connsiteY2272" fmla="*/ 106290 h 1718390"/>
                <a:gd name="connsiteX2273" fmla="*/ 74961 w 3813995"/>
                <a:gd name="connsiteY2273" fmla="*/ 102358 h 1718390"/>
                <a:gd name="connsiteX2274" fmla="*/ 75976 w 3813995"/>
                <a:gd name="connsiteY2274" fmla="*/ 103119 h 1718390"/>
                <a:gd name="connsiteX2275" fmla="*/ 72170 w 3813995"/>
                <a:gd name="connsiteY2275" fmla="*/ 103119 h 1718390"/>
                <a:gd name="connsiteX2276" fmla="*/ 72170 w 3813995"/>
                <a:gd name="connsiteY2276" fmla="*/ 96016 h 1718390"/>
                <a:gd name="connsiteX2277" fmla="*/ 73312 w 3813995"/>
                <a:gd name="connsiteY2277" fmla="*/ 96777 h 1718390"/>
                <a:gd name="connsiteX2278" fmla="*/ 70775 w 3813995"/>
                <a:gd name="connsiteY2278" fmla="*/ 96777 h 1718390"/>
                <a:gd name="connsiteX2279" fmla="*/ 70775 w 3813995"/>
                <a:gd name="connsiteY2279" fmla="*/ 92718 h 1718390"/>
                <a:gd name="connsiteX2280" fmla="*/ 71917 w 3813995"/>
                <a:gd name="connsiteY2280" fmla="*/ 93606 h 1718390"/>
                <a:gd name="connsiteX2281" fmla="*/ 69380 w 3813995"/>
                <a:gd name="connsiteY2281" fmla="*/ 93606 h 1718390"/>
                <a:gd name="connsiteX2282" fmla="*/ 69380 w 3813995"/>
                <a:gd name="connsiteY2282" fmla="*/ 89547 h 1718390"/>
                <a:gd name="connsiteX2283" fmla="*/ 70522 w 3813995"/>
                <a:gd name="connsiteY2283" fmla="*/ 90435 h 1718390"/>
                <a:gd name="connsiteX2284" fmla="*/ 65448 w 3813995"/>
                <a:gd name="connsiteY2284" fmla="*/ 90435 h 1718390"/>
                <a:gd name="connsiteX2285" fmla="*/ 65448 w 3813995"/>
                <a:gd name="connsiteY2285" fmla="*/ 86503 h 1718390"/>
                <a:gd name="connsiteX2286" fmla="*/ 66463 w 3813995"/>
                <a:gd name="connsiteY2286" fmla="*/ 87264 h 1718390"/>
                <a:gd name="connsiteX2287" fmla="*/ 62658 w 3813995"/>
                <a:gd name="connsiteY2287" fmla="*/ 87264 h 1718390"/>
                <a:gd name="connsiteX2288" fmla="*/ 62658 w 3813995"/>
                <a:gd name="connsiteY2288" fmla="*/ 83205 h 1718390"/>
                <a:gd name="connsiteX2289" fmla="*/ 63799 w 3813995"/>
                <a:gd name="connsiteY2289" fmla="*/ 83966 h 1718390"/>
                <a:gd name="connsiteX2290" fmla="*/ 61262 w 3813995"/>
                <a:gd name="connsiteY2290" fmla="*/ 83966 h 1718390"/>
                <a:gd name="connsiteX2291" fmla="*/ 61262 w 3813995"/>
                <a:gd name="connsiteY2291" fmla="*/ 80034 h 1718390"/>
                <a:gd name="connsiteX2292" fmla="*/ 62404 w 3813995"/>
                <a:gd name="connsiteY2292" fmla="*/ 80922 h 1718390"/>
                <a:gd name="connsiteX2293" fmla="*/ 59994 w 3813995"/>
                <a:gd name="connsiteY2293" fmla="*/ 80922 h 1718390"/>
                <a:gd name="connsiteX2294" fmla="*/ 59994 w 3813995"/>
                <a:gd name="connsiteY2294" fmla="*/ 76990 h 1718390"/>
                <a:gd name="connsiteX2295" fmla="*/ 61009 w 3813995"/>
                <a:gd name="connsiteY2295" fmla="*/ 77751 h 1718390"/>
                <a:gd name="connsiteX2296" fmla="*/ 54540 w 3813995"/>
                <a:gd name="connsiteY2296" fmla="*/ 77751 h 1718390"/>
                <a:gd name="connsiteX2297" fmla="*/ 54540 w 3813995"/>
                <a:gd name="connsiteY2297" fmla="*/ 73692 h 1718390"/>
                <a:gd name="connsiteX2298" fmla="*/ 55682 w 3813995"/>
                <a:gd name="connsiteY2298" fmla="*/ 74453 h 1718390"/>
                <a:gd name="connsiteX2299" fmla="*/ 47691 w 3813995"/>
                <a:gd name="connsiteY2299" fmla="*/ 74453 h 1718390"/>
                <a:gd name="connsiteX2300" fmla="*/ 47691 w 3813995"/>
                <a:gd name="connsiteY2300" fmla="*/ 67477 h 1718390"/>
                <a:gd name="connsiteX2301" fmla="*/ 48832 w 3813995"/>
                <a:gd name="connsiteY2301" fmla="*/ 68238 h 1718390"/>
                <a:gd name="connsiteX2302" fmla="*/ 46296 w 3813995"/>
                <a:gd name="connsiteY2302" fmla="*/ 68238 h 1718390"/>
                <a:gd name="connsiteX2303" fmla="*/ 46296 w 3813995"/>
                <a:gd name="connsiteY2303" fmla="*/ 64180 h 1718390"/>
                <a:gd name="connsiteX2304" fmla="*/ 47437 w 3813995"/>
                <a:gd name="connsiteY2304" fmla="*/ 64941 h 1718390"/>
                <a:gd name="connsiteX2305" fmla="*/ 45027 w 3813995"/>
                <a:gd name="connsiteY2305" fmla="*/ 64941 h 1718390"/>
                <a:gd name="connsiteX2306" fmla="*/ 45027 w 3813995"/>
                <a:gd name="connsiteY2306" fmla="*/ 61009 h 1718390"/>
                <a:gd name="connsiteX2307" fmla="*/ 46169 w 3813995"/>
                <a:gd name="connsiteY2307" fmla="*/ 61897 h 1718390"/>
                <a:gd name="connsiteX2308" fmla="*/ 39573 w 3813995"/>
                <a:gd name="connsiteY2308" fmla="*/ 61897 h 1718390"/>
                <a:gd name="connsiteX2309" fmla="*/ 39573 w 3813995"/>
                <a:gd name="connsiteY2309" fmla="*/ 57838 h 1718390"/>
                <a:gd name="connsiteX2310" fmla="*/ 40715 w 3813995"/>
                <a:gd name="connsiteY2310" fmla="*/ 58599 h 1718390"/>
                <a:gd name="connsiteX2311" fmla="*/ 38178 w 3813995"/>
                <a:gd name="connsiteY2311" fmla="*/ 58599 h 1718390"/>
                <a:gd name="connsiteX2312" fmla="*/ 38178 w 3813995"/>
                <a:gd name="connsiteY2312" fmla="*/ 54667 h 1718390"/>
                <a:gd name="connsiteX2313" fmla="*/ 39320 w 3813995"/>
                <a:gd name="connsiteY2313" fmla="*/ 55428 h 1718390"/>
                <a:gd name="connsiteX2314" fmla="*/ 36783 w 3813995"/>
                <a:gd name="connsiteY2314" fmla="*/ 55428 h 1718390"/>
                <a:gd name="connsiteX2315" fmla="*/ 36783 w 3813995"/>
                <a:gd name="connsiteY2315" fmla="*/ 51496 h 1718390"/>
                <a:gd name="connsiteX2316" fmla="*/ 37924 w 3813995"/>
                <a:gd name="connsiteY2316" fmla="*/ 52384 h 1718390"/>
                <a:gd name="connsiteX2317" fmla="*/ 34119 w 3813995"/>
                <a:gd name="connsiteY2317" fmla="*/ 52384 h 1718390"/>
                <a:gd name="connsiteX2318" fmla="*/ 34119 w 3813995"/>
                <a:gd name="connsiteY2318" fmla="*/ 48325 h 1718390"/>
                <a:gd name="connsiteX2319" fmla="*/ 35134 w 3813995"/>
                <a:gd name="connsiteY2319" fmla="*/ 49086 h 1718390"/>
                <a:gd name="connsiteX2320" fmla="*/ 30060 w 3813995"/>
                <a:gd name="connsiteY2320" fmla="*/ 49086 h 1718390"/>
                <a:gd name="connsiteX2321" fmla="*/ 30060 w 3813995"/>
                <a:gd name="connsiteY2321" fmla="*/ 45154 h 1718390"/>
                <a:gd name="connsiteX2322" fmla="*/ 31202 w 3813995"/>
                <a:gd name="connsiteY2322" fmla="*/ 45915 h 1718390"/>
                <a:gd name="connsiteX2323" fmla="*/ 28665 w 3813995"/>
                <a:gd name="connsiteY2323" fmla="*/ 45915 h 1718390"/>
                <a:gd name="connsiteX2324" fmla="*/ 28665 w 3813995"/>
                <a:gd name="connsiteY2324" fmla="*/ 38812 h 1718390"/>
                <a:gd name="connsiteX2325" fmla="*/ 29807 w 3813995"/>
                <a:gd name="connsiteY2325" fmla="*/ 39573 h 1718390"/>
                <a:gd name="connsiteX2326" fmla="*/ 26002 w 3813995"/>
                <a:gd name="connsiteY2326" fmla="*/ 39573 h 1718390"/>
                <a:gd name="connsiteX2327" fmla="*/ 26002 w 3813995"/>
                <a:gd name="connsiteY2327" fmla="*/ 32470 h 1718390"/>
                <a:gd name="connsiteX2328" fmla="*/ 27016 w 3813995"/>
                <a:gd name="connsiteY2328" fmla="*/ 33231 h 1718390"/>
                <a:gd name="connsiteX2329" fmla="*/ 24606 w 3813995"/>
                <a:gd name="connsiteY2329" fmla="*/ 33231 h 1718390"/>
                <a:gd name="connsiteX2330" fmla="*/ 24606 w 3813995"/>
                <a:gd name="connsiteY2330" fmla="*/ 29299 h 1718390"/>
                <a:gd name="connsiteX2331" fmla="*/ 25748 w 3813995"/>
                <a:gd name="connsiteY2331" fmla="*/ 30060 h 1718390"/>
                <a:gd name="connsiteX2332" fmla="*/ 23211 w 3813995"/>
                <a:gd name="connsiteY2332" fmla="*/ 30060 h 1718390"/>
                <a:gd name="connsiteX2333" fmla="*/ 23211 w 3813995"/>
                <a:gd name="connsiteY2333" fmla="*/ 26128 h 1718390"/>
                <a:gd name="connsiteX2334" fmla="*/ 24353 w 3813995"/>
                <a:gd name="connsiteY2334" fmla="*/ 26889 h 1718390"/>
                <a:gd name="connsiteX2335" fmla="*/ 21943 w 3813995"/>
                <a:gd name="connsiteY2335" fmla="*/ 26889 h 1718390"/>
                <a:gd name="connsiteX2336" fmla="*/ 21943 w 3813995"/>
                <a:gd name="connsiteY2336" fmla="*/ 22958 h 1718390"/>
                <a:gd name="connsiteX2337" fmla="*/ 23084 w 3813995"/>
                <a:gd name="connsiteY2337" fmla="*/ 23719 h 1718390"/>
                <a:gd name="connsiteX2338" fmla="*/ 19152 w 3813995"/>
                <a:gd name="connsiteY2338" fmla="*/ 23719 h 1718390"/>
                <a:gd name="connsiteX2339" fmla="*/ 19152 w 3813995"/>
                <a:gd name="connsiteY2339" fmla="*/ 19787 h 1718390"/>
                <a:gd name="connsiteX2340" fmla="*/ 20294 w 3813995"/>
                <a:gd name="connsiteY2340" fmla="*/ 20548 h 1718390"/>
                <a:gd name="connsiteX2341" fmla="*/ 16489 w 3813995"/>
                <a:gd name="connsiteY2341" fmla="*/ 20548 h 1718390"/>
                <a:gd name="connsiteX2342" fmla="*/ 16489 w 3813995"/>
                <a:gd name="connsiteY2342" fmla="*/ 16616 h 1718390"/>
                <a:gd name="connsiteX2343" fmla="*/ 17630 w 3813995"/>
                <a:gd name="connsiteY2343" fmla="*/ 17377 h 1718390"/>
                <a:gd name="connsiteX2344" fmla="*/ 13698 w 3813995"/>
                <a:gd name="connsiteY2344" fmla="*/ 17377 h 1718390"/>
                <a:gd name="connsiteX2345" fmla="*/ 13698 w 3813995"/>
                <a:gd name="connsiteY2345" fmla="*/ 13445 h 1718390"/>
                <a:gd name="connsiteX2346" fmla="*/ 14840 w 3813995"/>
                <a:gd name="connsiteY2346" fmla="*/ 14206 h 1718390"/>
                <a:gd name="connsiteX2347" fmla="*/ 11035 w 3813995"/>
                <a:gd name="connsiteY2347" fmla="*/ 14206 h 1718390"/>
                <a:gd name="connsiteX2348" fmla="*/ 11035 w 3813995"/>
                <a:gd name="connsiteY2348" fmla="*/ 10274 h 1718390"/>
                <a:gd name="connsiteX2349" fmla="*/ 12050 w 3813995"/>
                <a:gd name="connsiteY2349" fmla="*/ 11035 h 1718390"/>
                <a:gd name="connsiteX2350" fmla="*/ 9766 w 3813995"/>
                <a:gd name="connsiteY2350" fmla="*/ 11035 h 1718390"/>
                <a:gd name="connsiteX2351" fmla="*/ 9766 w 3813995"/>
                <a:gd name="connsiteY2351" fmla="*/ 7103 h 1718390"/>
                <a:gd name="connsiteX2352" fmla="*/ 10781 w 3813995"/>
                <a:gd name="connsiteY2352" fmla="*/ 7864 h 1718390"/>
                <a:gd name="connsiteX2353" fmla="*/ 6976 w 3813995"/>
                <a:gd name="connsiteY2353" fmla="*/ 7864 h 1718390"/>
                <a:gd name="connsiteX2354" fmla="*/ 6976 w 3813995"/>
                <a:gd name="connsiteY2354" fmla="*/ 3932 h 1718390"/>
                <a:gd name="connsiteX2355" fmla="*/ 8118 w 3813995"/>
                <a:gd name="connsiteY2355" fmla="*/ 4693 h 1718390"/>
                <a:gd name="connsiteX2356" fmla="*/ 1522 w 3813995"/>
                <a:gd name="connsiteY2356" fmla="*/ 4693 h 1718390"/>
                <a:gd name="connsiteX2357" fmla="*/ 1522 w 3813995"/>
                <a:gd name="connsiteY2357" fmla="*/ 761 h 1718390"/>
                <a:gd name="connsiteX2358" fmla="*/ 2537 w 3813995"/>
                <a:gd name="connsiteY2358" fmla="*/ 1522 h 1718390"/>
                <a:gd name="connsiteX2359" fmla="*/ 0 w 3813995"/>
                <a:gd name="connsiteY2359" fmla="*/ 1522 h 1718390"/>
                <a:gd name="connsiteX2360" fmla="*/ 0 w 3813995"/>
                <a:gd name="connsiteY2360" fmla="*/ 0 h 1718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</a:cxnLst>
              <a:rect l="l" t="t" r="r" b="b"/>
              <a:pathLst>
                <a:path w="3813995" h="1718390">
                  <a:moveTo>
                    <a:pt x="0" y="0"/>
                  </a:moveTo>
                  <a:lnTo>
                    <a:pt x="3678" y="0"/>
                  </a:lnTo>
                  <a:lnTo>
                    <a:pt x="3678" y="3932"/>
                  </a:lnTo>
                  <a:lnTo>
                    <a:pt x="2537" y="3171"/>
                  </a:lnTo>
                  <a:lnTo>
                    <a:pt x="9132" y="3171"/>
                  </a:lnTo>
                  <a:lnTo>
                    <a:pt x="9132" y="7103"/>
                  </a:lnTo>
                  <a:lnTo>
                    <a:pt x="8118" y="6215"/>
                  </a:lnTo>
                  <a:lnTo>
                    <a:pt x="11923" y="6215"/>
                  </a:lnTo>
                  <a:lnTo>
                    <a:pt x="11923" y="10274"/>
                  </a:lnTo>
                  <a:lnTo>
                    <a:pt x="10781" y="9513"/>
                  </a:lnTo>
                  <a:lnTo>
                    <a:pt x="13191" y="9513"/>
                  </a:lnTo>
                  <a:lnTo>
                    <a:pt x="13191" y="13445"/>
                  </a:lnTo>
                  <a:lnTo>
                    <a:pt x="12050" y="12684"/>
                  </a:lnTo>
                  <a:lnTo>
                    <a:pt x="15981" y="12684"/>
                  </a:lnTo>
                  <a:lnTo>
                    <a:pt x="15981" y="16616"/>
                  </a:lnTo>
                  <a:lnTo>
                    <a:pt x="14840" y="15855"/>
                  </a:lnTo>
                  <a:lnTo>
                    <a:pt x="18645" y="15855"/>
                  </a:lnTo>
                  <a:lnTo>
                    <a:pt x="18645" y="19787"/>
                  </a:lnTo>
                  <a:lnTo>
                    <a:pt x="17630" y="19026"/>
                  </a:lnTo>
                  <a:lnTo>
                    <a:pt x="21435" y="19026"/>
                  </a:lnTo>
                  <a:lnTo>
                    <a:pt x="21435" y="22958"/>
                  </a:lnTo>
                  <a:lnTo>
                    <a:pt x="20294" y="22197"/>
                  </a:lnTo>
                  <a:lnTo>
                    <a:pt x="24099" y="22197"/>
                  </a:lnTo>
                  <a:lnTo>
                    <a:pt x="24099" y="26128"/>
                  </a:lnTo>
                  <a:lnTo>
                    <a:pt x="23084" y="25367"/>
                  </a:lnTo>
                  <a:lnTo>
                    <a:pt x="25367" y="25367"/>
                  </a:lnTo>
                  <a:lnTo>
                    <a:pt x="25367" y="29299"/>
                  </a:lnTo>
                  <a:lnTo>
                    <a:pt x="24353" y="28538"/>
                  </a:lnTo>
                  <a:lnTo>
                    <a:pt x="26763" y="28538"/>
                  </a:lnTo>
                  <a:lnTo>
                    <a:pt x="26763" y="32470"/>
                  </a:lnTo>
                  <a:lnTo>
                    <a:pt x="25748" y="31709"/>
                  </a:lnTo>
                  <a:lnTo>
                    <a:pt x="28158" y="31709"/>
                  </a:lnTo>
                  <a:lnTo>
                    <a:pt x="28158" y="38812"/>
                  </a:lnTo>
                  <a:lnTo>
                    <a:pt x="27016" y="38051"/>
                  </a:lnTo>
                  <a:lnTo>
                    <a:pt x="30948" y="38051"/>
                  </a:lnTo>
                  <a:lnTo>
                    <a:pt x="30948" y="45154"/>
                  </a:lnTo>
                  <a:lnTo>
                    <a:pt x="29807" y="44393"/>
                  </a:lnTo>
                  <a:lnTo>
                    <a:pt x="32217" y="44393"/>
                  </a:lnTo>
                  <a:lnTo>
                    <a:pt x="32217" y="48325"/>
                  </a:lnTo>
                  <a:lnTo>
                    <a:pt x="31202" y="47564"/>
                  </a:lnTo>
                  <a:lnTo>
                    <a:pt x="36275" y="47564"/>
                  </a:lnTo>
                  <a:lnTo>
                    <a:pt x="36275" y="51496"/>
                  </a:lnTo>
                  <a:lnTo>
                    <a:pt x="35134" y="50735"/>
                  </a:lnTo>
                  <a:lnTo>
                    <a:pt x="39066" y="50735"/>
                  </a:lnTo>
                  <a:lnTo>
                    <a:pt x="39066" y="54667"/>
                  </a:lnTo>
                  <a:lnTo>
                    <a:pt x="37924" y="53906"/>
                  </a:lnTo>
                  <a:lnTo>
                    <a:pt x="40461" y="53906"/>
                  </a:lnTo>
                  <a:lnTo>
                    <a:pt x="40461" y="57838"/>
                  </a:lnTo>
                  <a:lnTo>
                    <a:pt x="39320" y="57077"/>
                  </a:lnTo>
                  <a:lnTo>
                    <a:pt x="41729" y="57077"/>
                  </a:lnTo>
                  <a:lnTo>
                    <a:pt x="41729" y="61009"/>
                  </a:lnTo>
                  <a:lnTo>
                    <a:pt x="40715" y="60248"/>
                  </a:lnTo>
                  <a:lnTo>
                    <a:pt x="47310" y="60248"/>
                  </a:lnTo>
                  <a:lnTo>
                    <a:pt x="47310" y="64180"/>
                  </a:lnTo>
                  <a:lnTo>
                    <a:pt x="46169" y="63419"/>
                  </a:lnTo>
                  <a:lnTo>
                    <a:pt x="48579" y="63419"/>
                  </a:lnTo>
                  <a:lnTo>
                    <a:pt x="48579" y="67477"/>
                  </a:lnTo>
                  <a:lnTo>
                    <a:pt x="47437" y="66590"/>
                  </a:lnTo>
                  <a:lnTo>
                    <a:pt x="49847" y="66590"/>
                  </a:lnTo>
                  <a:lnTo>
                    <a:pt x="49847" y="73692"/>
                  </a:lnTo>
                  <a:lnTo>
                    <a:pt x="48832" y="72931"/>
                  </a:lnTo>
                  <a:lnTo>
                    <a:pt x="56696" y="72931"/>
                  </a:lnTo>
                  <a:lnTo>
                    <a:pt x="56696" y="76990"/>
                  </a:lnTo>
                  <a:lnTo>
                    <a:pt x="55682" y="76102"/>
                  </a:lnTo>
                  <a:lnTo>
                    <a:pt x="62150" y="76102"/>
                  </a:lnTo>
                  <a:lnTo>
                    <a:pt x="62150" y="80034"/>
                  </a:lnTo>
                  <a:lnTo>
                    <a:pt x="61009" y="79273"/>
                  </a:lnTo>
                  <a:lnTo>
                    <a:pt x="63545" y="79273"/>
                  </a:lnTo>
                  <a:lnTo>
                    <a:pt x="63545" y="83205"/>
                  </a:lnTo>
                  <a:lnTo>
                    <a:pt x="62404" y="82444"/>
                  </a:lnTo>
                  <a:lnTo>
                    <a:pt x="64814" y="82444"/>
                  </a:lnTo>
                  <a:lnTo>
                    <a:pt x="64814" y="86503"/>
                  </a:lnTo>
                  <a:lnTo>
                    <a:pt x="63799" y="85615"/>
                  </a:lnTo>
                  <a:lnTo>
                    <a:pt x="67604" y="85615"/>
                  </a:lnTo>
                  <a:lnTo>
                    <a:pt x="67604" y="89547"/>
                  </a:lnTo>
                  <a:lnTo>
                    <a:pt x="66463" y="88786"/>
                  </a:lnTo>
                  <a:lnTo>
                    <a:pt x="71663" y="88786"/>
                  </a:lnTo>
                  <a:lnTo>
                    <a:pt x="71663" y="92718"/>
                  </a:lnTo>
                  <a:lnTo>
                    <a:pt x="70522" y="91957"/>
                  </a:lnTo>
                  <a:lnTo>
                    <a:pt x="73058" y="91957"/>
                  </a:lnTo>
                  <a:lnTo>
                    <a:pt x="73058" y="96016"/>
                  </a:lnTo>
                  <a:lnTo>
                    <a:pt x="71917" y="95128"/>
                  </a:lnTo>
                  <a:lnTo>
                    <a:pt x="74327" y="95128"/>
                  </a:lnTo>
                  <a:lnTo>
                    <a:pt x="74327" y="102358"/>
                  </a:lnTo>
                  <a:lnTo>
                    <a:pt x="73312" y="101597"/>
                  </a:lnTo>
                  <a:lnTo>
                    <a:pt x="77117" y="101597"/>
                  </a:lnTo>
                  <a:lnTo>
                    <a:pt x="77117" y="105529"/>
                  </a:lnTo>
                  <a:lnTo>
                    <a:pt x="75976" y="104641"/>
                  </a:lnTo>
                  <a:lnTo>
                    <a:pt x="79907" y="104641"/>
                  </a:lnTo>
                  <a:lnTo>
                    <a:pt x="79907" y="108699"/>
                  </a:lnTo>
                  <a:lnTo>
                    <a:pt x="78766" y="107812"/>
                  </a:lnTo>
                  <a:lnTo>
                    <a:pt x="83839" y="107812"/>
                  </a:lnTo>
                  <a:lnTo>
                    <a:pt x="83839" y="111870"/>
                  </a:lnTo>
                  <a:lnTo>
                    <a:pt x="82825" y="111109"/>
                  </a:lnTo>
                  <a:lnTo>
                    <a:pt x="85235" y="111109"/>
                  </a:lnTo>
                  <a:lnTo>
                    <a:pt x="85235" y="115041"/>
                  </a:lnTo>
                  <a:lnTo>
                    <a:pt x="84093" y="114153"/>
                  </a:lnTo>
                  <a:lnTo>
                    <a:pt x="88025" y="114153"/>
                  </a:lnTo>
                  <a:lnTo>
                    <a:pt x="88025" y="118212"/>
                  </a:lnTo>
                  <a:lnTo>
                    <a:pt x="86883" y="117324"/>
                  </a:lnTo>
                  <a:lnTo>
                    <a:pt x="89293" y="117324"/>
                  </a:lnTo>
                  <a:lnTo>
                    <a:pt x="89293" y="124554"/>
                  </a:lnTo>
                  <a:lnTo>
                    <a:pt x="88279" y="123793"/>
                  </a:lnTo>
                  <a:lnTo>
                    <a:pt x="90689" y="123793"/>
                  </a:lnTo>
                  <a:lnTo>
                    <a:pt x="90689" y="134067"/>
                  </a:lnTo>
                  <a:lnTo>
                    <a:pt x="89674" y="133306"/>
                  </a:lnTo>
                  <a:lnTo>
                    <a:pt x="96143" y="133306"/>
                  </a:lnTo>
                  <a:lnTo>
                    <a:pt x="96143" y="143580"/>
                  </a:lnTo>
                  <a:lnTo>
                    <a:pt x="95001" y="142819"/>
                  </a:lnTo>
                  <a:lnTo>
                    <a:pt x="98806" y="142819"/>
                  </a:lnTo>
                  <a:lnTo>
                    <a:pt x="98806" y="149922"/>
                  </a:lnTo>
                  <a:lnTo>
                    <a:pt x="97792" y="149161"/>
                  </a:lnTo>
                  <a:lnTo>
                    <a:pt x="99060" y="149161"/>
                  </a:lnTo>
                  <a:lnTo>
                    <a:pt x="105655" y="149161"/>
                  </a:lnTo>
                  <a:lnTo>
                    <a:pt x="105655" y="153093"/>
                  </a:lnTo>
                  <a:lnTo>
                    <a:pt x="104641" y="152331"/>
                  </a:lnTo>
                  <a:lnTo>
                    <a:pt x="106924" y="152331"/>
                  </a:lnTo>
                  <a:lnTo>
                    <a:pt x="106924" y="156390"/>
                  </a:lnTo>
                  <a:lnTo>
                    <a:pt x="105909" y="155502"/>
                  </a:lnTo>
                  <a:lnTo>
                    <a:pt x="108319" y="155502"/>
                  </a:lnTo>
                  <a:lnTo>
                    <a:pt x="108319" y="162732"/>
                  </a:lnTo>
                  <a:lnTo>
                    <a:pt x="107304" y="161971"/>
                  </a:lnTo>
                  <a:lnTo>
                    <a:pt x="111109" y="161971"/>
                  </a:lnTo>
                  <a:lnTo>
                    <a:pt x="111109" y="165903"/>
                  </a:lnTo>
                  <a:lnTo>
                    <a:pt x="109968" y="165142"/>
                  </a:lnTo>
                  <a:lnTo>
                    <a:pt x="112505" y="165142"/>
                  </a:lnTo>
                  <a:lnTo>
                    <a:pt x="112505" y="169074"/>
                  </a:lnTo>
                  <a:lnTo>
                    <a:pt x="111363" y="168313"/>
                  </a:lnTo>
                  <a:lnTo>
                    <a:pt x="113773" y="168313"/>
                  </a:lnTo>
                  <a:lnTo>
                    <a:pt x="113773" y="172245"/>
                  </a:lnTo>
                  <a:lnTo>
                    <a:pt x="112758" y="171484"/>
                  </a:lnTo>
                  <a:lnTo>
                    <a:pt x="115168" y="171484"/>
                  </a:lnTo>
                  <a:lnTo>
                    <a:pt x="115168" y="178714"/>
                  </a:lnTo>
                  <a:lnTo>
                    <a:pt x="114154" y="177826"/>
                  </a:lnTo>
                  <a:lnTo>
                    <a:pt x="116563" y="177826"/>
                  </a:lnTo>
                  <a:lnTo>
                    <a:pt x="116563" y="181758"/>
                  </a:lnTo>
                  <a:lnTo>
                    <a:pt x="115422" y="180997"/>
                  </a:lnTo>
                  <a:lnTo>
                    <a:pt x="117959" y="180997"/>
                  </a:lnTo>
                  <a:lnTo>
                    <a:pt x="117959" y="185055"/>
                  </a:lnTo>
                  <a:lnTo>
                    <a:pt x="116817" y="184294"/>
                  </a:lnTo>
                  <a:lnTo>
                    <a:pt x="119227" y="184294"/>
                  </a:lnTo>
                  <a:lnTo>
                    <a:pt x="119227" y="188226"/>
                  </a:lnTo>
                  <a:lnTo>
                    <a:pt x="118085" y="187339"/>
                  </a:lnTo>
                  <a:lnTo>
                    <a:pt x="120622" y="187339"/>
                  </a:lnTo>
                  <a:lnTo>
                    <a:pt x="120622" y="191397"/>
                  </a:lnTo>
                  <a:lnTo>
                    <a:pt x="119481" y="190636"/>
                  </a:lnTo>
                  <a:lnTo>
                    <a:pt x="123286" y="190636"/>
                  </a:lnTo>
                  <a:lnTo>
                    <a:pt x="123286" y="201037"/>
                  </a:lnTo>
                  <a:lnTo>
                    <a:pt x="122271" y="200149"/>
                  </a:lnTo>
                  <a:lnTo>
                    <a:pt x="124681" y="200149"/>
                  </a:lnTo>
                  <a:lnTo>
                    <a:pt x="124681" y="204081"/>
                  </a:lnTo>
                  <a:lnTo>
                    <a:pt x="123539" y="203320"/>
                  </a:lnTo>
                  <a:lnTo>
                    <a:pt x="127471" y="203320"/>
                  </a:lnTo>
                  <a:lnTo>
                    <a:pt x="127471" y="210550"/>
                  </a:lnTo>
                  <a:lnTo>
                    <a:pt x="126330" y="209789"/>
                  </a:lnTo>
                  <a:lnTo>
                    <a:pt x="130135" y="209789"/>
                  </a:lnTo>
                  <a:lnTo>
                    <a:pt x="130135" y="213721"/>
                  </a:lnTo>
                  <a:lnTo>
                    <a:pt x="128993" y="212960"/>
                  </a:lnTo>
                  <a:lnTo>
                    <a:pt x="131403" y="212960"/>
                  </a:lnTo>
                  <a:lnTo>
                    <a:pt x="131403" y="216892"/>
                  </a:lnTo>
                  <a:lnTo>
                    <a:pt x="130389" y="216131"/>
                  </a:lnTo>
                  <a:lnTo>
                    <a:pt x="132799" y="216131"/>
                  </a:lnTo>
                  <a:lnTo>
                    <a:pt x="132799" y="220189"/>
                  </a:lnTo>
                  <a:lnTo>
                    <a:pt x="131784" y="219302"/>
                  </a:lnTo>
                  <a:lnTo>
                    <a:pt x="134194" y="219302"/>
                  </a:lnTo>
                  <a:lnTo>
                    <a:pt x="134194" y="223233"/>
                  </a:lnTo>
                  <a:lnTo>
                    <a:pt x="133052" y="222472"/>
                  </a:lnTo>
                  <a:lnTo>
                    <a:pt x="135589" y="222472"/>
                  </a:lnTo>
                  <a:lnTo>
                    <a:pt x="135589" y="226531"/>
                  </a:lnTo>
                  <a:lnTo>
                    <a:pt x="134447" y="225770"/>
                  </a:lnTo>
                  <a:lnTo>
                    <a:pt x="139648" y="225770"/>
                  </a:lnTo>
                  <a:lnTo>
                    <a:pt x="139648" y="229702"/>
                  </a:lnTo>
                  <a:lnTo>
                    <a:pt x="138633" y="228941"/>
                  </a:lnTo>
                  <a:lnTo>
                    <a:pt x="142311" y="228941"/>
                  </a:lnTo>
                  <a:lnTo>
                    <a:pt x="142311" y="239342"/>
                  </a:lnTo>
                  <a:lnTo>
                    <a:pt x="141170" y="238454"/>
                  </a:lnTo>
                  <a:lnTo>
                    <a:pt x="146370" y="238454"/>
                  </a:lnTo>
                  <a:lnTo>
                    <a:pt x="146370" y="245684"/>
                  </a:lnTo>
                  <a:lnTo>
                    <a:pt x="145355" y="244923"/>
                  </a:lnTo>
                  <a:lnTo>
                    <a:pt x="149161" y="244923"/>
                  </a:lnTo>
                  <a:lnTo>
                    <a:pt x="149161" y="248855"/>
                  </a:lnTo>
                  <a:lnTo>
                    <a:pt x="148019" y="248094"/>
                  </a:lnTo>
                  <a:lnTo>
                    <a:pt x="150556" y="248094"/>
                  </a:lnTo>
                  <a:lnTo>
                    <a:pt x="150556" y="252152"/>
                  </a:lnTo>
                  <a:lnTo>
                    <a:pt x="149414" y="251265"/>
                  </a:lnTo>
                  <a:lnTo>
                    <a:pt x="151951" y="251265"/>
                  </a:lnTo>
                  <a:lnTo>
                    <a:pt x="151951" y="255196"/>
                  </a:lnTo>
                  <a:lnTo>
                    <a:pt x="150809" y="254435"/>
                  </a:lnTo>
                  <a:lnTo>
                    <a:pt x="153219" y="254435"/>
                  </a:lnTo>
                  <a:lnTo>
                    <a:pt x="153219" y="258494"/>
                  </a:lnTo>
                  <a:lnTo>
                    <a:pt x="152205" y="257733"/>
                  </a:lnTo>
                  <a:lnTo>
                    <a:pt x="155883" y="257733"/>
                  </a:lnTo>
                  <a:lnTo>
                    <a:pt x="155883" y="261665"/>
                  </a:lnTo>
                  <a:lnTo>
                    <a:pt x="154868" y="260904"/>
                  </a:lnTo>
                  <a:lnTo>
                    <a:pt x="157278" y="260904"/>
                  </a:lnTo>
                  <a:lnTo>
                    <a:pt x="157278" y="264836"/>
                  </a:lnTo>
                  <a:lnTo>
                    <a:pt x="156137" y="264075"/>
                  </a:lnTo>
                  <a:lnTo>
                    <a:pt x="162732" y="264075"/>
                  </a:lnTo>
                  <a:lnTo>
                    <a:pt x="162732" y="268007"/>
                  </a:lnTo>
                  <a:lnTo>
                    <a:pt x="161717" y="267246"/>
                  </a:lnTo>
                  <a:lnTo>
                    <a:pt x="169581" y="267246"/>
                  </a:lnTo>
                  <a:lnTo>
                    <a:pt x="169581" y="274476"/>
                  </a:lnTo>
                  <a:lnTo>
                    <a:pt x="168440" y="273715"/>
                  </a:lnTo>
                  <a:lnTo>
                    <a:pt x="170850" y="273715"/>
                  </a:lnTo>
                  <a:lnTo>
                    <a:pt x="170850" y="280818"/>
                  </a:lnTo>
                  <a:lnTo>
                    <a:pt x="169835" y="280057"/>
                  </a:lnTo>
                  <a:lnTo>
                    <a:pt x="172245" y="280057"/>
                  </a:lnTo>
                  <a:lnTo>
                    <a:pt x="172245" y="287159"/>
                  </a:lnTo>
                  <a:lnTo>
                    <a:pt x="171230" y="286398"/>
                  </a:lnTo>
                  <a:lnTo>
                    <a:pt x="173640" y="286398"/>
                  </a:lnTo>
                  <a:lnTo>
                    <a:pt x="173640" y="290457"/>
                  </a:lnTo>
                  <a:lnTo>
                    <a:pt x="172499" y="289696"/>
                  </a:lnTo>
                  <a:lnTo>
                    <a:pt x="175035" y="289696"/>
                  </a:lnTo>
                  <a:lnTo>
                    <a:pt x="175035" y="296799"/>
                  </a:lnTo>
                  <a:lnTo>
                    <a:pt x="173894" y="296038"/>
                  </a:lnTo>
                  <a:lnTo>
                    <a:pt x="176431" y="296038"/>
                  </a:lnTo>
                  <a:lnTo>
                    <a:pt x="176431" y="299970"/>
                  </a:lnTo>
                  <a:lnTo>
                    <a:pt x="175289" y="299209"/>
                  </a:lnTo>
                  <a:lnTo>
                    <a:pt x="179094" y="299209"/>
                  </a:lnTo>
                  <a:lnTo>
                    <a:pt x="179094" y="303268"/>
                  </a:lnTo>
                  <a:lnTo>
                    <a:pt x="177953" y="302380"/>
                  </a:lnTo>
                  <a:lnTo>
                    <a:pt x="180363" y="302380"/>
                  </a:lnTo>
                  <a:lnTo>
                    <a:pt x="180363" y="309610"/>
                  </a:lnTo>
                  <a:lnTo>
                    <a:pt x="179348" y="308849"/>
                  </a:lnTo>
                  <a:lnTo>
                    <a:pt x="181758" y="308849"/>
                  </a:lnTo>
                  <a:lnTo>
                    <a:pt x="181758" y="315952"/>
                  </a:lnTo>
                  <a:lnTo>
                    <a:pt x="180616" y="315190"/>
                  </a:lnTo>
                  <a:lnTo>
                    <a:pt x="183153" y="315190"/>
                  </a:lnTo>
                  <a:lnTo>
                    <a:pt x="183153" y="322420"/>
                  </a:lnTo>
                  <a:lnTo>
                    <a:pt x="182011" y="321532"/>
                  </a:lnTo>
                  <a:lnTo>
                    <a:pt x="184548" y="321532"/>
                  </a:lnTo>
                  <a:lnTo>
                    <a:pt x="184548" y="325591"/>
                  </a:lnTo>
                  <a:lnTo>
                    <a:pt x="183407" y="324830"/>
                  </a:lnTo>
                  <a:lnTo>
                    <a:pt x="187212" y="324830"/>
                  </a:lnTo>
                  <a:lnTo>
                    <a:pt x="187212" y="328762"/>
                  </a:lnTo>
                  <a:lnTo>
                    <a:pt x="186197" y="328001"/>
                  </a:lnTo>
                  <a:lnTo>
                    <a:pt x="188480" y="328001"/>
                  </a:lnTo>
                  <a:lnTo>
                    <a:pt x="188480" y="335231"/>
                  </a:lnTo>
                  <a:lnTo>
                    <a:pt x="187465" y="334343"/>
                  </a:lnTo>
                  <a:lnTo>
                    <a:pt x="189875" y="334343"/>
                  </a:lnTo>
                  <a:lnTo>
                    <a:pt x="189875" y="338402"/>
                  </a:lnTo>
                  <a:lnTo>
                    <a:pt x="188861" y="337641"/>
                  </a:lnTo>
                  <a:lnTo>
                    <a:pt x="191271" y="337641"/>
                  </a:lnTo>
                  <a:lnTo>
                    <a:pt x="191271" y="341573"/>
                  </a:lnTo>
                  <a:lnTo>
                    <a:pt x="190129" y="340812"/>
                  </a:lnTo>
                  <a:lnTo>
                    <a:pt x="194061" y="340812"/>
                  </a:lnTo>
                  <a:lnTo>
                    <a:pt x="194061" y="351085"/>
                  </a:lnTo>
                  <a:lnTo>
                    <a:pt x="192919" y="350324"/>
                  </a:lnTo>
                  <a:lnTo>
                    <a:pt x="195329" y="350324"/>
                  </a:lnTo>
                  <a:lnTo>
                    <a:pt x="195329" y="354383"/>
                  </a:lnTo>
                  <a:lnTo>
                    <a:pt x="194315" y="353495"/>
                  </a:lnTo>
                  <a:lnTo>
                    <a:pt x="198120" y="353495"/>
                  </a:lnTo>
                  <a:lnTo>
                    <a:pt x="198120" y="360725"/>
                  </a:lnTo>
                  <a:lnTo>
                    <a:pt x="196978" y="359964"/>
                  </a:lnTo>
                  <a:lnTo>
                    <a:pt x="199515" y="359964"/>
                  </a:lnTo>
                  <a:lnTo>
                    <a:pt x="199515" y="363896"/>
                  </a:lnTo>
                  <a:lnTo>
                    <a:pt x="198373" y="363135"/>
                  </a:lnTo>
                  <a:lnTo>
                    <a:pt x="202179" y="363135"/>
                  </a:lnTo>
                  <a:lnTo>
                    <a:pt x="202179" y="373536"/>
                  </a:lnTo>
                  <a:lnTo>
                    <a:pt x="201037" y="372775"/>
                  </a:lnTo>
                  <a:lnTo>
                    <a:pt x="204842" y="372775"/>
                  </a:lnTo>
                  <a:lnTo>
                    <a:pt x="204842" y="379877"/>
                  </a:lnTo>
                  <a:lnTo>
                    <a:pt x="203827" y="379116"/>
                  </a:lnTo>
                  <a:lnTo>
                    <a:pt x="206237" y="379116"/>
                  </a:lnTo>
                  <a:lnTo>
                    <a:pt x="206237" y="389517"/>
                  </a:lnTo>
                  <a:lnTo>
                    <a:pt x="205096" y="388756"/>
                  </a:lnTo>
                  <a:lnTo>
                    <a:pt x="207633" y="388756"/>
                  </a:lnTo>
                  <a:lnTo>
                    <a:pt x="207633" y="392688"/>
                  </a:lnTo>
                  <a:lnTo>
                    <a:pt x="206491" y="391927"/>
                  </a:lnTo>
                  <a:lnTo>
                    <a:pt x="209028" y="391927"/>
                  </a:lnTo>
                  <a:lnTo>
                    <a:pt x="209028" y="395986"/>
                  </a:lnTo>
                  <a:lnTo>
                    <a:pt x="207886" y="395098"/>
                  </a:lnTo>
                  <a:lnTo>
                    <a:pt x="210296" y="395098"/>
                  </a:lnTo>
                  <a:lnTo>
                    <a:pt x="210296" y="399157"/>
                  </a:lnTo>
                  <a:lnTo>
                    <a:pt x="209281" y="398396"/>
                  </a:lnTo>
                  <a:lnTo>
                    <a:pt x="211691" y="398396"/>
                  </a:lnTo>
                  <a:lnTo>
                    <a:pt x="211691" y="402328"/>
                  </a:lnTo>
                  <a:lnTo>
                    <a:pt x="210677" y="401567"/>
                  </a:lnTo>
                  <a:lnTo>
                    <a:pt x="214355" y="401567"/>
                  </a:lnTo>
                  <a:lnTo>
                    <a:pt x="214355" y="405499"/>
                  </a:lnTo>
                  <a:lnTo>
                    <a:pt x="213340" y="404738"/>
                  </a:lnTo>
                  <a:lnTo>
                    <a:pt x="215750" y="404738"/>
                  </a:lnTo>
                  <a:lnTo>
                    <a:pt x="215750" y="408796"/>
                  </a:lnTo>
                  <a:lnTo>
                    <a:pt x="214609" y="407908"/>
                  </a:lnTo>
                  <a:lnTo>
                    <a:pt x="217399" y="407908"/>
                  </a:lnTo>
                  <a:lnTo>
                    <a:pt x="223868" y="407908"/>
                  </a:lnTo>
                  <a:lnTo>
                    <a:pt x="223868" y="418436"/>
                  </a:lnTo>
                  <a:lnTo>
                    <a:pt x="222726" y="417548"/>
                  </a:lnTo>
                  <a:lnTo>
                    <a:pt x="229322" y="417548"/>
                  </a:lnTo>
                  <a:lnTo>
                    <a:pt x="229322" y="421607"/>
                  </a:lnTo>
                  <a:lnTo>
                    <a:pt x="228307" y="420846"/>
                  </a:lnTo>
                  <a:lnTo>
                    <a:pt x="230717" y="420846"/>
                  </a:lnTo>
                  <a:lnTo>
                    <a:pt x="230717" y="428076"/>
                  </a:lnTo>
                  <a:lnTo>
                    <a:pt x="229575" y="427188"/>
                  </a:lnTo>
                  <a:lnTo>
                    <a:pt x="232112" y="427188"/>
                  </a:lnTo>
                  <a:lnTo>
                    <a:pt x="232112" y="434417"/>
                  </a:lnTo>
                  <a:lnTo>
                    <a:pt x="230971" y="433656"/>
                  </a:lnTo>
                  <a:lnTo>
                    <a:pt x="234776" y="433656"/>
                  </a:lnTo>
                  <a:lnTo>
                    <a:pt x="234776" y="437588"/>
                  </a:lnTo>
                  <a:lnTo>
                    <a:pt x="233761" y="436827"/>
                  </a:lnTo>
                  <a:lnTo>
                    <a:pt x="236171" y="436827"/>
                  </a:lnTo>
                  <a:lnTo>
                    <a:pt x="236171" y="440886"/>
                  </a:lnTo>
                  <a:lnTo>
                    <a:pt x="235029" y="439998"/>
                  </a:lnTo>
                  <a:lnTo>
                    <a:pt x="237693" y="439998"/>
                  </a:lnTo>
                  <a:lnTo>
                    <a:pt x="243020" y="439998"/>
                  </a:lnTo>
                  <a:lnTo>
                    <a:pt x="243020" y="444057"/>
                  </a:lnTo>
                  <a:lnTo>
                    <a:pt x="241879" y="443296"/>
                  </a:lnTo>
                  <a:lnTo>
                    <a:pt x="249743" y="443296"/>
                  </a:lnTo>
                  <a:lnTo>
                    <a:pt x="249743" y="447228"/>
                  </a:lnTo>
                  <a:lnTo>
                    <a:pt x="248601" y="446467"/>
                  </a:lnTo>
                  <a:lnTo>
                    <a:pt x="257987" y="446467"/>
                  </a:lnTo>
                  <a:lnTo>
                    <a:pt x="257987" y="453697"/>
                  </a:lnTo>
                  <a:lnTo>
                    <a:pt x="256845" y="452936"/>
                  </a:lnTo>
                  <a:lnTo>
                    <a:pt x="261919" y="452936"/>
                  </a:lnTo>
                  <a:lnTo>
                    <a:pt x="261919" y="456868"/>
                  </a:lnTo>
                  <a:lnTo>
                    <a:pt x="260904" y="456107"/>
                  </a:lnTo>
                  <a:lnTo>
                    <a:pt x="263314" y="456107"/>
                  </a:lnTo>
                  <a:lnTo>
                    <a:pt x="263314" y="463336"/>
                  </a:lnTo>
                  <a:lnTo>
                    <a:pt x="262173" y="462575"/>
                  </a:lnTo>
                  <a:lnTo>
                    <a:pt x="266104" y="462575"/>
                  </a:lnTo>
                  <a:lnTo>
                    <a:pt x="266104" y="466507"/>
                  </a:lnTo>
                  <a:lnTo>
                    <a:pt x="264963" y="465746"/>
                  </a:lnTo>
                  <a:lnTo>
                    <a:pt x="267373" y="465746"/>
                  </a:lnTo>
                  <a:lnTo>
                    <a:pt x="267373" y="472976"/>
                  </a:lnTo>
                  <a:lnTo>
                    <a:pt x="266358" y="472215"/>
                  </a:lnTo>
                  <a:lnTo>
                    <a:pt x="271432" y="472215"/>
                  </a:lnTo>
                  <a:lnTo>
                    <a:pt x="271432" y="476147"/>
                  </a:lnTo>
                  <a:lnTo>
                    <a:pt x="270417" y="475386"/>
                  </a:lnTo>
                  <a:lnTo>
                    <a:pt x="274222" y="475386"/>
                  </a:lnTo>
                  <a:lnTo>
                    <a:pt x="274222" y="479445"/>
                  </a:lnTo>
                  <a:lnTo>
                    <a:pt x="273081" y="478684"/>
                  </a:lnTo>
                  <a:lnTo>
                    <a:pt x="278281" y="478684"/>
                  </a:lnTo>
                  <a:lnTo>
                    <a:pt x="278281" y="489084"/>
                  </a:lnTo>
                  <a:lnTo>
                    <a:pt x="277266" y="488323"/>
                  </a:lnTo>
                  <a:lnTo>
                    <a:pt x="281198" y="488323"/>
                  </a:lnTo>
                  <a:lnTo>
                    <a:pt x="285003" y="488323"/>
                  </a:lnTo>
                  <a:lnTo>
                    <a:pt x="285003" y="492382"/>
                  </a:lnTo>
                  <a:lnTo>
                    <a:pt x="283989" y="491621"/>
                  </a:lnTo>
                  <a:lnTo>
                    <a:pt x="289189" y="491621"/>
                  </a:lnTo>
                  <a:lnTo>
                    <a:pt x="289189" y="498851"/>
                  </a:lnTo>
                  <a:lnTo>
                    <a:pt x="288047" y="498090"/>
                  </a:lnTo>
                  <a:lnTo>
                    <a:pt x="290584" y="498090"/>
                  </a:lnTo>
                  <a:lnTo>
                    <a:pt x="290584" y="502022"/>
                  </a:lnTo>
                  <a:lnTo>
                    <a:pt x="289443" y="501261"/>
                  </a:lnTo>
                  <a:lnTo>
                    <a:pt x="293248" y="501261"/>
                  </a:lnTo>
                  <a:lnTo>
                    <a:pt x="293248" y="505319"/>
                  </a:lnTo>
                  <a:lnTo>
                    <a:pt x="292233" y="504432"/>
                  </a:lnTo>
                  <a:lnTo>
                    <a:pt x="296165" y="504432"/>
                  </a:lnTo>
                  <a:lnTo>
                    <a:pt x="300097" y="504432"/>
                  </a:lnTo>
                  <a:lnTo>
                    <a:pt x="300097" y="508617"/>
                  </a:lnTo>
                  <a:lnTo>
                    <a:pt x="298955" y="507729"/>
                  </a:lnTo>
                  <a:lnTo>
                    <a:pt x="302760" y="507729"/>
                  </a:lnTo>
                  <a:lnTo>
                    <a:pt x="302760" y="511788"/>
                  </a:lnTo>
                  <a:lnTo>
                    <a:pt x="301619" y="511027"/>
                  </a:lnTo>
                  <a:lnTo>
                    <a:pt x="304156" y="511027"/>
                  </a:lnTo>
                  <a:lnTo>
                    <a:pt x="304156" y="515086"/>
                  </a:lnTo>
                  <a:lnTo>
                    <a:pt x="303014" y="514325"/>
                  </a:lnTo>
                  <a:lnTo>
                    <a:pt x="306819" y="514325"/>
                  </a:lnTo>
                  <a:lnTo>
                    <a:pt x="306819" y="521555"/>
                  </a:lnTo>
                  <a:lnTo>
                    <a:pt x="305678" y="520794"/>
                  </a:lnTo>
                  <a:lnTo>
                    <a:pt x="309483" y="520794"/>
                  </a:lnTo>
                  <a:lnTo>
                    <a:pt x="309483" y="524726"/>
                  </a:lnTo>
                  <a:lnTo>
                    <a:pt x="308468" y="523965"/>
                  </a:lnTo>
                  <a:lnTo>
                    <a:pt x="310878" y="523965"/>
                  </a:lnTo>
                  <a:lnTo>
                    <a:pt x="310878" y="531321"/>
                  </a:lnTo>
                  <a:lnTo>
                    <a:pt x="309863" y="530433"/>
                  </a:lnTo>
                  <a:lnTo>
                    <a:pt x="312273" y="530433"/>
                  </a:lnTo>
                  <a:lnTo>
                    <a:pt x="312273" y="534492"/>
                  </a:lnTo>
                  <a:lnTo>
                    <a:pt x="311132" y="533731"/>
                  </a:lnTo>
                  <a:lnTo>
                    <a:pt x="313668" y="533731"/>
                  </a:lnTo>
                  <a:lnTo>
                    <a:pt x="313668" y="541088"/>
                  </a:lnTo>
                  <a:lnTo>
                    <a:pt x="312527" y="540200"/>
                  </a:lnTo>
                  <a:lnTo>
                    <a:pt x="315064" y="540200"/>
                  </a:lnTo>
                  <a:lnTo>
                    <a:pt x="315064" y="550727"/>
                  </a:lnTo>
                  <a:lnTo>
                    <a:pt x="313922" y="549966"/>
                  </a:lnTo>
                  <a:lnTo>
                    <a:pt x="317600" y="549966"/>
                  </a:lnTo>
                  <a:lnTo>
                    <a:pt x="317600" y="554025"/>
                  </a:lnTo>
                  <a:lnTo>
                    <a:pt x="316586" y="553264"/>
                  </a:lnTo>
                  <a:lnTo>
                    <a:pt x="318996" y="553264"/>
                  </a:lnTo>
                  <a:lnTo>
                    <a:pt x="318996" y="557196"/>
                  </a:lnTo>
                  <a:lnTo>
                    <a:pt x="317981" y="556435"/>
                  </a:lnTo>
                  <a:lnTo>
                    <a:pt x="321786" y="556435"/>
                  </a:lnTo>
                  <a:lnTo>
                    <a:pt x="321786" y="563791"/>
                  </a:lnTo>
                  <a:lnTo>
                    <a:pt x="320645" y="562904"/>
                  </a:lnTo>
                  <a:lnTo>
                    <a:pt x="323181" y="562904"/>
                  </a:lnTo>
                  <a:lnTo>
                    <a:pt x="323181" y="567089"/>
                  </a:lnTo>
                  <a:lnTo>
                    <a:pt x="322040" y="566201"/>
                  </a:lnTo>
                  <a:lnTo>
                    <a:pt x="327240" y="566201"/>
                  </a:lnTo>
                  <a:lnTo>
                    <a:pt x="327240" y="570260"/>
                  </a:lnTo>
                  <a:lnTo>
                    <a:pt x="326099" y="569499"/>
                  </a:lnTo>
                  <a:lnTo>
                    <a:pt x="328635" y="569499"/>
                  </a:lnTo>
                  <a:lnTo>
                    <a:pt x="328635" y="573558"/>
                  </a:lnTo>
                  <a:lnTo>
                    <a:pt x="327494" y="572797"/>
                  </a:lnTo>
                  <a:lnTo>
                    <a:pt x="331299" y="572797"/>
                  </a:lnTo>
                  <a:lnTo>
                    <a:pt x="331299" y="576729"/>
                  </a:lnTo>
                  <a:lnTo>
                    <a:pt x="330157" y="575968"/>
                  </a:lnTo>
                  <a:lnTo>
                    <a:pt x="332694" y="575968"/>
                  </a:lnTo>
                  <a:lnTo>
                    <a:pt x="332694" y="579900"/>
                  </a:lnTo>
                  <a:lnTo>
                    <a:pt x="331552" y="579139"/>
                  </a:lnTo>
                  <a:lnTo>
                    <a:pt x="333962" y="579139"/>
                  </a:lnTo>
                  <a:lnTo>
                    <a:pt x="333962" y="586495"/>
                  </a:lnTo>
                  <a:lnTo>
                    <a:pt x="332948" y="585607"/>
                  </a:lnTo>
                  <a:lnTo>
                    <a:pt x="335358" y="585607"/>
                  </a:lnTo>
                  <a:lnTo>
                    <a:pt x="335358" y="589793"/>
                  </a:lnTo>
                  <a:lnTo>
                    <a:pt x="334343" y="588905"/>
                  </a:lnTo>
                  <a:lnTo>
                    <a:pt x="336753" y="588905"/>
                  </a:lnTo>
                  <a:lnTo>
                    <a:pt x="336753" y="592964"/>
                  </a:lnTo>
                  <a:lnTo>
                    <a:pt x="335611" y="592203"/>
                  </a:lnTo>
                  <a:lnTo>
                    <a:pt x="339543" y="592203"/>
                  </a:lnTo>
                  <a:lnTo>
                    <a:pt x="339543" y="599433"/>
                  </a:lnTo>
                  <a:lnTo>
                    <a:pt x="338402" y="598672"/>
                  </a:lnTo>
                  <a:lnTo>
                    <a:pt x="342080" y="598672"/>
                  </a:lnTo>
                  <a:lnTo>
                    <a:pt x="342080" y="602730"/>
                  </a:lnTo>
                  <a:lnTo>
                    <a:pt x="341065" y="601969"/>
                  </a:lnTo>
                  <a:lnTo>
                    <a:pt x="343475" y="601969"/>
                  </a:lnTo>
                  <a:lnTo>
                    <a:pt x="343475" y="605901"/>
                  </a:lnTo>
                  <a:lnTo>
                    <a:pt x="342461" y="605140"/>
                  </a:lnTo>
                  <a:lnTo>
                    <a:pt x="346519" y="605140"/>
                  </a:lnTo>
                  <a:lnTo>
                    <a:pt x="348929" y="605140"/>
                  </a:lnTo>
                  <a:lnTo>
                    <a:pt x="348929" y="612497"/>
                  </a:lnTo>
                  <a:lnTo>
                    <a:pt x="347915" y="611736"/>
                  </a:lnTo>
                  <a:lnTo>
                    <a:pt x="351720" y="611736"/>
                  </a:lnTo>
                  <a:lnTo>
                    <a:pt x="351720" y="615668"/>
                  </a:lnTo>
                  <a:lnTo>
                    <a:pt x="350578" y="614907"/>
                  </a:lnTo>
                  <a:lnTo>
                    <a:pt x="354383" y="614907"/>
                  </a:lnTo>
                  <a:lnTo>
                    <a:pt x="354383" y="622263"/>
                  </a:lnTo>
                  <a:lnTo>
                    <a:pt x="353242" y="621502"/>
                  </a:lnTo>
                  <a:lnTo>
                    <a:pt x="357174" y="621502"/>
                  </a:lnTo>
                  <a:lnTo>
                    <a:pt x="357174" y="628732"/>
                  </a:lnTo>
                  <a:lnTo>
                    <a:pt x="356032" y="627971"/>
                  </a:lnTo>
                  <a:lnTo>
                    <a:pt x="358442" y="627971"/>
                  </a:lnTo>
                  <a:lnTo>
                    <a:pt x="358442" y="632030"/>
                  </a:lnTo>
                  <a:lnTo>
                    <a:pt x="357427" y="631269"/>
                  </a:lnTo>
                  <a:lnTo>
                    <a:pt x="359837" y="631269"/>
                  </a:lnTo>
                  <a:lnTo>
                    <a:pt x="359837" y="635328"/>
                  </a:lnTo>
                  <a:lnTo>
                    <a:pt x="358696" y="634567"/>
                  </a:lnTo>
                  <a:lnTo>
                    <a:pt x="362628" y="634567"/>
                  </a:lnTo>
                  <a:lnTo>
                    <a:pt x="362628" y="645221"/>
                  </a:lnTo>
                  <a:lnTo>
                    <a:pt x="361486" y="644460"/>
                  </a:lnTo>
                  <a:lnTo>
                    <a:pt x="363896" y="644460"/>
                  </a:lnTo>
                  <a:lnTo>
                    <a:pt x="363896" y="648392"/>
                  </a:lnTo>
                  <a:lnTo>
                    <a:pt x="362754" y="647631"/>
                  </a:lnTo>
                  <a:lnTo>
                    <a:pt x="366560" y="647631"/>
                  </a:lnTo>
                  <a:lnTo>
                    <a:pt x="366560" y="654987"/>
                  </a:lnTo>
                  <a:lnTo>
                    <a:pt x="365545" y="654226"/>
                  </a:lnTo>
                  <a:lnTo>
                    <a:pt x="367955" y="654226"/>
                  </a:lnTo>
                  <a:lnTo>
                    <a:pt x="367955" y="658285"/>
                  </a:lnTo>
                  <a:lnTo>
                    <a:pt x="366940" y="657524"/>
                  </a:lnTo>
                  <a:lnTo>
                    <a:pt x="369350" y="657524"/>
                  </a:lnTo>
                  <a:lnTo>
                    <a:pt x="369350" y="664754"/>
                  </a:lnTo>
                  <a:lnTo>
                    <a:pt x="368208" y="663993"/>
                  </a:lnTo>
                  <a:lnTo>
                    <a:pt x="377468" y="663993"/>
                  </a:lnTo>
                  <a:lnTo>
                    <a:pt x="377468" y="668052"/>
                  </a:lnTo>
                  <a:lnTo>
                    <a:pt x="376326" y="667291"/>
                  </a:lnTo>
                  <a:lnTo>
                    <a:pt x="379116" y="667291"/>
                  </a:lnTo>
                  <a:lnTo>
                    <a:pt x="384317" y="667291"/>
                  </a:lnTo>
                  <a:lnTo>
                    <a:pt x="384317" y="674647"/>
                  </a:lnTo>
                  <a:lnTo>
                    <a:pt x="383175" y="673759"/>
                  </a:lnTo>
                  <a:lnTo>
                    <a:pt x="387107" y="673759"/>
                  </a:lnTo>
                  <a:lnTo>
                    <a:pt x="387107" y="677818"/>
                  </a:lnTo>
                  <a:lnTo>
                    <a:pt x="385966" y="677057"/>
                  </a:lnTo>
                  <a:lnTo>
                    <a:pt x="388376" y="677057"/>
                  </a:lnTo>
                  <a:lnTo>
                    <a:pt x="388376" y="681116"/>
                  </a:lnTo>
                  <a:lnTo>
                    <a:pt x="387234" y="680355"/>
                  </a:lnTo>
                  <a:lnTo>
                    <a:pt x="391039" y="680355"/>
                  </a:lnTo>
                  <a:lnTo>
                    <a:pt x="391039" y="684414"/>
                  </a:lnTo>
                  <a:lnTo>
                    <a:pt x="390024" y="683653"/>
                  </a:lnTo>
                  <a:lnTo>
                    <a:pt x="392434" y="683653"/>
                  </a:lnTo>
                  <a:lnTo>
                    <a:pt x="392434" y="691009"/>
                  </a:lnTo>
                  <a:lnTo>
                    <a:pt x="391420" y="690248"/>
                  </a:lnTo>
                  <a:lnTo>
                    <a:pt x="393830" y="690248"/>
                  </a:lnTo>
                  <a:lnTo>
                    <a:pt x="393830" y="694307"/>
                  </a:lnTo>
                  <a:lnTo>
                    <a:pt x="392688" y="693546"/>
                  </a:lnTo>
                  <a:lnTo>
                    <a:pt x="395225" y="693546"/>
                  </a:lnTo>
                  <a:lnTo>
                    <a:pt x="395225" y="697605"/>
                  </a:lnTo>
                  <a:lnTo>
                    <a:pt x="394083" y="696717"/>
                  </a:lnTo>
                  <a:lnTo>
                    <a:pt x="396620" y="696717"/>
                  </a:lnTo>
                  <a:lnTo>
                    <a:pt x="396620" y="700902"/>
                  </a:lnTo>
                  <a:lnTo>
                    <a:pt x="395478" y="700015"/>
                  </a:lnTo>
                  <a:lnTo>
                    <a:pt x="399157" y="700015"/>
                  </a:lnTo>
                  <a:lnTo>
                    <a:pt x="399157" y="704073"/>
                  </a:lnTo>
                  <a:lnTo>
                    <a:pt x="398142" y="703312"/>
                  </a:lnTo>
                  <a:lnTo>
                    <a:pt x="401947" y="703312"/>
                  </a:lnTo>
                  <a:lnTo>
                    <a:pt x="401947" y="707371"/>
                  </a:lnTo>
                  <a:lnTo>
                    <a:pt x="400806" y="706610"/>
                  </a:lnTo>
                  <a:lnTo>
                    <a:pt x="404738" y="706610"/>
                  </a:lnTo>
                  <a:lnTo>
                    <a:pt x="404738" y="710669"/>
                  </a:lnTo>
                  <a:lnTo>
                    <a:pt x="403596" y="709781"/>
                  </a:lnTo>
                  <a:lnTo>
                    <a:pt x="406006" y="709781"/>
                  </a:lnTo>
                  <a:lnTo>
                    <a:pt x="406006" y="717138"/>
                  </a:lnTo>
                  <a:lnTo>
                    <a:pt x="404991" y="716377"/>
                  </a:lnTo>
                  <a:lnTo>
                    <a:pt x="410192" y="716377"/>
                  </a:lnTo>
                  <a:lnTo>
                    <a:pt x="410192" y="723733"/>
                  </a:lnTo>
                  <a:lnTo>
                    <a:pt x="409050" y="722972"/>
                  </a:lnTo>
                  <a:lnTo>
                    <a:pt x="414250" y="722972"/>
                  </a:lnTo>
                  <a:lnTo>
                    <a:pt x="414250" y="730329"/>
                  </a:lnTo>
                  <a:lnTo>
                    <a:pt x="413109" y="729568"/>
                  </a:lnTo>
                  <a:lnTo>
                    <a:pt x="418309" y="729568"/>
                  </a:lnTo>
                  <a:lnTo>
                    <a:pt x="418309" y="736924"/>
                  </a:lnTo>
                  <a:lnTo>
                    <a:pt x="417168" y="736036"/>
                  </a:lnTo>
                  <a:lnTo>
                    <a:pt x="422368" y="736036"/>
                  </a:lnTo>
                  <a:lnTo>
                    <a:pt x="422368" y="740095"/>
                  </a:lnTo>
                  <a:lnTo>
                    <a:pt x="421226" y="739334"/>
                  </a:lnTo>
                  <a:lnTo>
                    <a:pt x="426427" y="739334"/>
                  </a:lnTo>
                  <a:lnTo>
                    <a:pt x="426427" y="743393"/>
                  </a:lnTo>
                  <a:lnTo>
                    <a:pt x="425285" y="742632"/>
                  </a:lnTo>
                  <a:lnTo>
                    <a:pt x="430486" y="742632"/>
                  </a:lnTo>
                  <a:lnTo>
                    <a:pt x="430486" y="746691"/>
                  </a:lnTo>
                  <a:lnTo>
                    <a:pt x="429471" y="745930"/>
                  </a:lnTo>
                  <a:lnTo>
                    <a:pt x="438984" y="745930"/>
                  </a:lnTo>
                  <a:lnTo>
                    <a:pt x="442789" y="745930"/>
                  </a:lnTo>
                  <a:lnTo>
                    <a:pt x="442789" y="749988"/>
                  </a:lnTo>
                  <a:lnTo>
                    <a:pt x="441647" y="749227"/>
                  </a:lnTo>
                  <a:lnTo>
                    <a:pt x="445452" y="749227"/>
                  </a:lnTo>
                  <a:lnTo>
                    <a:pt x="445452" y="763180"/>
                  </a:lnTo>
                  <a:lnTo>
                    <a:pt x="444438" y="762292"/>
                  </a:lnTo>
                  <a:lnTo>
                    <a:pt x="449511" y="762292"/>
                  </a:lnTo>
                  <a:lnTo>
                    <a:pt x="449511" y="772946"/>
                  </a:lnTo>
                  <a:lnTo>
                    <a:pt x="448496" y="772185"/>
                  </a:lnTo>
                  <a:lnTo>
                    <a:pt x="452555" y="772185"/>
                  </a:lnTo>
                  <a:lnTo>
                    <a:pt x="454965" y="772185"/>
                  </a:lnTo>
                  <a:lnTo>
                    <a:pt x="454965" y="776244"/>
                  </a:lnTo>
                  <a:lnTo>
                    <a:pt x="453950" y="775483"/>
                  </a:lnTo>
                  <a:lnTo>
                    <a:pt x="456360" y="775483"/>
                  </a:lnTo>
                  <a:lnTo>
                    <a:pt x="456360" y="779542"/>
                  </a:lnTo>
                  <a:lnTo>
                    <a:pt x="455346" y="778781"/>
                  </a:lnTo>
                  <a:lnTo>
                    <a:pt x="460419" y="778781"/>
                  </a:lnTo>
                  <a:lnTo>
                    <a:pt x="460419" y="782839"/>
                  </a:lnTo>
                  <a:lnTo>
                    <a:pt x="459278" y="782078"/>
                  </a:lnTo>
                  <a:lnTo>
                    <a:pt x="465873" y="782078"/>
                  </a:lnTo>
                  <a:lnTo>
                    <a:pt x="465873" y="786137"/>
                  </a:lnTo>
                  <a:lnTo>
                    <a:pt x="464732" y="785376"/>
                  </a:lnTo>
                  <a:lnTo>
                    <a:pt x="467268" y="785376"/>
                  </a:lnTo>
                  <a:lnTo>
                    <a:pt x="467268" y="789435"/>
                  </a:lnTo>
                  <a:lnTo>
                    <a:pt x="466127" y="788674"/>
                  </a:lnTo>
                  <a:lnTo>
                    <a:pt x="467522" y="788674"/>
                  </a:lnTo>
                  <a:lnTo>
                    <a:pt x="469932" y="788674"/>
                  </a:lnTo>
                  <a:lnTo>
                    <a:pt x="469932" y="792733"/>
                  </a:lnTo>
                  <a:lnTo>
                    <a:pt x="468790" y="791972"/>
                  </a:lnTo>
                  <a:lnTo>
                    <a:pt x="472596" y="791972"/>
                  </a:lnTo>
                  <a:lnTo>
                    <a:pt x="472596" y="796030"/>
                  </a:lnTo>
                  <a:lnTo>
                    <a:pt x="471581" y="795269"/>
                  </a:lnTo>
                  <a:lnTo>
                    <a:pt x="476781" y="795269"/>
                  </a:lnTo>
                  <a:lnTo>
                    <a:pt x="476781" y="799328"/>
                  </a:lnTo>
                  <a:lnTo>
                    <a:pt x="475640" y="798567"/>
                  </a:lnTo>
                  <a:lnTo>
                    <a:pt x="486294" y="798567"/>
                  </a:lnTo>
                  <a:lnTo>
                    <a:pt x="486294" y="802753"/>
                  </a:lnTo>
                  <a:lnTo>
                    <a:pt x="485152" y="801865"/>
                  </a:lnTo>
                  <a:lnTo>
                    <a:pt x="487562" y="801865"/>
                  </a:lnTo>
                  <a:lnTo>
                    <a:pt x="487562" y="805924"/>
                  </a:lnTo>
                  <a:lnTo>
                    <a:pt x="486548" y="805163"/>
                  </a:lnTo>
                  <a:lnTo>
                    <a:pt x="490353" y="805163"/>
                  </a:lnTo>
                  <a:lnTo>
                    <a:pt x="490353" y="809348"/>
                  </a:lnTo>
                  <a:lnTo>
                    <a:pt x="489211" y="808587"/>
                  </a:lnTo>
                  <a:lnTo>
                    <a:pt x="495807" y="808587"/>
                  </a:lnTo>
                  <a:lnTo>
                    <a:pt x="495807" y="812646"/>
                  </a:lnTo>
                  <a:lnTo>
                    <a:pt x="494665" y="811758"/>
                  </a:lnTo>
                  <a:lnTo>
                    <a:pt x="497075" y="811758"/>
                  </a:lnTo>
                  <a:lnTo>
                    <a:pt x="497075" y="815944"/>
                  </a:lnTo>
                  <a:lnTo>
                    <a:pt x="496060" y="815183"/>
                  </a:lnTo>
                  <a:lnTo>
                    <a:pt x="498470" y="815183"/>
                  </a:lnTo>
                  <a:lnTo>
                    <a:pt x="498470" y="819242"/>
                  </a:lnTo>
                  <a:lnTo>
                    <a:pt x="497329" y="818481"/>
                  </a:lnTo>
                  <a:lnTo>
                    <a:pt x="502529" y="818481"/>
                  </a:lnTo>
                  <a:lnTo>
                    <a:pt x="502529" y="822539"/>
                  </a:lnTo>
                  <a:lnTo>
                    <a:pt x="501514" y="821778"/>
                  </a:lnTo>
                  <a:lnTo>
                    <a:pt x="503924" y="821778"/>
                  </a:lnTo>
                  <a:lnTo>
                    <a:pt x="503924" y="825837"/>
                  </a:lnTo>
                  <a:lnTo>
                    <a:pt x="502910" y="825076"/>
                  </a:lnTo>
                  <a:lnTo>
                    <a:pt x="505573" y="825076"/>
                  </a:lnTo>
                  <a:lnTo>
                    <a:pt x="507983" y="825076"/>
                  </a:lnTo>
                  <a:lnTo>
                    <a:pt x="507983" y="832559"/>
                  </a:lnTo>
                  <a:lnTo>
                    <a:pt x="506842" y="831798"/>
                  </a:lnTo>
                  <a:lnTo>
                    <a:pt x="510774" y="831798"/>
                  </a:lnTo>
                  <a:lnTo>
                    <a:pt x="510774" y="839282"/>
                  </a:lnTo>
                  <a:lnTo>
                    <a:pt x="509632" y="838394"/>
                  </a:lnTo>
                  <a:lnTo>
                    <a:pt x="512422" y="838394"/>
                  </a:lnTo>
                  <a:lnTo>
                    <a:pt x="517496" y="838394"/>
                  </a:lnTo>
                  <a:lnTo>
                    <a:pt x="517496" y="842580"/>
                  </a:lnTo>
                  <a:lnTo>
                    <a:pt x="516354" y="841819"/>
                  </a:lnTo>
                  <a:lnTo>
                    <a:pt x="520540" y="841819"/>
                  </a:lnTo>
                  <a:lnTo>
                    <a:pt x="523204" y="841819"/>
                  </a:lnTo>
                  <a:lnTo>
                    <a:pt x="529672" y="841819"/>
                  </a:lnTo>
                  <a:lnTo>
                    <a:pt x="529672" y="846004"/>
                  </a:lnTo>
                  <a:lnTo>
                    <a:pt x="528658" y="845243"/>
                  </a:lnTo>
                  <a:lnTo>
                    <a:pt x="531068" y="845243"/>
                  </a:lnTo>
                  <a:lnTo>
                    <a:pt x="531068" y="849302"/>
                  </a:lnTo>
                  <a:lnTo>
                    <a:pt x="530053" y="848541"/>
                  </a:lnTo>
                  <a:lnTo>
                    <a:pt x="532463" y="848541"/>
                  </a:lnTo>
                  <a:lnTo>
                    <a:pt x="532463" y="852727"/>
                  </a:lnTo>
                  <a:lnTo>
                    <a:pt x="531321" y="851966"/>
                  </a:lnTo>
                  <a:lnTo>
                    <a:pt x="535253" y="851966"/>
                  </a:lnTo>
                  <a:lnTo>
                    <a:pt x="535253" y="856151"/>
                  </a:lnTo>
                  <a:lnTo>
                    <a:pt x="534112" y="855263"/>
                  </a:lnTo>
                  <a:lnTo>
                    <a:pt x="536522" y="855263"/>
                  </a:lnTo>
                  <a:lnTo>
                    <a:pt x="536522" y="859576"/>
                  </a:lnTo>
                  <a:lnTo>
                    <a:pt x="535507" y="858688"/>
                  </a:lnTo>
                  <a:lnTo>
                    <a:pt x="537917" y="858688"/>
                  </a:lnTo>
                  <a:lnTo>
                    <a:pt x="537917" y="863000"/>
                  </a:lnTo>
                  <a:lnTo>
                    <a:pt x="536902" y="862239"/>
                  </a:lnTo>
                  <a:lnTo>
                    <a:pt x="540580" y="862239"/>
                  </a:lnTo>
                  <a:lnTo>
                    <a:pt x="540580" y="866425"/>
                  </a:lnTo>
                  <a:lnTo>
                    <a:pt x="539439" y="865664"/>
                  </a:lnTo>
                  <a:lnTo>
                    <a:pt x="544639" y="865664"/>
                  </a:lnTo>
                  <a:lnTo>
                    <a:pt x="544639" y="869850"/>
                  </a:lnTo>
                  <a:lnTo>
                    <a:pt x="543624" y="869089"/>
                  </a:lnTo>
                  <a:lnTo>
                    <a:pt x="545020" y="869089"/>
                  </a:lnTo>
                  <a:lnTo>
                    <a:pt x="547429" y="869089"/>
                  </a:lnTo>
                  <a:lnTo>
                    <a:pt x="547429" y="876826"/>
                  </a:lnTo>
                  <a:lnTo>
                    <a:pt x="546288" y="875938"/>
                  </a:lnTo>
                  <a:lnTo>
                    <a:pt x="547683" y="875938"/>
                  </a:lnTo>
                  <a:lnTo>
                    <a:pt x="550347" y="875938"/>
                  </a:lnTo>
                  <a:lnTo>
                    <a:pt x="555547" y="875938"/>
                  </a:lnTo>
                  <a:lnTo>
                    <a:pt x="555547" y="880250"/>
                  </a:lnTo>
                  <a:lnTo>
                    <a:pt x="554406" y="879489"/>
                  </a:lnTo>
                  <a:lnTo>
                    <a:pt x="556942" y="879489"/>
                  </a:lnTo>
                  <a:lnTo>
                    <a:pt x="556942" y="887226"/>
                  </a:lnTo>
                  <a:lnTo>
                    <a:pt x="555801" y="886465"/>
                  </a:lnTo>
                  <a:lnTo>
                    <a:pt x="557196" y="886465"/>
                  </a:lnTo>
                  <a:lnTo>
                    <a:pt x="558591" y="886465"/>
                  </a:lnTo>
                  <a:lnTo>
                    <a:pt x="562650" y="886465"/>
                  </a:lnTo>
                  <a:lnTo>
                    <a:pt x="565060" y="886465"/>
                  </a:lnTo>
                  <a:lnTo>
                    <a:pt x="565060" y="890651"/>
                  </a:lnTo>
                  <a:lnTo>
                    <a:pt x="563918" y="889890"/>
                  </a:lnTo>
                  <a:lnTo>
                    <a:pt x="568104" y="889890"/>
                  </a:lnTo>
                  <a:lnTo>
                    <a:pt x="572163" y="889890"/>
                  </a:lnTo>
                  <a:lnTo>
                    <a:pt x="574573" y="889890"/>
                  </a:lnTo>
                  <a:lnTo>
                    <a:pt x="574573" y="894202"/>
                  </a:lnTo>
                  <a:lnTo>
                    <a:pt x="573431" y="893441"/>
                  </a:lnTo>
                  <a:lnTo>
                    <a:pt x="574826" y="893441"/>
                  </a:lnTo>
                  <a:lnTo>
                    <a:pt x="577236" y="893441"/>
                  </a:lnTo>
                  <a:lnTo>
                    <a:pt x="577236" y="897754"/>
                  </a:lnTo>
                  <a:lnTo>
                    <a:pt x="576222" y="896993"/>
                  </a:lnTo>
                  <a:lnTo>
                    <a:pt x="581422" y="896993"/>
                  </a:lnTo>
                  <a:lnTo>
                    <a:pt x="581422" y="901305"/>
                  </a:lnTo>
                  <a:lnTo>
                    <a:pt x="580280" y="900544"/>
                  </a:lnTo>
                  <a:lnTo>
                    <a:pt x="582817" y="900544"/>
                  </a:lnTo>
                  <a:lnTo>
                    <a:pt x="582817" y="908535"/>
                  </a:lnTo>
                  <a:lnTo>
                    <a:pt x="581676" y="907647"/>
                  </a:lnTo>
                  <a:lnTo>
                    <a:pt x="584085" y="907647"/>
                  </a:lnTo>
                  <a:lnTo>
                    <a:pt x="584085" y="912086"/>
                  </a:lnTo>
                  <a:lnTo>
                    <a:pt x="583071" y="911199"/>
                  </a:lnTo>
                  <a:lnTo>
                    <a:pt x="586749" y="911199"/>
                  </a:lnTo>
                  <a:lnTo>
                    <a:pt x="586749" y="915511"/>
                  </a:lnTo>
                  <a:lnTo>
                    <a:pt x="585734" y="914750"/>
                  </a:lnTo>
                  <a:lnTo>
                    <a:pt x="589539" y="914750"/>
                  </a:lnTo>
                  <a:lnTo>
                    <a:pt x="589539" y="919062"/>
                  </a:lnTo>
                  <a:lnTo>
                    <a:pt x="588398" y="918301"/>
                  </a:lnTo>
                  <a:lnTo>
                    <a:pt x="592330" y="918301"/>
                  </a:lnTo>
                  <a:lnTo>
                    <a:pt x="592330" y="922614"/>
                  </a:lnTo>
                  <a:lnTo>
                    <a:pt x="591188" y="921853"/>
                  </a:lnTo>
                  <a:lnTo>
                    <a:pt x="593598" y="921853"/>
                  </a:lnTo>
                  <a:lnTo>
                    <a:pt x="593598" y="926292"/>
                  </a:lnTo>
                  <a:lnTo>
                    <a:pt x="592584" y="925531"/>
                  </a:lnTo>
                  <a:lnTo>
                    <a:pt x="594993" y="925531"/>
                  </a:lnTo>
                  <a:lnTo>
                    <a:pt x="594993" y="929844"/>
                  </a:lnTo>
                  <a:lnTo>
                    <a:pt x="593979" y="929083"/>
                  </a:lnTo>
                  <a:lnTo>
                    <a:pt x="597784" y="929083"/>
                  </a:lnTo>
                  <a:lnTo>
                    <a:pt x="597784" y="936947"/>
                  </a:lnTo>
                  <a:lnTo>
                    <a:pt x="596642" y="936185"/>
                  </a:lnTo>
                  <a:lnTo>
                    <a:pt x="600701" y="936185"/>
                  </a:lnTo>
                  <a:lnTo>
                    <a:pt x="604760" y="936185"/>
                  </a:lnTo>
                  <a:lnTo>
                    <a:pt x="607297" y="936185"/>
                  </a:lnTo>
                  <a:lnTo>
                    <a:pt x="607297" y="944176"/>
                  </a:lnTo>
                  <a:lnTo>
                    <a:pt x="606155" y="943288"/>
                  </a:lnTo>
                  <a:lnTo>
                    <a:pt x="608565" y="943288"/>
                  </a:lnTo>
                  <a:lnTo>
                    <a:pt x="608565" y="947728"/>
                  </a:lnTo>
                  <a:lnTo>
                    <a:pt x="607550" y="946967"/>
                  </a:lnTo>
                  <a:lnTo>
                    <a:pt x="611229" y="946967"/>
                  </a:lnTo>
                  <a:lnTo>
                    <a:pt x="611229" y="951279"/>
                  </a:lnTo>
                  <a:lnTo>
                    <a:pt x="610214" y="950518"/>
                  </a:lnTo>
                  <a:lnTo>
                    <a:pt x="611482" y="950518"/>
                  </a:lnTo>
                  <a:lnTo>
                    <a:pt x="614019" y="950518"/>
                  </a:lnTo>
                  <a:lnTo>
                    <a:pt x="614019" y="954831"/>
                  </a:lnTo>
                  <a:lnTo>
                    <a:pt x="612877" y="954070"/>
                  </a:lnTo>
                  <a:lnTo>
                    <a:pt x="616809" y="954070"/>
                  </a:lnTo>
                  <a:lnTo>
                    <a:pt x="616809" y="958509"/>
                  </a:lnTo>
                  <a:lnTo>
                    <a:pt x="615668" y="957748"/>
                  </a:lnTo>
                  <a:lnTo>
                    <a:pt x="618078" y="957748"/>
                  </a:lnTo>
                  <a:lnTo>
                    <a:pt x="618078" y="962060"/>
                  </a:lnTo>
                  <a:lnTo>
                    <a:pt x="617063" y="961299"/>
                  </a:lnTo>
                  <a:lnTo>
                    <a:pt x="618331" y="961299"/>
                  </a:lnTo>
                  <a:lnTo>
                    <a:pt x="620868" y="961299"/>
                  </a:lnTo>
                  <a:lnTo>
                    <a:pt x="620868" y="965739"/>
                  </a:lnTo>
                  <a:lnTo>
                    <a:pt x="619727" y="964978"/>
                  </a:lnTo>
                  <a:lnTo>
                    <a:pt x="624927" y="964978"/>
                  </a:lnTo>
                  <a:lnTo>
                    <a:pt x="624927" y="972968"/>
                  </a:lnTo>
                  <a:lnTo>
                    <a:pt x="623785" y="972080"/>
                  </a:lnTo>
                  <a:lnTo>
                    <a:pt x="630381" y="972080"/>
                  </a:lnTo>
                  <a:lnTo>
                    <a:pt x="630381" y="976520"/>
                  </a:lnTo>
                  <a:lnTo>
                    <a:pt x="629239" y="975759"/>
                  </a:lnTo>
                  <a:lnTo>
                    <a:pt x="635708" y="975759"/>
                  </a:lnTo>
                  <a:lnTo>
                    <a:pt x="635708" y="980198"/>
                  </a:lnTo>
                  <a:lnTo>
                    <a:pt x="634693" y="979437"/>
                  </a:lnTo>
                  <a:lnTo>
                    <a:pt x="638499" y="979437"/>
                  </a:lnTo>
                  <a:lnTo>
                    <a:pt x="638499" y="983876"/>
                  </a:lnTo>
                  <a:lnTo>
                    <a:pt x="637357" y="982988"/>
                  </a:lnTo>
                  <a:lnTo>
                    <a:pt x="645221" y="982988"/>
                  </a:lnTo>
                  <a:lnTo>
                    <a:pt x="645221" y="987428"/>
                  </a:lnTo>
                  <a:lnTo>
                    <a:pt x="644206" y="986667"/>
                  </a:lnTo>
                  <a:lnTo>
                    <a:pt x="645475" y="986667"/>
                  </a:lnTo>
                  <a:lnTo>
                    <a:pt x="649407" y="986667"/>
                  </a:lnTo>
                  <a:lnTo>
                    <a:pt x="649407" y="991106"/>
                  </a:lnTo>
                  <a:lnTo>
                    <a:pt x="648265" y="990345"/>
                  </a:lnTo>
                  <a:lnTo>
                    <a:pt x="651056" y="990345"/>
                  </a:lnTo>
                  <a:lnTo>
                    <a:pt x="653465" y="990345"/>
                  </a:lnTo>
                  <a:lnTo>
                    <a:pt x="653465" y="994784"/>
                  </a:lnTo>
                  <a:lnTo>
                    <a:pt x="652324" y="994023"/>
                  </a:lnTo>
                  <a:lnTo>
                    <a:pt x="654861" y="994023"/>
                  </a:lnTo>
                  <a:lnTo>
                    <a:pt x="654861" y="998463"/>
                  </a:lnTo>
                  <a:lnTo>
                    <a:pt x="653719" y="997701"/>
                  </a:lnTo>
                  <a:lnTo>
                    <a:pt x="659173" y="997701"/>
                  </a:lnTo>
                  <a:lnTo>
                    <a:pt x="665642" y="997701"/>
                  </a:lnTo>
                  <a:lnTo>
                    <a:pt x="665642" y="1002141"/>
                  </a:lnTo>
                  <a:lnTo>
                    <a:pt x="664627" y="1001380"/>
                  </a:lnTo>
                  <a:lnTo>
                    <a:pt x="673886" y="1001380"/>
                  </a:lnTo>
                  <a:lnTo>
                    <a:pt x="673886" y="1009497"/>
                  </a:lnTo>
                  <a:lnTo>
                    <a:pt x="672745" y="1008736"/>
                  </a:lnTo>
                  <a:lnTo>
                    <a:pt x="676803" y="1008736"/>
                  </a:lnTo>
                  <a:lnTo>
                    <a:pt x="679340" y="1008736"/>
                  </a:lnTo>
                  <a:lnTo>
                    <a:pt x="679340" y="1013176"/>
                  </a:lnTo>
                  <a:lnTo>
                    <a:pt x="678199" y="1012415"/>
                  </a:lnTo>
                  <a:lnTo>
                    <a:pt x="686063" y="1012415"/>
                  </a:lnTo>
                  <a:lnTo>
                    <a:pt x="686063" y="1020659"/>
                  </a:lnTo>
                  <a:lnTo>
                    <a:pt x="684921" y="1019898"/>
                  </a:lnTo>
                  <a:lnTo>
                    <a:pt x="688853" y="1019898"/>
                  </a:lnTo>
                  <a:lnTo>
                    <a:pt x="688853" y="1024337"/>
                  </a:lnTo>
                  <a:lnTo>
                    <a:pt x="687711" y="1023576"/>
                  </a:lnTo>
                  <a:lnTo>
                    <a:pt x="698239" y="1023576"/>
                  </a:lnTo>
                  <a:lnTo>
                    <a:pt x="698239" y="1028142"/>
                  </a:lnTo>
                  <a:lnTo>
                    <a:pt x="697224" y="1027381"/>
                  </a:lnTo>
                  <a:lnTo>
                    <a:pt x="698619" y="1027381"/>
                  </a:lnTo>
                  <a:lnTo>
                    <a:pt x="699888" y="1027381"/>
                  </a:lnTo>
                  <a:lnTo>
                    <a:pt x="702425" y="1027381"/>
                  </a:lnTo>
                  <a:lnTo>
                    <a:pt x="702425" y="1031821"/>
                  </a:lnTo>
                  <a:lnTo>
                    <a:pt x="701283" y="1031060"/>
                  </a:lnTo>
                  <a:lnTo>
                    <a:pt x="706483" y="1031060"/>
                  </a:lnTo>
                  <a:lnTo>
                    <a:pt x="706483" y="1035626"/>
                  </a:lnTo>
                  <a:lnTo>
                    <a:pt x="705342" y="1034865"/>
                  </a:lnTo>
                  <a:lnTo>
                    <a:pt x="708132" y="1034865"/>
                  </a:lnTo>
                  <a:lnTo>
                    <a:pt x="711937" y="1034865"/>
                  </a:lnTo>
                  <a:lnTo>
                    <a:pt x="711937" y="1039431"/>
                  </a:lnTo>
                  <a:lnTo>
                    <a:pt x="710796" y="1038670"/>
                  </a:lnTo>
                  <a:lnTo>
                    <a:pt x="714601" y="1038670"/>
                  </a:lnTo>
                  <a:lnTo>
                    <a:pt x="714601" y="1043109"/>
                  </a:lnTo>
                  <a:lnTo>
                    <a:pt x="713586" y="1042348"/>
                  </a:lnTo>
                  <a:lnTo>
                    <a:pt x="718660" y="1042348"/>
                  </a:lnTo>
                  <a:lnTo>
                    <a:pt x="718660" y="1046914"/>
                  </a:lnTo>
                  <a:lnTo>
                    <a:pt x="717518" y="1046153"/>
                  </a:lnTo>
                  <a:lnTo>
                    <a:pt x="721450" y="1046153"/>
                  </a:lnTo>
                  <a:lnTo>
                    <a:pt x="721450" y="1058330"/>
                  </a:lnTo>
                  <a:lnTo>
                    <a:pt x="720309" y="1057569"/>
                  </a:lnTo>
                  <a:lnTo>
                    <a:pt x="725509" y="1057569"/>
                  </a:lnTo>
                  <a:lnTo>
                    <a:pt x="725509" y="1062135"/>
                  </a:lnTo>
                  <a:lnTo>
                    <a:pt x="724367" y="1061374"/>
                  </a:lnTo>
                  <a:lnTo>
                    <a:pt x="728173" y="1061374"/>
                  </a:lnTo>
                  <a:lnTo>
                    <a:pt x="728173" y="1065940"/>
                  </a:lnTo>
                  <a:lnTo>
                    <a:pt x="727031" y="1065179"/>
                  </a:lnTo>
                  <a:lnTo>
                    <a:pt x="728426" y="1065179"/>
                  </a:lnTo>
                  <a:lnTo>
                    <a:pt x="732231" y="1065179"/>
                  </a:lnTo>
                  <a:lnTo>
                    <a:pt x="732231" y="1069618"/>
                  </a:lnTo>
                  <a:lnTo>
                    <a:pt x="731217" y="1068857"/>
                  </a:lnTo>
                  <a:lnTo>
                    <a:pt x="735022" y="1068857"/>
                  </a:lnTo>
                  <a:lnTo>
                    <a:pt x="735022" y="1073423"/>
                  </a:lnTo>
                  <a:lnTo>
                    <a:pt x="733880" y="1072662"/>
                  </a:lnTo>
                  <a:lnTo>
                    <a:pt x="737939" y="1072662"/>
                  </a:lnTo>
                  <a:lnTo>
                    <a:pt x="741998" y="1072662"/>
                  </a:lnTo>
                  <a:lnTo>
                    <a:pt x="743393" y="1072662"/>
                  </a:lnTo>
                  <a:lnTo>
                    <a:pt x="746183" y="1072662"/>
                  </a:lnTo>
                  <a:lnTo>
                    <a:pt x="748593" y="1072662"/>
                  </a:lnTo>
                  <a:lnTo>
                    <a:pt x="748593" y="1077355"/>
                  </a:lnTo>
                  <a:lnTo>
                    <a:pt x="747579" y="1076594"/>
                  </a:lnTo>
                  <a:lnTo>
                    <a:pt x="760896" y="1076594"/>
                  </a:lnTo>
                  <a:lnTo>
                    <a:pt x="760896" y="1081160"/>
                  </a:lnTo>
                  <a:lnTo>
                    <a:pt x="759755" y="1080399"/>
                  </a:lnTo>
                  <a:lnTo>
                    <a:pt x="764829" y="1080399"/>
                  </a:lnTo>
                  <a:lnTo>
                    <a:pt x="764829" y="1085092"/>
                  </a:lnTo>
                  <a:lnTo>
                    <a:pt x="763814" y="1084331"/>
                  </a:lnTo>
                  <a:lnTo>
                    <a:pt x="769014" y="1084331"/>
                  </a:lnTo>
                  <a:lnTo>
                    <a:pt x="769014" y="1088897"/>
                  </a:lnTo>
                  <a:lnTo>
                    <a:pt x="767873" y="1088137"/>
                  </a:lnTo>
                  <a:lnTo>
                    <a:pt x="770663" y="1088137"/>
                  </a:lnTo>
                  <a:lnTo>
                    <a:pt x="772058" y="1088137"/>
                  </a:lnTo>
                  <a:lnTo>
                    <a:pt x="773327" y="1088137"/>
                  </a:lnTo>
                  <a:lnTo>
                    <a:pt x="775737" y="1088137"/>
                  </a:lnTo>
                  <a:lnTo>
                    <a:pt x="775737" y="1092829"/>
                  </a:lnTo>
                  <a:lnTo>
                    <a:pt x="774595" y="1092068"/>
                  </a:lnTo>
                  <a:lnTo>
                    <a:pt x="777385" y="1092068"/>
                  </a:lnTo>
                  <a:lnTo>
                    <a:pt x="782839" y="1092068"/>
                  </a:lnTo>
                  <a:lnTo>
                    <a:pt x="788040" y="1092068"/>
                  </a:lnTo>
                  <a:lnTo>
                    <a:pt x="788040" y="1096761"/>
                  </a:lnTo>
                  <a:lnTo>
                    <a:pt x="786898" y="1096000"/>
                  </a:lnTo>
                  <a:lnTo>
                    <a:pt x="792099" y="1096000"/>
                  </a:lnTo>
                  <a:lnTo>
                    <a:pt x="792099" y="1100693"/>
                  </a:lnTo>
                  <a:lnTo>
                    <a:pt x="790957" y="1099932"/>
                  </a:lnTo>
                  <a:lnTo>
                    <a:pt x="793494" y="1099932"/>
                  </a:lnTo>
                  <a:lnTo>
                    <a:pt x="793494" y="1104625"/>
                  </a:lnTo>
                  <a:lnTo>
                    <a:pt x="792352" y="1103864"/>
                  </a:lnTo>
                  <a:lnTo>
                    <a:pt x="794889" y="1103864"/>
                  </a:lnTo>
                  <a:lnTo>
                    <a:pt x="794889" y="1108557"/>
                  </a:lnTo>
                  <a:lnTo>
                    <a:pt x="793747" y="1107796"/>
                  </a:lnTo>
                  <a:lnTo>
                    <a:pt x="797426" y="1107796"/>
                  </a:lnTo>
                  <a:lnTo>
                    <a:pt x="797426" y="1112616"/>
                  </a:lnTo>
                  <a:lnTo>
                    <a:pt x="796411" y="1111728"/>
                  </a:lnTo>
                  <a:lnTo>
                    <a:pt x="800216" y="1111728"/>
                  </a:lnTo>
                  <a:lnTo>
                    <a:pt x="800216" y="1116548"/>
                  </a:lnTo>
                  <a:lnTo>
                    <a:pt x="799075" y="1115787"/>
                  </a:lnTo>
                  <a:lnTo>
                    <a:pt x="801865" y="1115787"/>
                  </a:lnTo>
                  <a:lnTo>
                    <a:pt x="804275" y="1115787"/>
                  </a:lnTo>
                  <a:lnTo>
                    <a:pt x="804275" y="1120480"/>
                  </a:lnTo>
                  <a:lnTo>
                    <a:pt x="803260" y="1119719"/>
                  </a:lnTo>
                  <a:lnTo>
                    <a:pt x="807319" y="1119719"/>
                  </a:lnTo>
                  <a:lnTo>
                    <a:pt x="809983" y="1119719"/>
                  </a:lnTo>
                  <a:lnTo>
                    <a:pt x="814041" y="1119719"/>
                  </a:lnTo>
                  <a:lnTo>
                    <a:pt x="816578" y="1119719"/>
                  </a:lnTo>
                  <a:lnTo>
                    <a:pt x="816578" y="1124412"/>
                  </a:lnTo>
                  <a:lnTo>
                    <a:pt x="815437" y="1123651"/>
                  </a:lnTo>
                  <a:lnTo>
                    <a:pt x="817973" y="1123651"/>
                  </a:lnTo>
                  <a:lnTo>
                    <a:pt x="817973" y="1132530"/>
                  </a:lnTo>
                  <a:lnTo>
                    <a:pt x="816832" y="1131768"/>
                  </a:lnTo>
                  <a:lnTo>
                    <a:pt x="819495" y="1131768"/>
                  </a:lnTo>
                  <a:lnTo>
                    <a:pt x="820891" y="1131768"/>
                  </a:lnTo>
                  <a:lnTo>
                    <a:pt x="830403" y="1131768"/>
                  </a:lnTo>
                  <a:lnTo>
                    <a:pt x="846385" y="1131768"/>
                  </a:lnTo>
                  <a:lnTo>
                    <a:pt x="846385" y="1140647"/>
                  </a:lnTo>
                  <a:lnTo>
                    <a:pt x="845370" y="1139886"/>
                  </a:lnTo>
                  <a:lnTo>
                    <a:pt x="847780" y="1139886"/>
                  </a:lnTo>
                  <a:lnTo>
                    <a:pt x="847780" y="1144833"/>
                  </a:lnTo>
                  <a:lnTo>
                    <a:pt x="846765" y="1144072"/>
                  </a:lnTo>
                  <a:lnTo>
                    <a:pt x="857293" y="1144072"/>
                  </a:lnTo>
                  <a:lnTo>
                    <a:pt x="857293" y="1148892"/>
                  </a:lnTo>
                  <a:lnTo>
                    <a:pt x="856151" y="1148130"/>
                  </a:lnTo>
                  <a:lnTo>
                    <a:pt x="861352" y="1148130"/>
                  </a:lnTo>
                  <a:lnTo>
                    <a:pt x="861352" y="1152950"/>
                  </a:lnTo>
                  <a:lnTo>
                    <a:pt x="860337" y="1152189"/>
                  </a:lnTo>
                  <a:lnTo>
                    <a:pt x="864396" y="1152189"/>
                  </a:lnTo>
                  <a:lnTo>
                    <a:pt x="870864" y="1152189"/>
                  </a:lnTo>
                  <a:lnTo>
                    <a:pt x="870864" y="1157009"/>
                  </a:lnTo>
                  <a:lnTo>
                    <a:pt x="869850" y="1156248"/>
                  </a:lnTo>
                  <a:lnTo>
                    <a:pt x="872260" y="1156248"/>
                  </a:lnTo>
                  <a:lnTo>
                    <a:pt x="872260" y="1161195"/>
                  </a:lnTo>
                  <a:lnTo>
                    <a:pt x="871118" y="1160434"/>
                  </a:lnTo>
                  <a:lnTo>
                    <a:pt x="873655" y="1160434"/>
                  </a:lnTo>
                  <a:lnTo>
                    <a:pt x="873655" y="1165380"/>
                  </a:lnTo>
                  <a:lnTo>
                    <a:pt x="872513" y="1164492"/>
                  </a:lnTo>
                  <a:lnTo>
                    <a:pt x="877714" y="1164492"/>
                  </a:lnTo>
                  <a:lnTo>
                    <a:pt x="877714" y="1169439"/>
                  </a:lnTo>
                  <a:lnTo>
                    <a:pt x="876699" y="1168678"/>
                  </a:lnTo>
                  <a:lnTo>
                    <a:pt x="878982" y="1168678"/>
                  </a:lnTo>
                  <a:lnTo>
                    <a:pt x="878982" y="1173625"/>
                  </a:lnTo>
                  <a:lnTo>
                    <a:pt x="877967" y="1172864"/>
                  </a:lnTo>
                  <a:lnTo>
                    <a:pt x="895344" y="1172864"/>
                  </a:lnTo>
                  <a:lnTo>
                    <a:pt x="895344" y="1181996"/>
                  </a:lnTo>
                  <a:lnTo>
                    <a:pt x="894329" y="1181108"/>
                  </a:lnTo>
                  <a:lnTo>
                    <a:pt x="900798" y="1181108"/>
                  </a:lnTo>
                  <a:lnTo>
                    <a:pt x="900798" y="1186055"/>
                  </a:lnTo>
                  <a:lnTo>
                    <a:pt x="899783" y="1185294"/>
                  </a:lnTo>
                  <a:lnTo>
                    <a:pt x="919824" y="1185294"/>
                  </a:lnTo>
                  <a:lnTo>
                    <a:pt x="919824" y="1190240"/>
                  </a:lnTo>
                  <a:lnTo>
                    <a:pt x="918809" y="1189479"/>
                  </a:lnTo>
                  <a:lnTo>
                    <a:pt x="925531" y="1189479"/>
                  </a:lnTo>
                  <a:lnTo>
                    <a:pt x="938849" y="1189479"/>
                  </a:lnTo>
                  <a:lnTo>
                    <a:pt x="938849" y="1194426"/>
                  </a:lnTo>
                  <a:lnTo>
                    <a:pt x="937708" y="1193665"/>
                  </a:lnTo>
                  <a:lnTo>
                    <a:pt x="941893" y="1193665"/>
                  </a:lnTo>
                  <a:lnTo>
                    <a:pt x="947347" y="1193665"/>
                  </a:lnTo>
                  <a:lnTo>
                    <a:pt x="948616" y="1193665"/>
                  </a:lnTo>
                  <a:lnTo>
                    <a:pt x="957875" y="1193665"/>
                  </a:lnTo>
                  <a:lnTo>
                    <a:pt x="957875" y="1198739"/>
                  </a:lnTo>
                  <a:lnTo>
                    <a:pt x="956860" y="1197977"/>
                  </a:lnTo>
                  <a:lnTo>
                    <a:pt x="958255" y="1197977"/>
                  </a:lnTo>
                  <a:lnTo>
                    <a:pt x="969036" y="1197977"/>
                  </a:lnTo>
                  <a:lnTo>
                    <a:pt x="974490" y="1197977"/>
                  </a:lnTo>
                  <a:lnTo>
                    <a:pt x="997321" y="1197977"/>
                  </a:lnTo>
                  <a:lnTo>
                    <a:pt x="997321" y="1203051"/>
                  </a:lnTo>
                  <a:lnTo>
                    <a:pt x="996180" y="1202290"/>
                  </a:lnTo>
                  <a:lnTo>
                    <a:pt x="999985" y="1202290"/>
                  </a:lnTo>
                  <a:lnTo>
                    <a:pt x="999985" y="1207364"/>
                  </a:lnTo>
                  <a:lnTo>
                    <a:pt x="998970" y="1206602"/>
                  </a:lnTo>
                  <a:lnTo>
                    <a:pt x="1001380" y="1206602"/>
                  </a:lnTo>
                  <a:lnTo>
                    <a:pt x="1001380" y="1211676"/>
                  </a:lnTo>
                  <a:lnTo>
                    <a:pt x="1000365" y="1210915"/>
                  </a:lnTo>
                  <a:lnTo>
                    <a:pt x="1003029" y="1210915"/>
                  </a:lnTo>
                  <a:lnTo>
                    <a:pt x="1005819" y="1210915"/>
                  </a:lnTo>
                  <a:lnTo>
                    <a:pt x="1011146" y="1210915"/>
                  </a:lnTo>
                  <a:lnTo>
                    <a:pt x="1014952" y="1210915"/>
                  </a:lnTo>
                  <a:lnTo>
                    <a:pt x="1014952" y="1220681"/>
                  </a:lnTo>
                  <a:lnTo>
                    <a:pt x="1013937" y="1219920"/>
                  </a:lnTo>
                  <a:lnTo>
                    <a:pt x="1016347" y="1219920"/>
                  </a:lnTo>
                  <a:lnTo>
                    <a:pt x="1016347" y="1224994"/>
                  </a:lnTo>
                  <a:lnTo>
                    <a:pt x="1015332" y="1224233"/>
                  </a:lnTo>
                  <a:lnTo>
                    <a:pt x="1027255" y="1224233"/>
                  </a:lnTo>
                  <a:lnTo>
                    <a:pt x="1027255" y="1229560"/>
                  </a:lnTo>
                  <a:lnTo>
                    <a:pt x="1026113" y="1228799"/>
                  </a:lnTo>
                  <a:lnTo>
                    <a:pt x="1037021" y="1228799"/>
                  </a:lnTo>
                  <a:lnTo>
                    <a:pt x="1039431" y="1228799"/>
                  </a:lnTo>
                  <a:lnTo>
                    <a:pt x="1039431" y="1234126"/>
                  </a:lnTo>
                  <a:lnTo>
                    <a:pt x="1038416" y="1233365"/>
                  </a:lnTo>
                  <a:lnTo>
                    <a:pt x="1040826" y="1233365"/>
                  </a:lnTo>
                  <a:lnTo>
                    <a:pt x="1040826" y="1238565"/>
                  </a:lnTo>
                  <a:lnTo>
                    <a:pt x="1039812" y="1237804"/>
                  </a:lnTo>
                  <a:lnTo>
                    <a:pt x="1053129" y="1237804"/>
                  </a:lnTo>
                  <a:lnTo>
                    <a:pt x="1053129" y="1243132"/>
                  </a:lnTo>
                  <a:lnTo>
                    <a:pt x="1051988" y="1242371"/>
                  </a:lnTo>
                  <a:lnTo>
                    <a:pt x="1064291" y="1242371"/>
                  </a:lnTo>
                  <a:lnTo>
                    <a:pt x="1067970" y="1242371"/>
                  </a:lnTo>
                  <a:lnTo>
                    <a:pt x="1067970" y="1247571"/>
                  </a:lnTo>
                  <a:lnTo>
                    <a:pt x="1066828" y="1246810"/>
                  </a:lnTo>
                  <a:lnTo>
                    <a:pt x="1073424" y="1246810"/>
                  </a:lnTo>
                  <a:lnTo>
                    <a:pt x="1073424" y="1252137"/>
                  </a:lnTo>
                  <a:lnTo>
                    <a:pt x="1072409" y="1251376"/>
                  </a:lnTo>
                  <a:lnTo>
                    <a:pt x="1077609" y="1251376"/>
                  </a:lnTo>
                  <a:lnTo>
                    <a:pt x="1077609" y="1256703"/>
                  </a:lnTo>
                  <a:lnTo>
                    <a:pt x="1076468" y="1255942"/>
                  </a:lnTo>
                  <a:lnTo>
                    <a:pt x="1083190" y="1255942"/>
                  </a:lnTo>
                  <a:lnTo>
                    <a:pt x="1088390" y="1255942"/>
                  </a:lnTo>
                  <a:lnTo>
                    <a:pt x="1088390" y="1261269"/>
                  </a:lnTo>
                  <a:lnTo>
                    <a:pt x="1087376" y="1260508"/>
                  </a:lnTo>
                  <a:lnTo>
                    <a:pt x="1099552" y="1260508"/>
                  </a:lnTo>
                  <a:lnTo>
                    <a:pt x="1106021" y="1260508"/>
                  </a:lnTo>
                  <a:lnTo>
                    <a:pt x="1106021" y="1265835"/>
                  </a:lnTo>
                  <a:lnTo>
                    <a:pt x="1105006" y="1265074"/>
                  </a:lnTo>
                  <a:lnTo>
                    <a:pt x="1106274" y="1265074"/>
                  </a:lnTo>
                  <a:lnTo>
                    <a:pt x="1114138" y="1265074"/>
                  </a:lnTo>
                  <a:lnTo>
                    <a:pt x="1114138" y="1270528"/>
                  </a:lnTo>
                  <a:lnTo>
                    <a:pt x="1113124" y="1269641"/>
                  </a:lnTo>
                  <a:lnTo>
                    <a:pt x="1115533" y="1269641"/>
                  </a:lnTo>
                  <a:lnTo>
                    <a:pt x="1115533" y="1279661"/>
                  </a:lnTo>
                  <a:lnTo>
                    <a:pt x="1114519" y="1278900"/>
                  </a:lnTo>
                  <a:lnTo>
                    <a:pt x="1115787" y="1278900"/>
                  </a:lnTo>
                  <a:lnTo>
                    <a:pt x="1119973" y="1278900"/>
                  </a:lnTo>
                  <a:lnTo>
                    <a:pt x="1126441" y="1278900"/>
                  </a:lnTo>
                  <a:lnTo>
                    <a:pt x="1126441" y="1284354"/>
                  </a:lnTo>
                  <a:lnTo>
                    <a:pt x="1125300" y="1283593"/>
                  </a:lnTo>
                  <a:lnTo>
                    <a:pt x="1129232" y="1283593"/>
                  </a:lnTo>
                  <a:lnTo>
                    <a:pt x="1129232" y="1289047"/>
                  </a:lnTo>
                  <a:lnTo>
                    <a:pt x="1128090" y="1288286"/>
                  </a:lnTo>
                  <a:lnTo>
                    <a:pt x="1140013" y="1288286"/>
                  </a:lnTo>
                  <a:lnTo>
                    <a:pt x="1140013" y="1298433"/>
                  </a:lnTo>
                  <a:lnTo>
                    <a:pt x="1138998" y="1297672"/>
                  </a:lnTo>
                  <a:lnTo>
                    <a:pt x="1145848" y="1297672"/>
                  </a:lnTo>
                  <a:lnTo>
                    <a:pt x="1156629" y="1297672"/>
                  </a:lnTo>
                  <a:lnTo>
                    <a:pt x="1159292" y="1297672"/>
                  </a:lnTo>
                  <a:lnTo>
                    <a:pt x="1169947" y="1297672"/>
                  </a:lnTo>
                  <a:lnTo>
                    <a:pt x="1169947" y="1307945"/>
                  </a:lnTo>
                  <a:lnTo>
                    <a:pt x="1168932" y="1307184"/>
                  </a:lnTo>
                  <a:lnTo>
                    <a:pt x="1177050" y="1307184"/>
                  </a:lnTo>
                  <a:lnTo>
                    <a:pt x="1180855" y="1307184"/>
                  </a:lnTo>
                  <a:lnTo>
                    <a:pt x="1180855" y="1312765"/>
                  </a:lnTo>
                  <a:lnTo>
                    <a:pt x="1179713" y="1312004"/>
                  </a:lnTo>
                  <a:lnTo>
                    <a:pt x="1185167" y="1312004"/>
                  </a:lnTo>
                  <a:lnTo>
                    <a:pt x="1198739" y="1312004"/>
                  </a:lnTo>
                  <a:lnTo>
                    <a:pt x="1214847" y="1312004"/>
                  </a:lnTo>
                  <a:lnTo>
                    <a:pt x="1214847" y="1317712"/>
                  </a:lnTo>
                  <a:lnTo>
                    <a:pt x="1213705" y="1316824"/>
                  </a:lnTo>
                  <a:lnTo>
                    <a:pt x="1217764" y="1316824"/>
                  </a:lnTo>
                  <a:lnTo>
                    <a:pt x="1226009" y="1316824"/>
                  </a:lnTo>
                  <a:lnTo>
                    <a:pt x="1229687" y="1316824"/>
                  </a:lnTo>
                  <a:lnTo>
                    <a:pt x="1229687" y="1322658"/>
                  </a:lnTo>
                  <a:lnTo>
                    <a:pt x="1228672" y="1321897"/>
                  </a:lnTo>
                  <a:lnTo>
                    <a:pt x="1252898" y="1321897"/>
                  </a:lnTo>
                  <a:lnTo>
                    <a:pt x="1252898" y="1327605"/>
                  </a:lnTo>
                  <a:lnTo>
                    <a:pt x="1251757" y="1326844"/>
                  </a:lnTo>
                  <a:lnTo>
                    <a:pt x="1257211" y="1326844"/>
                  </a:lnTo>
                  <a:lnTo>
                    <a:pt x="1265074" y="1326844"/>
                  </a:lnTo>
                  <a:lnTo>
                    <a:pt x="1265074" y="1332679"/>
                  </a:lnTo>
                  <a:lnTo>
                    <a:pt x="1263933" y="1331791"/>
                  </a:lnTo>
                  <a:lnTo>
                    <a:pt x="1268119" y="1331791"/>
                  </a:lnTo>
                  <a:lnTo>
                    <a:pt x="1273573" y="1331791"/>
                  </a:lnTo>
                  <a:lnTo>
                    <a:pt x="1274968" y="1331791"/>
                  </a:lnTo>
                  <a:lnTo>
                    <a:pt x="1283085" y="1331791"/>
                  </a:lnTo>
                  <a:lnTo>
                    <a:pt x="1292218" y="1331791"/>
                  </a:lnTo>
                  <a:lnTo>
                    <a:pt x="1292218" y="1337752"/>
                  </a:lnTo>
                  <a:lnTo>
                    <a:pt x="1291203" y="1336991"/>
                  </a:lnTo>
                  <a:lnTo>
                    <a:pt x="1295262" y="1336991"/>
                  </a:lnTo>
                  <a:lnTo>
                    <a:pt x="1303379" y="1336991"/>
                  </a:lnTo>
                  <a:lnTo>
                    <a:pt x="1304775" y="1336991"/>
                  </a:lnTo>
                  <a:lnTo>
                    <a:pt x="1306170" y="1336991"/>
                  </a:lnTo>
                  <a:lnTo>
                    <a:pt x="1308833" y="1336991"/>
                  </a:lnTo>
                  <a:lnTo>
                    <a:pt x="1314287" y="1336991"/>
                  </a:lnTo>
                  <a:lnTo>
                    <a:pt x="1315683" y="1336991"/>
                  </a:lnTo>
                  <a:lnTo>
                    <a:pt x="1321137" y="1336991"/>
                  </a:lnTo>
                  <a:lnTo>
                    <a:pt x="1322405" y="1336991"/>
                  </a:lnTo>
                  <a:lnTo>
                    <a:pt x="1333313" y="1336991"/>
                  </a:lnTo>
                  <a:lnTo>
                    <a:pt x="1349675" y="1336991"/>
                  </a:lnTo>
                  <a:lnTo>
                    <a:pt x="1355129" y="1336991"/>
                  </a:lnTo>
                  <a:lnTo>
                    <a:pt x="1367052" y="1336991"/>
                  </a:lnTo>
                  <a:lnTo>
                    <a:pt x="1367052" y="1343460"/>
                  </a:lnTo>
                  <a:lnTo>
                    <a:pt x="1365910" y="1342699"/>
                  </a:lnTo>
                  <a:lnTo>
                    <a:pt x="1375169" y="1342699"/>
                  </a:lnTo>
                  <a:lnTo>
                    <a:pt x="1375169" y="1349041"/>
                  </a:lnTo>
                  <a:lnTo>
                    <a:pt x="1374155" y="1348280"/>
                  </a:lnTo>
                  <a:lnTo>
                    <a:pt x="1420070" y="1348280"/>
                  </a:lnTo>
                  <a:lnTo>
                    <a:pt x="1420070" y="1354748"/>
                  </a:lnTo>
                  <a:lnTo>
                    <a:pt x="1418928" y="1353987"/>
                  </a:lnTo>
                  <a:lnTo>
                    <a:pt x="1454062" y="1353987"/>
                  </a:lnTo>
                  <a:lnTo>
                    <a:pt x="1454062" y="1360329"/>
                  </a:lnTo>
                  <a:lnTo>
                    <a:pt x="1452920" y="1359568"/>
                  </a:lnTo>
                  <a:lnTo>
                    <a:pt x="1462180" y="1359568"/>
                  </a:lnTo>
                  <a:lnTo>
                    <a:pt x="1462180" y="1366037"/>
                  </a:lnTo>
                  <a:lnTo>
                    <a:pt x="1461165" y="1365276"/>
                  </a:lnTo>
                  <a:lnTo>
                    <a:pt x="1469282" y="1365276"/>
                  </a:lnTo>
                  <a:lnTo>
                    <a:pt x="1479810" y="1365276"/>
                  </a:lnTo>
                  <a:lnTo>
                    <a:pt x="1479810" y="1371745"/>
                  </a:lnTo>
                  <a:lnTo>
                    <a:pt x="1478795" y="1370983"/>
                  </a:lnTo>
                  <a:lnTo>
                    <a:pt x="1493508" y="1370983"/>
                  </a:lnTo>
                  <a:lnTo>
                    <a:pt x="1493508" y="1377452"/>
                  </a:lnTo>
                  <a:lnTo>
                    <a:pt x="1492367" y="1376691"/>
                  </a:lnTo>
                  <a:lnTo>
                    <a:pt x="1509997" y="1376691"/>
                  </a:lnTo>
                  <a:lnTo>
                    <a:pt x="1545131" y="1376691"/>
                  </a:lnTo>
                  <a:lnTo>
                    <a:pt x="1545131" y="1383287"/>
                  </a:lnTo>
                  <a:lnTo>
                    <a:pt x="1544116" y="1382526"/>
                  </a:lnTo>
                  <a:lnTo>
                    <a:pt x="1562762" y="1382526"/>
                  </a:lnTo>
                  <a:lnTo>
                    <a:pt x="1562762" y="1388994"/>
                  </a:lnTo>
                  <a:lnTo>
                    <a:pt x="1561620" y="1388233"/>
                  </a:lnTo>
                  <a:lnTo>
                    <a:pt x="1564410" y="1388233"/>
                  </a:lnTo>
                  <a:lnTo>
                    <a:pt x="1577728" y="1388233"/>
                  </a:lnTo>
                  <a:lnTo>
                    <a:pt x="1577728" y="1394956"/>
                  </a:lnTo>
                  <a:lnTo>
                    <a:pt x="1576714" y="1394195"/>
                  </a:lnTo>
                  <a:lnTo>
                    <a:pt x="1580645" y="1394195"/>
                  </a:lnTo>
                  <a:lnTo>
                    <a:pt x="1592949" y="1394195"/>
                  </a:lnTo>
                  <a:lnTo>
                    <a:pt x="1595612" y="1394195"/>
                  </a:lnTo>
                  <a:lnTo>
                    <a:pt x="1604871" y="1394195"/>
                  </a:lnTo>
                  <a:lnTo>
                    <a:pt x="1604871" y="1401044"/>
                  </a:lnTo>
                  <a:lnTo>
                    <a:pt x="1603730" y="1400156"/>
                  </a:lnTo>
                  <a:lnTo>
                    <a:pt x="1607662" y="1400156"/>
                  </a:lnTo>
                  <a:lnTo>
                    <a:pt x="1607662" y="1407132"/>
                  </a:lnTo>
                  <a:lnTo>
                    <a:pt x="1606520" y="1406371"/>
                  </a:lnTo>
                  <a:lnTo>
                    <a:pt x="1620092" y="1406371"/>
                  </a:lnTo>
                  <a:lnTo>
                    <a:pt x="1625546" y="1406371"/>
                  </a:lnTo>
                  <a:lnTo>
                    <a:pt x="1633790" y="1406371"/>
                  </a:lnTo>
                  <a:lnTo>
                    <a:pt x="1636454" y="1406371"/>
                  </a:lnTo>
                  <a:lnTo>
                    <a:pt x="1640259" y="1406371"/>
                  </a:lnTo>
                  <a:lnTo>
                    <a:pt x="1640259" y="1413474"/>
                  </a:lnTo>
                  <a:lnTo>
                    <a:pt x="1639117" y="1412713"/>
                  </a:lnTo>
                  <a:lnTo>
                    <a:pt x="1641908" y="1412713"/>
                  </a:lnTo>
                  <a:lnTo>
                    <a:pt x="1647362" y="1412713"/>
                  </a:lnTo>
                  <a:lnTo>
                    <a:pt x="1663343" y="1412713"/>
                  </a:lnTo>
                  <a:lnTo>
                    <a:pt x="1663343" y="1419943"/>
                  </a:lnTo>
                  <a:lnTo>
                    <a:pt x="1662202" y="1419055"/>
                  </a:lnTo>
                  <a:lnTo>
                    <a:pt x="1670193" y="1419055"/>
                  </a:lnTo>
                  <a:lnTo>
                    <a:pt x="1670193" y="1432880"/>
                  </a:lnTo>
                  <a:lnTo>
                    <a:pt x="1669051" y="1432119"/>
                  </a:lnTo>
                  <a:lnTo>
                    <a:pt x="1679959" y="1432119"/>
                  </a:lnTo>
                  <a:lnTo>
                    <a:pt x="1694926" y="1432119"/>
                  </a:lnTo>
                  <a:lnTo>
                    <a:pt x="1703043" y="1432119"/>
                  </a:lnTo>
                  <a:lnTo>
                    <a:pt x="1705834" y="1432119"/>
                  </a:lnTo>
                  <a:lnTo>
                    <a:pt x="1712303" y="1432119"/>
                  </a:lnTo>
                  <a:lnTo>
                    <a:pt x="1712303" y="1439602"/>
                  </a:lnTo>
                  <a:lnTo>
                    <a:pt x="1711161" y="1438841"/>
                  </a:lnTo>
                  <a:lnTo>
                    <a:pt x="1718010" y="1438841"/>
                  </a:lnTo>
                  <a:lnTo>
                    <a:pt x="1723464" y="1438841"/>
                  </a:lnTo>
                  <a:lnTo>
                    <a:pt x="1725874" y="1438841"/>
                  </a:lnTo>
                  <a:lnTo>
                    <a:pt x="1725874" y="1446578"/>
                  </a:lnTo>
                  <a:lnTo>
                    <a:pt x="1724733" y="1445691"/>
                  </a:lnTo>
                  <a:lnTo>
                    <a:pt x="1731582" y="1445691"/>
                  </a:lnTo>
                  <a:lnTo>
                    <a:pt x="1738431" y="1445691"/>
                  </a:lnTo>
                  <a:lnTo>
                    <a:pt x="1762657" y="1445691"/>
                  </a:lnTo>
                  <a:lnTo>
                    <a:pt x="1762657" y="1453554"/>
                  </a:lnTo>
                  <a:lnTo>
                    <a:pt x="1761515" y="1452793"/>
                  </a:lnTo>
                  <a:lnTo>
                    <a:pt x="1779146" y="1452793"/>
                  </a:lnTo>
                  <a:lnTo>
                    <a:pt x="1796903" y="1452793"/>
                  </a:lnTo>
                  <a:lnTo>
                    <a:pt x="1819987" y="1452793"/>
                  </a:lnTo>
                  <a:lnTo>
                    <a:pt x="1825315" y="1452793"/>
                  </a:lnTo>
                  <a:lnTo>
                    <a:pt x="1837364" y="1452793"/>
                  </a:lnTo>
                  <a:lnTo>
                    <a:pt x="1837364" y="1460911"/>
                  </a:lnTo>
                  <a:lnTo>
                    <a:pt x="1836349" y="1460150"/>
                  </a:lnTo>
                  <a:lnTo>
                    <a:pt x="1838886" y="1460150"/>
                  </a:lnTo>
                  <a:lnTo>
                    <a:pt x="1841423" y="1460150"/>
                  </a:lnTo>
                  <a:lnTo>
                    <a:pt x="1841423" y="1468394"/>
                  </a:lnTo>
                  <a:lnTo>
                    <a:pt x="1840281" y="1467633"/>
                  </a:lnTo>
                  <a:lnTo>
                    <a:pt x="1856643" y="1467633"/>
                  </a:lnTo>
                  <a:lnTo>
                    <a:pt x="1859180" y="1467633"/>
                  </a:lnTo>
                  <a:lnTo>
                    <a:pt x="1859180" y="1476005"/>
                  </a:lnTo>
                  <a:lnTo>
                    <a:pt x="1858039" y="1475244"/>
                  </a:lnTo>
                  <a:lnTo>
                    <a:pt x="1860702" y="1475244"/>
                  </a:lnTo>
                  <a:lnTo>
                    <a:pt x="1864761" y="1475244"/>
                  </a:lnTo>
                  <a:lnTo>
                    <a:pt x="1874020" y="1475244"/>
                  </a:lnTo>
                  <a:lnTo>
                    <a:pt x="1874020" y="1483742"/>
                  </a:lnTo>
                  <a:lnTo>
                    <a:pt x="1872879" y="1482981"/>
                  </a:lnTo>
                  <a:lnTo>
                    <a:pt x="1880869" y="1482981"/>
                  </a:lnTo>
                  <a:lnTo>
                    <a:pt x="1880869" y="1491606"/>
                  </a:lnTo>
                  <a:lnTo>
                    <a:pt x="1879728" y="1490845"/>
                  </a:lnTo>
                  <a:lnTo>
                    <a:pt x="1882518" y="1490845"/>
                  </a:lnTo>
                  <a:lnTo>
                    <a:pt x="1883787" y="1490845"/>
                  </a:lnTo>
                  <a:lnTo>
                    <a:pt x="1893426" y="1490845"/>
                  </a:lnTo>
                  <a:lnTo>
                    <a:pt x="1903954" y="1490845"/>
                  </a:lnTo>
                  <a:lnTo>
                    <a:pt x="1903954" y="1499850"/>
                  </a:lnTo>
                  <a:lnTo>
                    <a:pt x="1902812" y="1499089"/>
                  </a:lnTo>
                  <a:lnTo>
                    <a:pt x="1915115" y="1499089"/>
                  </a:lnTo>
                  <a:lnTo>
                    <a:pt x="1950122" y="1499089"/>
                  </a:lnTo>
                  <a:lnTo>
                    <a:pt x="1950122" y="1508095"/>
                  </a:lnTo>
                  <a:lnTo>
                    <a:pt x="1949108" y="1507333"/>
                  </a:lnTo>
                  <a:lnTo>
                    <a:pt x="1972192" y="1507333"/>
                  </a:lnTo>
                  <a:lnTo>
                    <a:pt x="1978661" y="1507333"/>
                  </a:lnTo>
                  <a:lnTo>
                    <a:pt x="1978661" y="1516846"/>
                  </a:lnTo>
                  <a:lnTo>
                    <a:pt x="1977519" y="1516085"/>
                  </a:lnTo>
                  <a:lnTo>
                    <a:pt x="1992613" y="1516085"/>
                  </a:lnTo>
                  <a:lnTo>
                    <a:pt x="1999335" y="1516085"/>
                  </a:lnTo>
                  <a:lnTo>
                    <a:pt x="2008848" y="1516085"/>
                  </a:lnTo>
                  <a:lnTo>
                    <a:pt x="2030410" y="1516085"/>
                  </a:lnTo>
                  <a:lnTo>
                    <a:pt x="2030410" y="1525979"/>
                  </a:lnTo>
                  <a:lnTo>
                    <a:pt x="2029269" y="1525218"/>
                  </a:lnTo>
                  <a:lnTo>
                    <a:pt x="2070110" y="1525218"/>
                  </a:lnTo>
                  <a:lnTo>
                    <a:pt x="2072774" y="1525218"/>
                  </a:lnTo>
                  <a:lnTo>
                    <a:pt x="2163843" y="1525218"/>
                  </a:lnTo>
                  <a:lnTo>
                    <a:pt x="2170692" y="1525218"/>
                  </a:lnTo>
                  <a:lnTo>
                    <a:pt x="2189591" y="1525218"/>
                  </a:lnTo>
                  <a:lnTo>
                    <a:pt x="2239946" y="1525218"/>
                  </a:lnTo>
                  <a:lnTo>
                    <a:pt x="2253263" y="1525218"/>
                  </a:lnTo>
                  <a:lnTo>
                    <a:pt x="2253263" y="1536126"/>
                  </a:lnTo>
                  <a:lnTo>
                    <a:pt x="2252122" y="1535364"/>
                  </a:lnTo>
                  <a:lnTo>
                    <a:pt x="2254659" y="1535364"/>
                  </a:lnTo>
                  <a:lnTo>
                    <a:pt x="2254659" y="1546272"/>
                  </a:lnTo>
                  <a:lnTo>
                    <a:pt x="2253517" y="1545385"/>
                  </a:lnTo>
                  <a:lnTo>
                    <a:pt x="2265820" y="1545385"/>
                  </a:lnTo>
                  <a:lnTo>
                    <a:pt x="2267215" y="1545385"/>
                  </a:lnTo>
                  <a:lnTo>
                    <a:pt x="2285861" y="1545385"/>
                  </a:lnTo>
                  <a:lnTo>
                    <a:pt x="2285861" y="1556800"/>
                  </a:lnTo>
                  <a:lnTo>
                    <a:pt x="2284846" y="1556039"/>
                  </a:lnTo>
                  <a:lnTo>
                    <a:pt x="2288651" y="1556039"/>
                  </a:lnTo>
                  <a:lnTo>
                    <a:pt x="2288651" y="1567327"/>
                  </a:lnTo>
                  <a:lnTo>
                    <a:pt x="2287509" y="1566566"/>
                  </a:lnTo>
                  <a:lnTo>
                    <a:pt x="2324292" y="1566566"/>
                  </a:lnTo>
                  <a:lnTo>
                    <a:pt x="2343191" y="1566566"/>
                  </a:lnTo>
                  <a:lnTo>
                    <a:pt x="2355494" y="1566566"/>
                  </a:lnTo>
                  <a:lnTo>
                    <a:pt x="2362090" y="1566566"/>
                  </a:lnTo>
                  <a:lnTo>
                    <a:pt x="2362090" y="1578616"/>
                  </a:lnTo>
                  <a:lnTo>
                    <a:pt x="2360948" y="1577855"/>
                  </a:lnTo>
                  <a:lnTo>
                    <a:pt x="2456076" y="1577855"/>
                  </a:lnTo>
                  <a:lnTo>
                    <a:pt x="2465589" y="1577855"/>
                  </a:lnTo>
                  <a:lnTo>
                    <a:pt x="2468379" y="1577855"/>
                  </a:lnTo>
                  <a:lnTo>
                    <a:pt x="2475102" y="1577855"/>
                  </a:lnTo>
                  <a:lnTo>
                    <a:pt x="2476497" y="1577855"/>
                  </a:lnTo>
                  <a:lnTo>
                    <a:pt x="2480556" y="1577855"/>
                  </a:lnTo>
                  <a:lnTo>
                    <a:pt x="2504908" y="1577855"/>
                  </a:lnTo>
                  <a:lnTo>
                    <a:pt x="2511504" y="1577855"/>
                  </a:lnTo>
                  <a:lnTo>
                    <a:pt x="2511504" y="1592695"/>
                  </a:lnTo>
                  <a:lnTo>
                    <a:pt x="2510489" y="1591934"/>
                  </a:lnTo>
                  <a:lnTo>
                    <a:pt x="2517212" y="1591934"/>
                  </a:lnTo>
                  <a:lnTo>
                    <a:pt x="2521270" y="1591934"/>
                  </a:lnTo>
                  <a:lnTo>
                    <a:pt x="2541691" y="1591934"/>
                  </a:lnTo>
                  <a:lnTo>
                    <a:pt x="2559449" y="1591934"/>
                  </a:lnTo>
                  <a:lnTo>
                    <a:pt x="2571625" y="1591934"/>
                  </a:lnTo>
                  <a:lnTo>
                    <a:pt x="2598768" y="1591934"/>
                  </a:lnTo>
                  <a:lnTo>
                    <a:pt x="2635424" y="1591934"/>
                  </a:lnTo>
                  <a:lnTo>
                    <a:pt x="2714317" y="1591934"/>
                  </a:lnTo>
                  <a:lnTo>
                    <a:pt x="2748055" y="1591934"/>
                  </a:lnTo>
                  <a:lnTo>
                    <a:pt x="2748055" y="1611213"/>
                  </a:lnTo>
                  <a:lnTo>
                    <a:pt x="2747041" y="1610452"/>
                  </a:lnTo>
                  <a:lnTo>
                    <a:pt x="2761881" y="1610452"/>
                  </a:lnTo>
                  <a:lnTo>
                    <a:pt x="2770125" y="1610452"/>
                  </a:lnTo>
                  <a:lnTo>
                    <a:pt x="2774057" y="1610452"/>
                  </a:lnTo>
                  <a:lnTo>
                    <a:pt x="2780652" y="1610452"/>
                  </a:lnTo>
                  <a:lnTo>
                    <a:pt x="2780652" y="1632268"/>
                  </a:lnTo>
                  <a:lnTo>
                    <a:pt x="2779638" y="1631507"/>
                  </a:lnTo>
                  <a:lnTo>
                    <a:pt x="2812235" y="1631507"/>
                  </a:lnTo>
                  <a:lnTo>
                    <a:pt x="2817689" y="1631507"/>
                  </a:lnTo>
                  <a:lnTo>
                    <a:pt x="2827202" y="1631507"/>
                  </a:lnTo>
                  <a:lnTo>
                    <a:pt x="2833924" y="1631507"/>
                  </a:lnTo>
                  <a:lnTo>
                    <a:pt x="2851301" y="1631507"/>
                  </a:lnTo>
                  <a:lnTo>
                    <a:pt x="2851301" y="1658270"/>
                  </a:lnTo>
                  <a:lnTo>
                    <a:pt x="2850286" y="1657509"/>
                  </a:lnTo>
                  <a:lnTo>
                    <a:pt x="2893791" y="1657509"/>
                  </a:lnTo>
                  <a:lnTo>
                    <a:pt x="2897850" y="1657509"/>
                  </a:lnTo>
                  <a:lnTo>
                    <a:pt x="2901909" y="1657509"/>
                  </a:lnTo>
                  <a:lnTo>
                    <a:pt x="3035088" y="1657509"/>
                  </a:lnTo>
                  <a:lnTo>
                    <a:pt x="3045996" y="1657509"/>
                  </a:lnTo>
                  <a:lnTo>
                    <a:pt x="3082652" y="1657509"/>
                  </a:lnTo>
                  <a:lnTo>
                    <a:pt x="3086838" y="1657509"/>
                  </a:lnTo>
                  <a:lnTo>
                    <a:pt x="3113981" y="1657509"/>
                  </a:lnTo>
                  <a:lnTo>
                    <a:pt x="3136811" y="1657509"/>
                  </a:lnTo>
                  <a:lnTo>
                    <a:pt x="3136811" y="1717630"/>
                  </a:lnTo>
                  <a:lnTo>
                    <a:pt x="3135797" y="1716742"/>
                  </a:lnTo>
                  <a:lnTo>
                    <a:pt x="3191478" y="1716742"/>
                  </a:lnTo>
                  <a:lnTo>
                    <a:pt x="3296119" y="1716742"/>
                  </a:lnTo>
                  <a:lnTo>
                    <a:pt x="3542183" y="1716742"/>
                  </a:lnTo>
                  <a:lnTo>
                    <a:pt x="3707959" y="1716742"/>
                  </a:lnTo>
                  <a:lnTo>
                    <a:pt x="3732312" y="1716742"/>
                  </a:lnTo>
                  <a:lnTo>
                    <a:pt x="3813996" y="1716742"/>
                  </a:lnTo>
                  <a:lnTo>
                    <a:pt x="3813996" y="1718391"/>
                  </a:lnTo>
                  <a:lnTo>
                    <a:pt x="3732312" y="1718391"/>
                  </a:lnTo>
                  <a:lnTo>
                    <a:pt x="3707959" y="1718391"/>
                  </a:lnTo>
                  <a:lnTo>
                    <a:pt x="3542183" y="1718391"/>
                  </a:lnTo>
                  <a:lnTo>
                    <a:pt x="3296119" y="1718391"/>
                  </a:lnTo>
                  <a:lnTo>
                    <a:pt x="3191478" y="1718391"/>
                  </a:lnTo>
                  <a:lnTo>
                    <a:pt x="3134655" y="1718391"/>
                  </a:lnTo>
                  <a:lnTo>
                    <a:pt x="3134655" y="1658270"/>
                  </a:lnTo>
                  <a:lnTo>
                    <a:pt x="3135797" y="1659031"/>
                  </a:lnTo>
                  <a:lnTo>
                    <a:pt x="3113981" y="1659031"/>
                  </a:lnTo>
                  <a:lnTo>
                    <a:pt x="3086838" y="1659031"/>
                  </a:lnTo>
                  <a:lnTo>
                    <a:pt x="3082652" y="1659031"/>
                  </a:lnTo>
                  <a:lnTo>
                    <a:pt x="3045996" y="1659031"/>
                  </a:lnTo>
                  <a:lnTo>
                    <a:pt x="3035088" y="1659031"/>
                  </a:lnTo>
                  <a:lnTo>
                    <a:pt x="2901909" y="1659031"/>
                  </a:lnTo>
                  <a:lnTo>
                    <a:pt x="2897850" y="1659031"/>
                  </a:lnTo>
                  <a:lnTo>
                    <a:pt x="2893791" y="1659031"/>
                  </a:lnTo>
                  <a:lnTo>
                    <a:pt x="2849145" y="1659031"/>
                  </a:lnTo>
                  <a:lnTo>
                    <a:pt x="2849145" y="1632268"/>
                  </a:lnTo>
                  <a:lnTo>
                    <a:pt x="2850286" y="1633029"/>
                  </a:lnTo>
                  <a:lnTo>
                    <a:pt x="2833924" y="1633029"/>
                  </a:lnTo>
                  <a:lnTo>
                    <a:pt x="2827202" y="1633029"/>
                  </a:lnTo>
                  <a:lnTo>
                    <a:pt x="2817689" y="1633029"/>
                  </a:lnTo>
                  <a:lnTo>
                    <a:pt x="2812235" y="1633029"/>
                  </a:lnTo>
                  <a:lnTo>
                    <a:pt x="2778496" y="1633029"/>
                  </a:lnTo>
                  <a:lnTo>
                    <a:pt x="2778496" y="1611213"/>
                  </a:lnTo>
                  <a:lnTo>
                    <a:pt x="2779638" y="1612101"/>
                  </a:lnTo>
                  <a:lnTo>
                    <a:pt x="2774057" y="1612101"/>
                  </a:lnTo>
                  <a:lnTo>
                    <a:pt x="2770125" y="1612101"/>
                  </a:lnTo>
                  <a:lnTo>
                    <a:pt x="2761881" y="1612101"/>
                  </a:lnTo>
                  <a:lnTo>
                    <a:pt x="2745899" y="1612101"/>
                  </a:lnTo>
                  <a:lnTo>
                    <a:pt x="2745899" y="1592695"/>
                  </a:lnTo>
                  <a:lnTo>
                    <a:pt x="2747041" y="1593583"/>
                  </a:lnTo>
                  <a:lnTo>
                    <a:pt x="2714317" y="1593583"/>
                  </a:lnTo>
                  <a:lnTo>
                    <a:pt x="2635424" y="1593583"/>
                  </a:lnTo>
                  <a:lnTo>
                    <a:pt x="2598768" y="1593583"/>
                  </a:lnTo>
                  <a:lnTo>
                    <a:pt x="2571625" y="1593583"/>
                  </a:lnTo>
                  <a:lnTo>
                    <a:pt x="2559449" y="1593583"/>
                  </a:lnTo>
                  <a:lnTo>
                    <a:pt x="2541691" y="1593583"/>
                  </a:lnTo>
                  <a:lnTo>
                    <a:pt x="2521270" y="1593583"/>
                  </a:lnTo>
                  <a:lnTo>
                    <a:pt x="2517212" y="1593583"/>
                  </a:lnTo>
                  <a:lnTo>
                    <a:pt x="2509348" y="1593583"/>
                  </a:lnTo>
                  <a:lnTo>
                    <a:pt x="2509348" y="1578616"/>
                  </a:lnTo>
                  <a:lnTo>
                    <a:pt x="2510489" y="1579377"/>
                  </a:lnTo>
                  <a:lnTo>
                    <a:pt x="2504908" y="1579377"/>
                  </a:lnTo>
                  <a:lnTo>
                    <a:pt x="2480556" y="1579377"/>
                  </a:lnTo>
                  <a:lnTo>
                    <a:pt x="2476497" y="1579377"/>
                  </a:lnTo>
                  <a:lnTo>
                    <a:pt x="2475102" y="1579377"/>
                  </a:lnTo>
                  <a:lnTo>
                    <a:pt x="2468379" y="1579377"/>
                  </a:lnTo>
                  <a:lnTo>
                    <a:pt x="2465589" y="1579377"/>
                  </a:lnTo>
                  <a:lnTo>
                    <a:pt x="2456076" y="1579377"/>
                  </a:lnTo>
                  <a:lnTo>
                    <a:pt x="2359807" y="1579377"/>
                  </a:lnTo>
                  <a:lnTo>
                    <a:pt x="2359807" y="1567327"/>
                  </a:lnTo>
                  <a:lnTo>
                    <a:pt x="2360948" y="1568088"/>
                  </a:lnTo>
                  <a:lnTo>
                    <a:pt x="2355494" y="1568088"/>
                  </a:lnTo>
                  <a:lnTo>
                    <a:pt x="2343191" y="1568088"/>
                  </a:lnTo>
                  <a:lnTo>
                    <a:pt x="2324292" y="1568088"/>
                  </a:lnTo>
                  <a:lnTo>
                    <a:pt x="2286495" y="1568088"/>
                  </a:lnTo>
                  <a:lnTo>
                    <a:pt x="2286495" y="1556800"/>
                  </a:lnTo>
                  <a:lnTo>
                    <a:pt x="2287509" y="1557561"/>
                  </a:lnTo>
                  <a:lnTo>
                    <a:pt x="2283704" y="1557561"/>
                  </a:lnTo>
                  <a:lnTo>
                    <a:pt x="2283704" y="1546272"/>
                  </a:lnTo>
                  <a:lnTo>
                    <a:pt x="2284846" y="1547034"/>
                  </a:lnTo>
                  <a:lnTo>
                    <a:pt x="2267215" y="1547034"/>
                  </a:lnTo>
                  <a:lnTo>
                    <a:pt x="2265820" y="1547034"/>
                  </a:lnTo>
                  <a:lnTo>
                    <a:pt x="2252502" y="1547034"/>
                  </a:lnTo>
                  <a:lnTo>
                    <a:pt x="2252502" y="1536126"/>
                  </a:lnTo>
                  <a:lnTo>
                    <a:pt x="2253517" y="1536887"/>
                  </a:lnTo>
                  <a:lnTo>
                    <a:pt x="2251107" y="1536887"/>
                  </a:lnTo>
                  <a:lnTo>
                    <a:pt x="2251107" y="1525979"/>
                  </a:lnTo>
                  <a:lnTo>
                    <a:pt x="2252122" y="1526740"/>
                  </a:lnTo>
                  <a:lnTo>
                    <a:pt x="2239946" y="1526740"/>
                  </a:lnTo>
                  <a:lnTo>
                    <a:pt x="2189591" y="1526740"/>
                  </a:lnTo>
                  <a:lnTo>
                    <a:pt x="2170692" y="1526740"/>
                  </a:lnTo>
                  <a:lnTo>
                    <a:pt x="2163843" y="1526740"/>
                  </a:lnTo>
                  <a:lnTo>
                    <a:pt x="2072774" y="1526740"/>
                  </a:lnTo>
                  <a:lnTo>
                    <a:pt x="2070110" y="1526740"/>
                  </a:lnTo>
                  <a:lnTo>
                    <a:pt x="2028127" y="1526740"/>
                  </a:lnTo>
                  <a:lnTo>
                    <a:pt x="2028127" y="1516846"/>
                  </a:lnTo>
                  <a:lnTo>
                    <a:pt x="2029269" y="1517607"/>
                  </a:lnTo>
                  <a:lnTo>
                    <a:pt x="2008848" y="1517607"/>
                  </a:lnTo>
                  <a:lnTo>
                    <a:pt x="1999335" y="1517607"/>
                  </a:lnTo>
                  <a:lnTo>
                    <a:pt x="1992613" y="1517607"/>
                  </a:lnTo>
                  <a:lnTo>
                    <a:pt x="1976505" y="1517607"/>
                  </a:lnTo>
                  <a:lnTo>
                    <a:pt x="1976505" y="1508095"/>
                  </a:lnTo>
                  <a:lnTo>
                    <a:pt x="1977519" y="1508856"/>
                  </a:lnTo>
                  <a:lnTo>
                    <a:pt x="1972192" y="1508856"/>
                  </a:lnTo>
                  <a:lnTo>
                    <a:pt x="1947966" y="1508856"/>
                  </a:lnTo>
                  <a:lnTo>
                    <a:pt x="1947966" y="1499850"/>
                  </a:lnTo>
                  <a:lnTo>
                    <a:pt x="1949108" y="1500611"/>
                  </a:lnTo>
                  <a:lnTo>
                    <a:pt x="1915115" y="1500611"/>
                  </a:lnTo>
                  <a:lnTo>
                    <a:pt x="1901797" y="1500611"/>
                  </a:lnTo>
                  <a:lnTo>
                    <a:pt x="1901797" y="1491606"/>
                  </a:lnTo>
                  <a:lnTo>
                    <a:pt x="1902812" y="1492367"/>
                  </a:lnTo>
                  <a:lnTo>
                    <a:pt x="1893426" y="1492367"/>
                  </a:lnTo>
                  <a:lnTo>
                    <a:pt x="1883787" y="1492367"/>
                  </a:lnTo>
                  <a:lnTo>
                    <a:pt x="1882518" y="1492367"/>
                  </a:lnTo>
                  <a:lnTo>
                    <a:pt x="1878713" y="1492367"/>
                  </a:lnTo>
                  <a:lnTo>
                    <a:pt x="1878713" y="1483742"/>
                  </a:lnTo>
                  <a:lnTo>
                    <a:pt x="1879728" y="1484503"/>
                  </a:lnTo>
                  <a:lnTo>
                    <a:pt x="1871864" y="1484503"/>
                  </a:lnTo>
                  <a:lnTo>
                    <a:pt x="1871864" y="1476005"/>
                  </a:lnTo>
                  <a:lnTo>
                    <a:pt x="1872879" y="1476766"/>
                  </a:lnTo>
                  <a:lnTo>
                    <a:pt x="1864761" y="1476766"/>
                  </a:lnTo>
                  <a:lnTo>
                    <a:pt x="1860702" y="1476766"/>
                  </a:lnTo>
                  <a:lnTo>
                    <a:pt x="1856897" y="1476766"/>
                  </a:lnTo>
                  <a:lnTo>
                    <a:pt x="1856897" y="1468394"/>
                  </a:lnTo>
                  <a:lnTo>
                    <a:pt x="1858039" y="1469155"/>
                  </a:lnTo>
                  <a:lnTo>
                    <a:pt x="1856643" y="1469155"/>
                  </a:lnTo>
                  <a:lnTo>
                    <a:pt x="1839267" y="1469155"/>
                  </a:lnTo>
                  <a:lnTo>
                    <a:pt x="1839267" y="1460911"/>
                  </a:lnTo>
                  <a:lnTo>
                    <a:pt x="1840281" y="1461672"/>
                  </a:lnTo>
                  <a:lnTo>
                    <a:pt x="1838886" y="1461672"/>
                  </a:lnTo>
                  <a:lnTo>
                    <a:pt x="1835208" y="1461672"/>
                  </a:lnTo>
                  <a:lnTo>
                    <a:pt x="1835208" y="1453554"/>
                  </a:lnTo>
                  <a:lnTo>
                    <a:pt x="1836349" y="1454315"/>
                  </a:lnTo>
                  <a:lnTo>
                    <a:pt x="1825315" y="1454315"/>
                  </a:lnTo>
                  <a:lnTo>
                    <a:pt x="1819987" y="1454315"/>
                  </a:lnTo>
                  <a:lnTo>
                    <a:pt x="1796903" y="1454315"/>
                  </a:lnTo>
                  <a:lnTo>
                    <a:pt x="1779146" y="1454315"/>
                  </a:lnTo>
                  <a:lnTo>
                    <a:pt x="1760374" y="1454315"/>
                  </a:lnTo>
                  <a:lnTo>
                    <a:pt x="1760374" y="1446578"/>
                  </a:lnTo>
                  <a:lnTo>
                    <a:pt x="1761515" y="1447339"/>
                  </a:lnTo>
                  <a:lnTo>
                    <a:pt x="1738431" y="1447339"/>
                  </a:lnTo>
                  <a:lnTo>
                    <a:pt x="1731582" y="1447339"/>
                  </a:lnTo>
                  <a:lnTo>
                    <a:pt x="1723718" y="1447339"/>
                  </a:lnTo>
                  <a:lnTo>
                    <a:pt x="1723718" y="1439602"/>
                  </a:lnTo>
                  <a:lnTo>
                    <a:pt x="1724733" y="1440363"/>
                  </a:lnTo>
                  <a:lnTo>
                    <a:pt x="1723464" y="1440363"/>
                  </a:lnTo>
                  <a:lnTo>
                    <a:pt x="1718010" y="1440363"/>
                  </a:lnTo>
                  <a:lnTo>
                    <a:pt x="1710020" y="1440363"/>
                  </a:lnTo>
                  <a:lnTo>
                    <a:pt x="1710020" y="1432880"/>
                  </a:lnTo>
                  <a:lnTo>
                    <a:pt x="1711161" y="1433641"/>
                  </a:lnTo>
                  <a:lnTo>
                    <a:pt x="1705834" y="1433641"/>
                  </a:lnTo>
                  <a:lnTo>
                    <a:pt x="1703043" y="1433641"/>
                  </a:lnTo>
                  <a:lnTo>
                    <a:pt x="1694926" y="1433641"/>
                  </a:lnTo>
                  <a:lnTo>
                    <a:pt x="1679959" y="1433641"/>
                  </a:lnTo>
                  <a:lnTo>
                    <a:pt x="1668036" y="1433641"/>
                  </a:lnTo>
                  <a:lnTo>
                    <a:pt x="1668036" y="1419943"/>
                  </a:lnTo>
                  <a:lnTo>
                    <a:pt x="1669051" y="1420704"/>
                  </a:lnTo>
                  <a:lnTo>
                    <a:pt x="1661187" y="1420704"/>
                  </a:lnTo>
                  <a:lnTo>
                    <a:pt x="1661187" y="1413474"/>
                  </a:lnTo>
                  <a:lnTo>
                    <a:pt x="1662202" y="1414235"/>
                  </a:lnTo>
                  <a:lnTo>
                    <a:pt x="1647362" y="1414235"/>
                  </a:lnTo>
                  <a:lnTo>
                    <a:pt x="1641908" y="1414235"/>
                  </a:lnTo>
                  <a:lnTo>
                    <a:pt x="1637976" y="1414235"/>
                  </a:lnTo>
                  <a:lnTo>
                    <a:pt x="1637976" y="1407132"/>
                  </a:lnTo>
                  <a:lnTo>
                    <a:pt x="1639117" y="1407893"/>
                  </a:lnTo>
                  <a:lnTo>
                    <a:pt x="1636454" y="1407893"/>
                  </a:lnTo>
                  <a:lnTo>
                    <a:pt x="1633790" y="1407893"/>
                  </a:lnTo>
                  <a:lnTo>
                    <a:pt x="1625546" y="1407893"/>
                  </a:lnTo>
                  <a:lnTo>
                    <a:pt x="1620092" y="1407893"/>
                  </a:lnTo>
                  <a:lnTo>
                    <a:pt x="1605379" y="1407893"/>
                  </a:lnTo>
                  <a:lnTo>
                    <a:pt x="1605379" y="1401044"/>
                  </a:lnTo>
                  <a:lnTo>
                    <a:pt x="1606520" y="1401805"/>
                  </a:lnTo>
                  <a:lnTo>
                    <a:pt x="1602715" y="1401805"/>
                  </a:lnTo>
                  <a:lnTo>
                    <a:pt x="1602715" y="1394956"/>
                  </a:lnTo>
                  <a:lnTo>
                    <a:pt x="1603730" y="1395717"/>
                  </a:lnTo>
                  <a:lnTo>
                    <a:pt x="1595612" y="1395717"/>
                  </a:lnTo>
                  <a:lnTo>
                    <a:pt x="1592949" y="1395717"/>
                  </a:lnTo>
                  <a:lnTo>
                    <a:pt x="1580645" y="1395717"/>
                  </a:lnTo>
                  <a:lnTo>
                    <a:pt x="1575572" y="1395717"/>
                  </a:lnTo>
                  <a:lnTo>
                    <a:pt x="1575572" y="1388994"/>
                  </a:lnTo>
                  <a:lnTo>
                    <a:pt x="1576714" y="1389882"/>
                  </a:lnTo>
                  <a:lnTo>
                    <a:pt x="1564410" y="1389882"/>
                  </a:lnTo>
                  <a:lnTo>
                    <a:pt x="1560605" y="1389882"/>
                  </a:lnTo>
                  <a:lnTo>
                    <a:pt x="1560605" y="1383287"/>
                  </a:lnTo>
                  <a:lnTo>
                    <a:pt x="1561620" y="1384048"/>
                  </a:lnTo>
                  <a:lnTo>
                    <a:pt x="1542975" y="1384048"/>
                  </a:lnTo>
                  <a:lnTo>
                    <a:pt x="1542975" y="1377452"/>
                  </a:lnTo>
                  <a:lnTo>
                    <a:pt x="1544116" y="1378340"/>
                  </a:lnTo>
                  <a:lnTo>
                    <a:pt x="1509997" y="1378340"/>
                  </a:lnTo>
                  <a:lnTo>
                    <a:pt x="1491225" y="1378340"/>
                  </a:lnTo>
                  <a:lnTo>
                    <a:pt x="1491225" y="1371745"/>
                  </a:lnTo>
                  <a:lnTo>
                    <a:pt x="1492367" y="1372632"/>
                  </a:lnTo>
                  <a:lnTo>
                    <a:pt x="1477654" y="1372632"/>
                  </a:lnTo>
                  <a:lnTo>
                    <a:pt x="1477654" y="1366037"/>
                  </a:lnTo>
                  <a:lnTo>
                    <a:pt x="1478795" y="1366925"/>
                  </a:lnTo>
                  <a:lnTo>
                    <a:pt x="1469282" y="1366925"/>
                  </a:lnTo>
                  <a:lnTo>
                    <a:pt x="1460023" y="1366925"/>
                  </a:lnTo>
                  <a:lnTo>
                    <a:pt x="1460023" y="1360329"/>
                  </a:lnTo>
                  <a:lnTo>
                    <a:pt x="1461165" y="1361217"/>
                  </a:lnTo>
                  <a:lnTo>
                    <a:pt x="1451779" y="1361217"/>
                  </a:lnTo>
                  <a:lnTo>
                    <a:pt x="1451779" y="1354748"/>
                  </a:lnTo>
                  <a:lnTo>
                    <a:pt x="1452920" y="1355509"/>
                  </a:lnTo>
                  <a:lnTo>
                    <a:pt x="1417787" y="1355509"/>
                  </a:lnTo>
                  <a:lnTo>
                    <a:pt x="1417787" y="1349041"/>
                  </a:lnTo>
                  <a:lnTo>
                    <a:pt x="1418928" y="1349928"/>
                  </a:lnTo>
                  <a:lnTo>
                    <a:pt x="1373013" y="1349928"/>
                  </a:lnTo>
                  <a:lnTo>
                    <a:pt x="1373013" y="1343460"/>
                  </a:lnTo>
                  <a:lnTo>
                    <a:pt x="1374155" y="1344221"/>
                  </a:lnTo>
                  <a:lnTo>
                    <a:pt x="1364895" y="1344221"/>
                  </a:lnTo>
                  <a:lnTo>
                    <a:pt x="1364895" y="1337752"/>
                  </a:lnTo>
                  <a:lnTo>
                    <a:pt x="1365910" y="1338513"/>
                  </a:lnTo>
                  <a:lnTo>
                    <a:pt x="1355129" y="1338513"/>
                  </a:lnTo>
                  <a:lnTo>
                    <a:pt x="1349675" y="1338513"/>
                  </a:lnTo>
                  <a:lnTo>
                    <a:pt x="1333313" y="1338513"/>
                  </a:lnTo>
                  <a:lnTo>
                    <a:pt x="1322405" y="1338513"/>
                  </a:lnTo>
                  <a:lnTo>
                    <a:pt x="1321137" y="1338513"/>
                  </a:lnTo>
                  <a:lnTo>
                    <a:pt x="1315683" y="1338513"/>
                  </a:lnTo>
                  <a:lnTo>
                    <a:pt x="1314287" y="1338513"/>
                  </a:lnTo>
                  <a:lnTo>
                    <a:pt x="1308833" y="1338513"/>
                  </a:lnTo>
                  <a:lnTo>
                    <a:pt x="1306170" y="1338513"/>
                  </a:lnTo>
                  <a:lnTo>
                    <a:pt x="1304775" y="1338513"/>
                  </a:lnTo>
                  <a:lnTo>
                    <a:pt x="1303379" y="1338513"/>
                  </a:lnTo>
                  <a:lnTo>
                    <a:pt x="1295262" y="1338513"/>
                  </a:lnTo>
                  <a:lnTo>
                    <a:pt x="1290061" y="1338513"/>
                  </a:lnTo>
                  <a:lnTo>
                    <a:pt x="1290061" y="1332679"/>
                  </a:lnTo>
                  <a:lnTo>
                    <a:pt x="1291203" y="1333440"/>
                  </a:lnTo>
                  <a:lnTo>
                    <a:pt x="1283085" y="1333440"/>
                  </a:lnTo>
                  <a:lnTo>
                    <a:pt x="1274968" y="1333440"/>
                  </a:lnTo>
                  <a:lnTo>
                    <a:pt x="1273573" y="1333440"/>
                  </a:lnTo>
                  <a:lnTo>
                    <a:pt x="1268119" y="1333440"/>
                  </a:lnTo>
                  <a:lnTo>
                    <a:pt x="1262918" y="1333440"/>
                  </a:lnTo>
                  <a:lnTo>
                    <a:pt x="1262918" y="1327605"/>
                  </a:lnTo>
                  <a:lnTo>
                    <a:pt x="1263933" y="1328366"/>
                  </a:lnTo>
                  <a:lnTo>
                    <a:pt x="1257211" y="1328366"/>
                  </a:lnTo>
                  <a:lnTo>
                    <a:pt x="1250742" y="1328366"/>
                  </a:lnTo>
                  <a:lnTo>
                    <a:pt x="1250742" y="1322658"/>
                  </a:lnTo>
                  <a:lnTo>
                    <a:pt x="1251757" y="1323419"/>
                  </a:lnTo>
                  <a:lnTo>
                    <a:pt x="1227531" y="1323419"/>
                  </a:lnTo>
                  <a:lnTo>
                    <a:pt x="1227531" y="1317712"/>
                  </a:lnTo>
                  <a:lnTo>
                    <a:pt x="1228672" y="1318473"/>
                  </a:lnTo>
                  <a:lnTo>
                    <a:pt x="1226009" y="1318473"/>
                  </a:lnTo>
                  <a:lnTo>
                    <a:pt x="1217764" y="1318473"/>
                  </a:lnTo>
                  <a:lnTo>
                    <a:pt x="1212691" y="1318473"/>
                  </a:lnTo>
                  <a:lnTo>
                    <a:pt x="1212691" y="1312765"/>
                  </a:lnTo>
                  <a:lnTo>
                    <a:pt x="1213705" y="1313526"/>
                  </a:lnTo>
                  <a:lnTo>
                    <a:pt x="1198739" y="1313526"/>
                  </a:lnTo>
                  <a:lnTo>
                    <a:pt x="1185167" y="1313526"/>
                  </a:lnTo>
                  <a:lnTo>
                    <a:pt x="1178698" y="1313526"/>
                  </a:lnTo>
                  <a:lnTo>
                    <a:pt x="1178698" y="1307945"/>
                  </a:lnTo>
                  <a:lnTo>
                    <a:pt x="1179713" y="1308706"/>
                  </a:lnTo>
                  <a:lnTo>
                    <a:pt x="1177050" y="1308706"/>
                  </a:lnTo>
                  <a:lnTo>
                    <a:pt x="1167790" y="1308706"/>
                  </a:lnTo>
                  <a:lnTo>
                    <a:pt x="1167790" y="1298433"/>
                  </a:lnTo>
                  <a:lnTo>
                    <a:pt x="1168932" y="1299194"/>
                  </a:lnTo>
                  <a:lnTo>
                    <a:pt x="1159292" y="1299194"/>
                  </a:lnTo>
                  <a:lnTo>
                    <a:pt x="1156629" y="1299194"/>
                  </a:lnTo>
                  <a:lnTo>
                    <a:pt x="1145848" y="1299194"/>
                  </a:lnTo>
                  <a:lnTo>
                    <a:pt x="1137857" y="1299194"/>
                  </a:lnTo>
                  <a:lnTo>
                    <a:pt x="1137857" y="1289047"/>
                  </a:lnTo>
                  <a:lnTo>
                    <a:pt x="1138998" y="1289808"/>
                  </a:lnTo>
                  <a:lnTo>
                    <a:pt x="1126949" y="1289808"/>
                  </a:lnTo>
                  <a:lnTo>
                    <a:pt x="1126949" y="1284354"/>
                  </a:lnTo>
                  <a:lnTo>
                    <a:pt x="1128090" y="1285115"/>
                  </a:lnTo>
                  <a:lnTo>
                    <a:pt x="1124285" y="1285115"/>
                  </a:lnTo>
                  <a:lnTo>
                    <a:pt x="1124285" y="1279661"/>
                  </a:lnTo>
                  <a:lnTo>
                    <a:pt x="1125300" y="1280549"/>
                  </a:lnTo>
                  <a:lnTo>
                    <a:pt x="1119973" y="1280549"/>
                  </a:lnTo>
                  <a:lnTo>
                    <a:pt x="1115787" y="1280549"/>
                  </a:lnTo>
                  <a:lnTo>
                    <a:pt x="1113377" y="1280549"/>
                  </a:lnTo>
                  <a:lnTo>
                    <a:pt x="1113377" y="1270528"/>
                  </a:lnTo>
                  <a:lnTo>
                    <a:pt x="1114519" y="1271289"/>
                  </a:lnTo>
                  <a:lnTo>
                    <a:pt x="1111982" y="1271289"/>
                  </a:lnTo>
                  <a:lnTo>
                    <a:pt x="1111982" y="1265835"/>
                  </a:lnTo>
                  <a:lnTo>
                    <a:pt x="1113124" y="1266723"/>
                  </a:lnTo>
                  <a:lnTo>
                    <a:pt x="1106274" y="1266723"/>
                  </a:lnTo>
                  <a:lnTo>
                    <a:pt x="1103864" y="1266723"/>
                  </a:lnTo>
                  <a:lnTo>
                    <a:pt x="1103864" y="1261269"/>
                  </a:lnTo>
                  <a:lnTo>
                    <a:pt x="1105006" y="1262030"/>
                  </a:lnTo>
                  <a:lnTo>
                    <a:pt x="1099552" y="1262030"/>
                  </a:lnTo>
                  <a:lnTo>
                    <a:pt x="1086234" y="1262030"/>
                  </a:lnTo>
                  <a:lnTo>
                    <a:pt x="1086234" y="1256703"/>
                  </a:lnTo>
                  <a:lnTo>
                    <a:pt x="1087376" y="1257591"/>
                  </a:lnTo>
                  <a:lnTo>
                    <a:pt x="1083190" y="1257591"/>
                  </a:lnTo>
                  <a:lnTo>
                    <a:pt x="1075326" y="1257591"/>
                  </a:lnTo>
                  <a:lnTo>
                    <a:pt x="1075326" y="1252137"/>
                  </a:lnTo>
                  <a:lnTo>
                    <a:pt x="1076468" y="1252898"/>
                  </a:lnTo>
                  <a:lnTo>
                    <a:pt x="1071267" y="1252898"/>
                  </a:lnTo>
                  <a:lnTo>
                    <a:pt x="1071267" y="1247571"/>
                  </a:lnTo>
                  <a:lnTo>
                    <a:pt x="1072409" y="1248459"/>
                  </a:lnTo>
                  <a:lnTo>
                    <a:pt x="1065813" y="1248459"/>
                  </a:lnTo>
                  <a:lnTo>
                    <a:pt x="1065813" y="1243132"/>
                  </a:lnTo>
                  <a:lnTo>
                    <a:pt x="1066828" y="1243893"/>
                  </a:lnTo>
                  <a:lnTo>
                    <a:pt x="1064291" y="1243893"/>
                  </a:lnTo>
                  <a:lnTo>
                    <a:pt x="1050846" y="1243893"/>
                  </a:lnTo>
                  <a:lnTo>
                    <a:pt x="1050846" y="1238565"/>
                  </a:lnTo>
                  <a:lnTo>
                    <a:pt x="1051988" y="1239326"/>
                  </a:lnTo>
                  <a:lnTo>
                    <a:pt x="1038670" y="1239326"/>
                  </a:lnTo>
                  <a:lnTo>
                    <a:pt x="1038670" y="1234126"/>
                  </a:lnTo>
                  <a:lnTo>
                    <a:pt x="1039812" y="1234887"/>
                  </a:lnTo>
                  <a:lnTo>
                    <a:pt x="1037275" y="1234887"/>
                  </a:lnTo>
                  <a:lnTo>
                    <a:pt x="1037275" y="1229560"/>
                  </a:lnTo>
                  <a:lnTo>
                    <a:pt x="1038416" y="1230321"/>
                  </a:lnTo>
                  <a:lnTo>
                    <a:pt x="1037021" y="1230321"/>
                  </a:lnTo>
                  <a:lnTo>
                    <a:pt x="1025098" y="1230321"/>
                  </a:lnTo>
                  <a:lnTo>
                    <a:pt x="1025098" y="1224994"/>
                  </a:lnTo>
                  <a:lnTo>
                    <a:pt x="1026113" y="1225882"/>
                  </a:lnTo>
                  <a:lnTo>
                    <a:pt x="1014190" y="1225882"/>
                  </a:lnTo>
                  <a:lnTo>
                    <a:pt x="1014190" y="1220681"/>
                  </a:lnTo>
                  <a:lnTo>
                    <a:pt x="1015332" y="1221442"/>
                  </a:lnTo>
                  <a:lnTo>
                    <a:pt x="1012795" y="1221442"/>
                  </a:lnTo>
                  <a:lnTo>
                    <a:pt x="1012795" y="1211676"/>
                  </a:lnTo>
                  <a:lnTo>
                    <a:pt x="1013937" y="1212564"/>
                  </a:lnTo>
                  <a:lnTo>
                    <a:pt x="1011146" y="1212564"/>
                  </a:lnTo>
                  <a:lnTo>
                    <a:pt x="1005819" y="1212564"/>
                  </a:lnTo>
                  <a:lnTo>
                    <a:pt x="1003029" y="1212564"/>
                  </a:lnTo>
                  <a:lnTo>
                    <a:pt x="999224" y="1212564"/>
                  </a:lnTo>
                  <a:lnTo>
                    <a:pt x="999224" y="1207364"/>
                  </a:lnTo>
                  <a:lnTo>
                    <a:pt x="1000365" y="1208251"/>
                  </a:lnTo>
                  <a:lnTo>
                    <a:pt x="997828" y="1208251"/>
                  </a:lnTo>
                  <a:lnTo>
                    <a:pt x="997828" y="1203051"/>
                  </a:lnTo>
                  <a:lnTo>
                    <a:pt x="998970" y="1203812"/>
                  </a:lnTo>
                  <a:lnTo>
                    <a:pt x="995165" y="1203812"/>
                  </a:lnTo>
                  <a:lnTo>
                    <a:pt x="995165" y="1198739"/>
                  </a:lnTo>
                  <a:lnTo>
                    <a:pt x="996180" y="1199500"/>
                  </a:lnTo>
                  <a:lnTo>
                    <a:pt x="974490" y="1199500"/>
                  </a:lnTo>
                  <a:lnTo>
                    <a:pt x="969036" y="1199500"/>
                  </a:lnTo>
                  <a:lnTo>
                    <a:pt x="958255" y="1199500"/>
                  </a:lnTo>
                  <a:lnTo>
                    <a:pt x="955718" y="1199500"/>
                  </a:lnTo>
                  <a:lnTo>
                    <a:pt x="955718" y="1194426"/>
                  </a:lnTo>
                  <a:lnTo>
                    <a:pt x="956860" y="1195314"/>
                  </a:lnTo>
                  <a:lnTo>
                    <a:pt x="948616" y="1195314"/>
                  </a:lnTo>
                  <a:lnTo>
                    <a:pt x="947347" y="1195314"/>
                  </a:lnTo>
                  <a:lnTo>
                    <a:pt x="941893" y="1195314"/>
                  </a:lnTo>
                  <a:lnTo>
                    <a:pt x="936693" y="1195314"/>
                  </a:lnTo>
                  <a:lnTo>
                    <a:pt x="936693" y="1190240"/>
                  </a:lnTo>
                  <a:lnTo>
                    <a:pt x="937708" y="1191001"/>
                  </a:lnTo>
                  <a:lnTo>
                    <a:pt x="925531" y="1191001"/>
                  </a:lnTo>
                  <a:lnTo>
                    <a:pt x="917667" y="1191001"/>
                  </a:lnTo>
                  <a:lnTo>
                    <a:pt x="917667" y="1186055"/>
                  </a:lnTo>
                  <a:lnTo>
                    <a:pt x="918809" y="1186816"/>
                  </a:lnTo>
                  <a:lnTo>
                    <a:pt x="898642" y="1186816"/>
                  </a:lnTo>
                  <a:lnTo>
                    <a:pt x="898642" y="1181996"/>
                  </a:lnTo>
                  <a:lnTo>
                    <a:pt x="899783" y="1182757"/>
                  </a:lnTo>
                  <a:lnTo>
                    <a:pt x="893188" y="1182757"/>
                  </a:lnTo>
                  <a:lnTo>
                    <a:pt x="893188" y="1173625"/>
                  </a:lnTo>
                  <a:lnTo>
                    <a:pt x="894329" y="1174386"/>
                  </a:lnTo>
                  <a:lnTo>
                    <a:pt x="876826" y="1174386"/>
                  </a:lnTo>
                  <a:lnTo>
                    <a:pt x="876826" y="1169439"/>
                  </a:lnTo>
                  <a:lnTo>
                    <a:pt x="877967" y="1170200"/>
                  </a:lnTo>
                  <a:lnTo>
                    <a:pt x="875557" y="1170200"/>
                  </a:lnTo>
                  <a:lnTo>
                    <a:pt x="875557" y="1165380"/>
                  </a:lnTo>
                  <a:lnTo>
                    <a:pt x="876699" y="1166141"/>
                  </a:lnTo>
                  <a:lnTo>
                    <a:pt x="871499" y="1166141"/>
                  </a:lnTo>
                  <a:lnTo>
                    <a:pt x="871499" y="1161195"/>
                  </a:lnTo>
                  <a:lnTo>
                    <a:pt x="872513" y="1161956"/>
                  </a:lnTo>
                  <a:lnTo>
                    <a:pt x="870103" y="1161956"/>
                  </a:lnTo>
                  <a:lnTo>
                    <a:pt x="870103" y="1157009"/>
                  </a:lnTo>
                  <a:lnTo>
                    <a:pt x="871118" y="1157897"/>
                  </a:lnTo>
                  <a:lnTo>
                    <a:pt x="868708" y="1157897"/>
                  </a:lnTo>
                  <a:lnTo>
                    <a:pt x="868708" y="1152950"/>
                  </a:lnTo>
                  <a:lnTo>
                    <a:pt x="869850" y="1153711"/>
                  </a:lnTo>
                  <a:lnTo>
                    <a:pt x="864396" y="1153711"/>
                  </a:lnTo>
                  <a:lnTo>
                    <a:pt x="859195" y="1153711"/>
                  </a:lnTo>
                  <a:lnTo>
                    <a:pt x="859195" y="1148892"/>
                  </a:lnTo>
                  <a:lnTo>
                    <a:pt x="860337" y="1149653"/>
                  </a:lnTo>
                  <a:lnTo>
                    <a:pt x="855137" y="1149653"/>
                  </a:lnTo>
                  <a:lnTo>
                    <a:pt x="855137" y="1144833"/>
                  </a:lnTo>
                  <a:lnTo>
                    <a:pt x="856151" y="1145594"/>
                  </a:lnTo>
                  <a:lnTo>
                    <a:pt x="845624" y="1145594"/>
                  </a:lnTo>
                  <a:lnTo>
                    <a:pt x="845624" y="1140647"/>
                  </a:lnTo>
                  <a:lnTo>
                    <a:pt x="846765" y="1141408"/>
                  </a:lnTo>
                  <a:lnTo>
                    <a:pt x="844229" y="1141408"/>
                  </a:lnTo>
                  <a:lnTo>
                    <a:pt x="844229" y="1132530"/>
                  </a:lnTo>
                  <a:lnTo>
                    <a:pt x="845370" y="1133291"/>
                  </a:lnTo>
                  <a:lnTo>
                    <a:pt x="830403" y="1133291"/>
                  </a:lnTo>
                  <a:lnTo>
                    <a:pt x="820891" y="1133291"/>
                  </a:lnTo>
                  <a:lnTo>
                    <a:pt x="819495" y="1133291"/>
                  </a:lnTo>
                  <a:lnTo>
                    <a:pt x="815690" y="1133291"/>
                  </a:lnTo>
                  <a:lnTo>
                    <a:pt x="815690" y="1124412"/>
                  </a:lnTo>
                  <a:lnTo>
                    <a:pt x="816832" y="1125300"/>
                  </a:lnTo>
                  <a:lnTo>
                    <a:pt x="814422" y="1125300"/>
                  </a:lnTo>
                  <a:lnTo>
                    <a:pt x="814422" y="1120480"/>
                  </a:lnTo>
                  <a:lnTo>
                    <a:pt x="815437" y="1121241"/>
                  </a:lnTo>
                  <a:lnTo>
                    <a:pt x="814041" y="1121241"/>
                  </a:lnTo>
                  <a:lnTo>
                    <a:pt x="809983" y="1121241"/>
                  </a:lnTo>
                  <a:lnTo>
                    <a:pt x="807319" y="1121241"/>
                  </a:lnTo>
                  <a:lnTo>
                    <a:pt x="802119" y="1121241"/>
                  </a:lnTo>
                  <a:lnTo>
                    <a:pt x="802119" y="1116548"/>
                  </a:lnTo>
                  <a:lnTo>
                    <a:pt x="803260" y="1117309"/>
                  </a:lnTo>
                  <a:lnTo>
                    <a:pt x="801865" y="1117309"/>
                  </a:lnTo>
                  <a:lnTo>
                    <a:pt x="798060" y="1117309"/>
                  </a:lnTo>
                  <a:lnTo>
                    <a:pt x="798060" y="1112616"/>
                  </a:lnTo>
                  <a:lnTo>
                    <a:pt x="799075" y="1113377"/>
                  </a:lnTo>
                  <a:lnTo>
                    <a:pt x="795269" y="1113377"/>
                  </a:lnTo>
                  <a:lnTo>
                    <a:pt x="795269" y="1108557"/>
                  </a:lnTo>
                  <a:lnTo>
                    <a:pt x="796411" y="1109318"/>
                  </a:lnTo>
                  <a:lnTo>
                    <a:pt x="792606" y="1109318"/>
                  </a:lnTo>
                  <a:lnTo>
                    <a:pt x="792606" y="1104625"/>
                  </a:lnTo>
                  <a:lnTo>
                    <a:pt x="793747" y="1105386"/>
                  </a:lnTo>
                  <a:lnTo>
                    <a:pt x="791211" y="1105386"/>
                  </a:lnTo>
                  <a:lnTo>
                    <a:pt x="791211" y="1100693"/>
                  </a:lnTo>
                  <a:lnTo>
                    <a:pt x="792352" y="1101454"/>
                  </a:lnTo>
                  <a:lnTo>
                    <a:pt x="789942" y="1101454"/>
                  </a:lnTo>
                  <a:lnTo>
                    <a:pt x="789942" y="1096761"/>
                  </a:lnTo>
                  <a:lnTo>
                    <a:pt x="790957" y="1097522"/>
                  </a:lnTo>
                  <a:lnTo>
                    <a:pt x="785757" y="1097522"/>
                  </a:lnTo>
                  <a:lnTo>
                    <a:pt x="785757" y="1092829"/>
                  </a:lnTo>
                  <a:lnTo>
                    <a:pt x="786898" y="1093591"/>
                  </a:lnTo>
                  <a:lnTo>
                    <a:pt x="782839" y="1093591"/>
                  </a:lnTo>
                  <a:lnTo>
                    <a:pt x="777385" y="1093591"/>
                  </a:lnTo>
                  <a:lnTo>
                    <a:pt x="773580" y="1093591"/>
                  </a:lnTo>
                  <a:lnTo>
                    <a:pt x="773580" y="1088897"/>
                  </a:lnTo>
                  <a:lnTo>
                    <a:pt x="774595" y="1089785"/>
                  </a:lnTo>
                  <a:lnTo>
                    <a:pt x="773327" y="1089785"/>
                  </a:lnTo>
                  <a:lnTo>
                    <a:pt x="772058" y="1089785"/>
                  </a:lnTo>
                  <a:lnTo>
                    <a:pt x="770663" y="1089785"/>
                  </a:lnTo>
                  <a:lnTo>
                    <a:pt x="766858" y="1089785"/>
                  </a:lnTo>
                  <a:lnTo>
                    <a:pt x="766858" y="1085092"/>
                  </a:lnTo>
                  <a:lnTo>
                    <a:pt x="767873" y="1085853"/>
                  </a:lnTo>
                  <a:lnTo>
                    <a:pt x="762672" y="1085853"/>
                  </a:lnTo>
                  <a:lnTo>
                    <a:pt x="762672" y="1081160"/>
                  </a:lnTo>
                  <a:lnTo>
                    <a:pt x="763814" y="1082048"/>
                  </a:lnTo>
                  <a:lnTo>
                    <a:pt x="758613" y="1082048"/>
                  </a:lnTo>
                  <a:lnTo>
                    <a:pt x="758613" y="1077355"/>
                  </a:lnTo>
                  <a:lnTo>
                    <a:pt x="759755" y="1078116"/>
                  </a:lnTo>
                  <a:lnTo>
                    <a:pt x="746437" y="1078116"/>
                  </a:lnTo>
                  <a:lnTo>
                    <a:pt x="746437" y="1073423"/>
                  </a:lnTo>
                  <a:lnTo>
                    <a:pt x="747579" y="1074311"/>
                  </a:lnTo>
                  <a:lnTo>
                    <a:pt x="746183" y="1074311"/>
                  </a:lnTo>
                  <a:lnTo>
                    <a:pt x="743393" y="1074311"/>
                  </a:lnTo>
                  <a:lnTo>
                    <a:pt x="741998" y="1074311"/>
                  </a:lnTo>
                  <a:lnTo>
                    <a:pt x="737939" y="1074311"/>
                  </a:lnTo>
                  <a:lnTo>
                    <a:pt x="732865" y="1074311"/>
                  </a:lnTo>
                  <a:lnTo>
                    <a:pt x="732865" y="1069618"/>
                  </a:lnTo>
                  <a:lnTo>
                    <a:pt x="733880" y="1070506"/>
                  </a:lnTo>
                  <a:lnTo>
                    <a:pt x="730075" y="1070506"/>
                  </a:lnTo>
                  <a:lnTo>
                    <a:pt x="730075" y="1065940"/>
                  </a:lnTo>
                  <a:lnTo>
                    <a:pt x="731217" y="1066701"/>
                  </a:lnTo>
                  <a:lnTo>
                    <a:pt x="728426" y="1066701"/>
                  </a:lnTo>
                  <a:lnTo>
                    <a:pt x="726016" y="1066701"/>
                  </a:lnTo>
                  <a:lnTo>
                    <a:pt x="726016" y="1062135"/>
                  </a:lnTo>
                  <a:lnTo>
                    <a:pt x="727031" y="1062896"/>
                  </a:lnTo>
                  <a:lnTo>
                    <a:pt x="723353" y="1062896"/>
                  </a:lnTo>
                  <a:lnTo>
                    <a:pt x="723353" y="1058330"/>
                  </a:lnTo>
                  <a:lnTo>
                    <a:pt x="724367" y="1059091"/>
                  </a:lnTo>
                  <a:lnTo>
                    <a:pt x="719167" y="1059091"/>
                  </a:lnTo>
                  <a:lnTo>
                    <a:pt x="719167" y="1046914"/>
                  </a:lnTo>
                  <a:lnTo>
                    <a:pt x="720309" y="1047675"/>
                  </a:lnTo>
                  <a:lnTo>
                    <a:pt x="716503" y="1047675"/>
                  </a:lnTo>
                  <a:lnTo>
                    <a:pt x="716503" y="1043109"/>
                  </a:lnTo>
                  <a:lnTo>
                    <a:pt x="717518" y="1043870"/>
                  </a:lnTo>
                  <a:lnTo>
                    <a:pt x="712445" y="1043870"/>
                  </a:lnTo>
                  <a:lnTo>
                    <a:pt x="712445" y="1039431"/>
                  </a:lnTo>
                  <a:lnTo>
                    <a:pt x="713586" y="1040192"/>
                  </a:lnTo>
                  <a:lnTo>
                    <a:pt x="709654" y="1040192"/>
                  </a:lnTo>
                  <a:lnTo>
                    <a:pt x="709654" y="1035626"/>
                  </a:lnTo>
                  <a:lnTo>
                    <a:pt x="710796" y="1036387"/>
                  </a:lnTo>
                  <a:lnTo>
                    <a:pt x="708132" y="1036387"/>
                  </a:lnTo>
                  <a:lnTo>
                    <a:pt x="704200" y="1036387"/>
                  </a:lnTo>
                  <a:lnTo>
                    <a:pt x="704200" y="1031821"/>
                  </a:lnTo>
                  <a:lnTo>
                    <a:pt x="705342" y="1032582"/>
                  </a:lnTo>
                  <a:lnTo>
                    <a:pt x="700268" y="1032582"/>
                  </a:lnTo>
                  <a:lnTo>
                    <a:pt x="700268" y="1028142"/>
                  </a:lnTo>
                  <a:lnTo>
                    <a:pt x="701283" y="1028904"/>
                  </a:lnTo>
                  <a:lnTo>
                    <a:pt x="699888" y="1028904"/>
                  </a:lnTo>
                  <a:lnTo>
                    <a:pt x="698619" y="1028904"/>
                  </a:lnTo>
                  <a:lnTo>
                    <a:pt x="696083" y="1028904"/>
                  </a:lnTo>
                  <a:lnTo>
                    <a:pt x="696083" y="1024337"/>
                  </a:lnTo>
                  <a:lnTo>
                    <a:pt x="697224" y="1025098"/>
                  </a:lnTo>
                  <a:lnTo>
                    <a:pt x="686570" y="1025098"/>
                  </a:lnTo>
                  <a:lnTo>
                    <a:pt x="686570" y="1020659"/>
                  </a:lnTo>
                  <a:lnTo>
                    <a:pt x="687711" y="1021420"/>
                  </a:lnTo>
                  <a:lnTo>
                    <a:pt x="683906" y="1021420"/>
                  </a:lnTo>
                  <a:lnTo>
                    <a:pt x="683906" y="1013176"/>
                  </a:lnTo>
                  <a:lnTo>
                    <a:pt x="684921" y="1014063"/>
                  </a:lnTo>
                  <a:lnTo>
                    <a:pt x="677057" y="1014063"/>
                  </a:lnTo>
                  <a:lnTo>
                    <a:pt x="677057" y="1009497"/>
                  </a:lnTo>
                  <a:lnTo>
                    <a:pt x="678199" y="1010385"/>
                  </a:lnTo>
                  <a:lnTo>
                    <a:pt x="676803" y="1010385"/>
                  </a:lnTo>
                  <a:lnTo>
                    <a:pt x="671603" y="1010385"/>
                  </a:lnTo>
                  <a:lnTo>
                    <a:pt x="671603" y="1002141"/>
                  </a:lnTo>
                  <a:lnTo>
                    <a:pt x="672745" y="1002902"/>
                  </a:lnTo>
                  <a:lnTo>
                    <a:pt x="663485" y="1002902"/>
                  </a:lnTo>
                  <a:lnTo>
                    <a:pt x="663485" y="998463"/>
                  </a:lnTo>
                  <a:lnTo>
                    <a:pt x="664627" y="999224"/>
                  </a:lnTo>
                  <a:lnTo>
                    <a:pt x="659173" y="999224"/>
                  </a:lnTo>
                  <a:lnTo>
                    <a:pt x="652578" y="999224"/>
                  </a:lnTo>
                  <a:lnTo>
                    <a:pt x="652578" y="994784"/>
                  </a:lnTo>
                  <a:lnTo>
                    <a:pt x="653719" y="995545"/>
                  </a:lnTo>
                  <a:lnTo>
                    <a:pt x="651309" y="995545"/>
                  </a:lnTo>
                  <a:lnTo>
                    <a:pt x="651309" y="991106"/>
                  </a:lnTo>
                  <a:lnTo>
                    <a:pt x="652324" y="991867"/>
                  </a:lnTo>
                  <a:lnTo>
                    <a:pt x="651056" y="991867"/>
                  </a:lnTo>
                  <a:lnTo>
                    <a:pt x="647124" y="991867"/>
                  </a:lnTo>
                  <a:lnTo>
                    <a:pt x="647124" y="987428"/>
                  </a:lnTo>
                  <a:lnTo>
                    <a:pt x="648265" y="988189"/>
                  </a:lnTo>
                  <a:lnTo>
                    <a:pt x="645475" y="988189"/>
                  </a:lnTo>
                  <a:lnTo>
                    <a:pt x="643065" y="988189"/>
                  </a:lnTo>
                  <a:lnTo>
                    <a:pt x="643065" y="983876"/>
                  </a:lnTo>
                  <a:lnTo>
                    <a:pt x="644206" y="984637"/>
                  </a:lnTo>
                  <a:lnTo>
                    <a:pt x="636342" y="984637"/>
                  </a:lnTo>
                  <a:lnTo>
                    <a:pt x="636342" y="980198"/>
                  </a:lnTo>
                  <a:lnTo>
                    <a:pt x="637357" y="980959"/>
                  </a:lnTo>
                  <a:lnTo>
                    <a:pt x="633552" y="980959"/>
                  </a:lnTo>
                  <a:lnTo>
                    <a:pt x="633552" y="976520"/>
                  </a:lnTo>
                  <a:lnTo>
                    <a:pt x="634693" y="977281"/>
                  </a:lnTo>
                  <a:lnTo>
                    <a:pt x="628225" y="977281"/>
                  </a:lnTo>
                  <a:lnTo>
                    <a:pt x="628225" y="972968"/>
                  </a:lnTo>
                  <a:lnTo>
                    <a:pt x="629239" y="973729"/>
                  </a:lnTo>
                  <a:lnTo>
                    <a:pt x="622644" y="973729"/>
                  </a:lnTo>
                  <a:lnTo>
                    <a:pt x="622644" y="965739"/>
                  </a:lnTo>
                  <a:lnTo>
                    <a:pt x="623785" y="966500"/>
                  </a:lnTo>
                  <a:lnTo>
                    <a:pt x="618712" y="966500"/>
                  </a:lnTo>
                  <a:lnTo>
                    <a:pt x="618712" y="962060"/>
                  </a:lnTo>
                  <a:lnTo>
                    <a:pt x="619727" y="962821"/>
                  </a:lnTo>
                  <a:lnTo>
                    <a:pt x="618331" y="962821"/>
                  </a:lnTo>
                  <a:lnTo>
                    <a:pt x="615922" y="962821"/>
                  </a:lnTo>
                  <a:lnTo>
                    <a:pt x="615922" y="958509"/>
                  </a:lnTo>
                  <a:lnTo>
                    <a:pt x="617063" y="959270"/>
                  </a:lnTo>
                  <a:lnTo>
                    <a:pt x="614526" y="959270"/>
                  </a:lnTo>
                  <a:lnTo>
                    <a:pt x="614526" y="954831"/>
                  </a:lnTo>
                  <a:lnTo>
                    <a:pt x="615668" y="955718"/>
                  </a:lnTo>
                  <a:lnTo>
                    <a:pt x="611863" y="955718"/>
                  </a:lnTo>
                  <a:lnTo>
                    <a:pt x="611863" y="951279"/>
                  </a:lnTo>
                  <a:lnTo>
                    <a:pt x="612877" y="952040"/>
                  </a:lnTo>
                  <a:lnTo>
                    <a:pt x="611482" y="952040"/>
                  </a:lnTo>
                  <a:lnTo>
                    <a:pt x="609072" y="952040"/>
                  </a:lnTo>
                  <a:lnTo>
                    <a:pt x="609072" y="947728"/>
                  </a:lnTo>
                  <a:lnTo>
                    <a:pt x="610214" y="948489"/>
                  </a:lnTo>
                  <a:lnTo>
                    <a:pt x="606409" y="948489"/>
                  </a:lnTo>
                  <a:lnTo>
                    <a:pt x="606409" y="944176"/>
                  </a:lnTo>
                  <a:lnTo>
                    <a:pt x="607550" y="944937"/>
                  </a:lnTo>
                  <a:lnTo>
                    <a:pt x="605014" y="944937"/>
                  </a:lnTo>
                  <a:lnTo>
                    <a:pt x="605014" y="936947"/>
                  </a:lnTo>
                  <a:lnTo>
                    <a:pt x="606155" y="937708"/>
                  </a:lnTo>
                  <a:lnTo>
                    <a:pt x="604760" y="937708"/>
                  </a:lnTo>
                  <a:lnTo>
                    <a:pt x="600701" y="937708"/>
                  </a:lnTo>
                  <a:lnTo>
                    <a:pt x="595501" y="937708"/>
                  </a:lnTo>
                  <a:lnTo>
                    <a:pt x="595501" y="929844"/>
                  </a:lnTo>
                  <a:lnTo>
                    <a:pt x="596642" y="930605"/>
                  </a:lnTo>
                  <a:lnTo>
                    <a:pt x="592837" y="930605"/>
                  </a:lnTo>
                  <a:lnTo>
                    <a:pt x="592837" y="926292"/>
                  </a:lnTo>
                  <a:lnTo>
                    <a:pt x="593979" y="927053"/>
                  </a:lnTo>
                  <a:lnTo>
                    <a:pt x="591442" y="927053"/>
                  </a:lnTo>
                  <a:lnTo>
                    <a:pt x="591442" y="922614"/>
                  </a:lnTo>
                  <a:lnTo>
                    <a:pt x="592584" y="923502"/>
                  </a:lnTo>
                  <a:lnTo>
                    <a:pt x="590047" y="923502"/>
                  </a:lnTo>
                  <a:lnTo>
                    <a:pt x="590047" y="919062"/>
                  </a:lnTo>
                  <a:lnTo>
                    <a:pt x="591188" y="919950"/>
                  </a:lnTo>
                  <a:lnTo>
                    <a:pt x="587383" y="919950"/>
                  </a:lnTo>
                  <a:lnTo>
                    <a:pt x="587383" y="915511"/>
                  </a:lnTo>
                  <a:lnTo>
                    <a:pt x="588398" y="916399"/>
                  </a:lnTo>
                  <a:lnTo>
                    <a:pt x="584593" y="916399"/>
                  </a:lnTo>
                  <a:lnTo>
                    <a:pt x="584593" y="912086"/>
                  </a:lnTo>
                  <a:lnTo>
                    <a:pt x="585734" y="912847"/>
                  </a:lnTo>
                  <a:lnTo>
                    <a:pt x="581929" y="912847"/>
                  </a:lnTo>
                  <a:lnTo>
                    <a:pt x="581929" y="908535"/>
                  </a:lnTo>
                  <a:lnTo>
                    <a:pt x="583071" y="909296"/>
                  </a:lnTo>
                  <a:lnTo>
                    <a:pt x="580534" y="909296"/>
                  </a:lnTo>
                  <a:lnTo>
                    <a:pt x="580534" y="901305"/>
                  </a:lnTo>
                  <a:lnTo>
                    <a:pt x="581676" y="902066"/>
                  </a:lnTo>
                  <a:lnTo>
                    <a:pt x="579266" y="902066"/>
                  </a:lnTo>
                  <a:lnTo>
                    <a:pt x="579266" y="897754"/>
                  </a:lnTo>
                  <a:lnTo>
                    <a:pt x="580280" y="898515"/>
                  </a:lnTo>
                  <a:lnTo>
                    <a:pt x="575080" y="898515"/>
                  </a:lnTo>
                  <a:lnTo>
                    <a:pt x="575080" y="894202"/>
                  </a:lnTo>
                  <a:lnTo>
                    <a:pt x="576222" y="894963"/>
                  </a:lnTo>
                  <a:lnTo>
                    <a:pt x="574826" y="894963"/>
                  </a:lnTo>
                  <a:lnTo>
                    <a:pt x="572416" y="894963"/>
                  </a:lnTo>
                  <a:lnTo>
                    <a:pt x="572416" y="890651"/>
                  </a:lnTo>
                  <a:lnTo>
                    <a:pt x="573431" y="891539"/>
                  </a:lnTo>
                  <a:lnTo>
                    <a:pt x="572163" y="891539"/>
                  </a:lnTo>
                  <a:lnTo>
                    <a:pt x="568104" y="891539"/>
                  </a:lnTo>
                  <a:lnTo>
                    <a:pt x="562904" y="891539"/>
                  </a:lnTo>
                  <a:lnTo>
                    <a:pt x="562904" y="887226"/>
                  </a:lnTo>
                  <a:lnTo>
                    <a:pt x="563918" y="887987"/>
                  </a:lnTo>
                  <a:lnTo>
                    <a:pt x="562650" y="887987"/>
                  </a:lnTo>
                  <a:lnTo>
                    <a:pt x="558591" y="887987"/>
                  </a:lnTo>
                  <a:lnTo>
                    <a:pt x="557196" y="887987"/>
                  </a:lnTo>
                  <a:lnTo>
                    <a:pt x="554786" y="887987"/>
                  </a:lnTo>
                  <a:lnTo>
                    <a:pt x="554786" y="880250"/>
                  </a:lnTo>
                  <a:lnTo>
                    <a:pt x="555801" y="881011"/>
                  </a:lnTo>
                  <a:lnTo>
                    <a:pt x="553391" y="881011"/>
                  </a:lnTo>
                  <a:lnTo>
                    <a:pt x="553391" y="876826"/>
                  </a:lnTo>
                  <a:lnTo>
                    <a:pt x="554406" y="877587"/>
                  </a:lnTo>
                  <a:lnTo>
                    <a:pt x="550347" y="877587"/>
                  </a:lnTo>
                  <a:lnTo>
                    <a:pt x="547683" y="877587"/>
                  </a:lnTo>
                  <a:lnTo>
                    <a:pt x="545273" y="877587"/>
                  </a:lnTo>
                  <a:lnTo>
                    <a:pt x="545273" y="869850"/>
                  </a:lnTo>
                  <a:lnTo>
                    <a:pt x="546288" y="870611"/>
                  </a:lnTo>
                  <a:lnTo>
                    <a:pt x="545020" y="870611"/>
                  </a:lnTo>
                  <a:lnTo>
                    <a:pt x="542483" y="870611"/>
                  </a:lnTo>
                  <a:lnTo>
                    <a:pt x="542483" y="866425"/>
                  </a:lnTo>
                  <a:lnTo>
                    <a:pt x="543624" y="867186"/>
                  </a:lnTo>
                  <a:lnTo>
                    <a:pt x="538424" y="867186"/>
                  </a:lnTo>
                  <a:lnTo>
                    <a:pt x="538424" y="863000"/>
                  </a:lnTo>
                  <a:lnTo>
                    <a:pt x="539439" y="863761"/>
                  </a:lnTo>
                  <a:lnTo>
                    <a:pt x="535760" y="863761"/>
                  </a:lnTo>
                  <a:lnTo>
                    <a:pt x="535760" y="859576"/>
                  </a:lnTo>
                  <a:lnTo>
                    <a:pt x="536902" y="860337"/>
                  </a:lnTo>
                  <a:lnTo>
                    <a:pt x="534365" y="860337"/>
                  </a:lnTo>
                  <a:lnTo>
                    <a:pt x="534365" y="856151"/>
                  </a:lnTo>
                  <a:lnTo>
                    <a:pt x="535507" y="856912"/>
                  </a:lnTo>
                  <a:lnTo>
                    <a:pt x="532970" y="856912"/>
                  </a:lnTo>
                  <a:lnTo>
                    <a:pt x="532970" y="852727"/>
                  </a:lnTo>
                  <a:lnTo>
                    <a:pt x="534112" y="853614"/>
                  </a:lnTo>
                  <a:lnTo>
                    <a:pt x="530306" y="853614"/>
                  </a:lnTo>
                  <a:lnTo>
                    <a:pt x="530306" y="849302"/>
                  </a:lnTo>
                  <a:lnTo>
                    <a:pt x="531321" y="850190"/>
                  </a:lnTo>
                  <a:lnTo>
                    <a:pt x="528911" y="850190"/>
                  </a:lnTo>
                  <a:lnTo>
                    <a:pt x="528911" y="846004"/>
                  </a:lnTo>
                  <a:lnTo>
                    <a:pt x="530053" y="846765"/>
                  </a:lnTo>
                  <a:lnTo>
                    <a:pt x="527516" y="846765"/>
                  </a:lnTo>
                  <a:lnTo>
                    <a:pt x="527516" y="842580"/>
                  </a:lnTo>
                  <a:lnTo>
                    <a:pt x="528658" y="843341"/>
                  </a:lnTo>
                  <a:lnTo>
                    <a:pt x="523204" y="843341"/>
                  </a:lnTo>
                  <a:lnTo>
                    <a:pt x="520540" y="843341"/>
                  </a:lnTo>
                  <a:lnTo>
                    <a:pt x="515340" y="843341"/>
                  </a:lnTo>
                  <a:lnTo>
                    <a:pt x="515340" y="839282"/>
                  </a:lnTo>
                  <a:lnTo>
                    <a:pt x="516354" y="840043"/>
                  </a:lnTo>
                  <a:lnTo>
                    <a:pt x="512422" y="840043"/>
                  </a:lnTo>
                  <a:lnTo>
                    <a:pt x="508490" y="840043"/>
                  </a:lnTo>
                  <a:lnTo>
                    <a:pt x="508490" y="832559"/>
                  </a:lnTo>
                  <a:lnTo>
                    <a:pt x="509632" y="833320"/>
                  </a:lnTo>
                  <a:lnTo>
                    <a:pt x="505827" y="833320"/>
                  </a:lnTo>
                  <a:lnTo>
                    <a:pt x="505827" y="825837"/>
                  </a:lnTo>
                  <a:lnTo>
                    <a:pt x="506842" y="826598"/>
                  </a:lnTo>
                  <a:lnTo>
                    <a:pt x="505573" y="826598"/>
                  </a:lnTo>
                  <a:lnTo>
                    <a:pt x="501768" y="826598"/>
                  </a:lnTo>
                  <a:lnTo>
                    <a:pt x="501768" y="822539"/>
                  </a:lnTo>
                  <a:lnTo>
                    <a:pt x="502910" y="823300"/>
                  </a:lnTo>
                  <a:lnTo>
                    <a:pt x="500373" y="823300"/>
                  </a:lnTo>
                  <a:lnTo>
                    <a:pt x="500373" y="819242"/>
                  </a:lnTo>
                  <a:lnTo>
                    <a:pt x="501514" y="820003"/>
                  </a:lnTo>
                  <a:lnTo>
                    <a:pt x="496314" y="820003"/>
                  </a:lnTo>
                  <a:lnTo>
                    <a:pt x="496314" y="815944"/>
                  </a:lnTo>
                  <a:lnTo>
                    <a:pt x="497329" y="816705"/>
                  </a:lnTo>
                  <a:lnTo>
                    <a:pt x="494919" y="816705"/>
                  </a:lnTo>
                  <a:lnTo>
                    <a:pt x="494919" y="812646"/>
                  </a:lnTo>
                  <a:lnTo>
                    <a:pt x="496060" y="813407"/>
                  </a:lnTo>
                  <a:lnTo>
                    <a:pt x="493524" y="813407"/>
                  </a:lnTo>
                  <a:lnTo>
                    <a:pt x="493524" y="809348"/>
                  </a:lnTo>
                  <a:lnTo>
                    <a:pt x="494665" y="810109"/>
                  </a:lnTo>
                  <a:lnTo>
                    <a:pt x="488196" y="810109"/>
                  </a:lnTo>
                  <a:lnTo>
                    <a:pt x="488196" y="805924"/>
                  </a:lnTo>
                  <a:lnTo>
                    <a:pt x="489211" y="806812"/>
                  </a:lnTo>
                  <a:lnTo>
                    <a:pt x="485406" y="806812"/>
                  </a:lnTo>
                  <a:lnTo>
                    <a:pt x="485406" y="802753"/>
                  </a:lnTo>
                  <a:lnTo>
                    <a:pt x="486548" y="803514"/>
                  </a:lnTo>
                  <a:lnTo>
                    <a:pt x="484011" y="803514"/>
                  </a:lnTo>
                  <a:lnTo>
                    <a:pt x="484011" y="799328"/>
                  </a:lnTo>
                  <a:lnTo>
                    <a:pt x="485152" y="800089"/>
                  </a:lnTo>
                  <a:lnTo>
                    <a:pt x="474498" y="800089"/>
                  </a:lnTo>
                  <a:lnTo>
                    <a:pt x="474498" y="796030"/>
                  </a:lnTo>
                  <a:lnTo>
                    <a:pt x="475640" y="796791"/>
                  </a:lnTo>
                  <a:lnTo>
                    <a:pt x="470439" y="796791"/>
                  </a:lnTo>
                  <a:lnTo>
                    <a:pt x="470439" y="792733"/>
                  </a:lnTo>
                  <a:lnTo>
                    <a:pt x="471581" y="793620"/>
                  </a:lnTo>
                  <a:lnTo>
                    <a:pt x="467649" y="793620"/>
                  </a:lnTo>
                  <a:lnTo>
                    <a:pt x="467649" y="789435"/>
                  </a:lnTo>
                  <a:lnTo>
                    <a:pt x="468790" y="790196"/>
                  </a:lnTo>
                  <a:lnTo>
                    <a:pt x="467522" y="790196"/>
                  </a:lnTo>
                  <a:lnTo>
                    <a:pt x="465112" y="790196"/>
                  </a:lnTo>
                  <a:lnTo>
                    <a:pt x="465112" y="786137"/>
                  </a:lnTo>
                  <a:lnTo>
                    <a:pt x="466127" y="786898"/>
                  </a:lnTo>
                  <a:lnTo>
                    <a:pt x="463717" y="786898"/>
                  </a:lnTo>
                  <a:lnTo>
                    <a:pt x="463717" y="782839"/>
                  </a:lnTo>
                  <a:lnTo>
                    <a:pt x="464732" y="783600"/>
                  </a:lnTo>
                  <a:lnTo>
                    <a:pt x="458263" y="783600"/>
                  </a:lnTo>
                  <a:lnTo>
                    <a:pt x="458263" y="779542"/>
                  </a:lnTo>
                  <a:lnTo>
                    <a:pt x="459278" y="780303"/>
                  </a:lnTo>
                  <a:lnTo>
                    <a:pt x="454204" y="780303"/>
                  </a:lnTo>
                  <a:lnTo>
                    <a:pt x="454204" y="776244"/>
                  </a:lnTo>
                  <a:lnTo>
                    <a:pt x="455346" y="777005"/>
                  </a:lnTo>
                  <a:lnTo>
                    <a:pt x="452809" y="777005"/>
                  </a:lnTo>
                  <a:lnTo>
                    <a:pt x="452809" y="772946"/>
                  </a:lnTo>
                  <a:lnTo>
                    <a:pt x="453950" y="773707"/>
                  </a:lnTo>
                  <a:lnTo>
                    <a:pt x="452555" y="773707"/>
                  </a:lnTo>
                  <a:lnTo>
                    <a:pt x="447355" y="773707"/>
                  </a:lnTo>
                  <a:lnTo>
                    <a:pt x="447355" y="763180"/>
                  </a:lnTo>
                  <a:lnTo>
                    <a:pt x="448496" y="763941"/>
                  </a:lnTo>
                  <a:lnTo>
                    <a:pt x="443296" y="763941"/>
                  </a:lnTo>
                  <a:lnTo>
                    <a:pt x="443296" y="749988"/>
                  </a:lnTo>
                  <a:lnTo>
                    <a:pt x="444438" y="750749"/>
                  </a:lnTo>
                  <a:lnTo>
                    <a:pt x="440633" y="750749"/>
                  </a:lnTo>
                  <a:lnTo>
                    <a:pt x="440633" y="746691"/>
                  </a:lnTo>
                  <a:lnTo>
                    <a:pt x="441647" y="747452"/>
                  </a:lnTo>
                  <a:lnTo>
                    <a:pt x="438984" y="747452"/>
                  </a:lnTo>
                  <a:lnTo>
                    <a:pt x="428329" y="747452"/>
                  </a:lnTo>
                  <a:lnTo>
                    <a:pt x="428329" y="743393"/>
                  </a:lnTo>
                  <a:lnTo>
                    <a:pt x="429471" y="744281"/>
                  </a:lnTo>
                  <a:lnTo>
                    <a:pt x="424271" y="744281"/>
                  </a:lnTo>
                  <a:lnTo>
                    <a:pt x="424271" y="740095"/>
                  </a:lnTo>
                  <a:lnTo>
                    <a:pt x="425285" y="740983"/>
                  </a:lnTo>
                  <a:lnTo>
                    <a:pt x="420085" y="740983"/>
                  </a:lnTo>
                  <a:lnTo>
                    <a:pt x="420085" y="736924"/>
                  </a:lnTo>
                  <a:lnTo>
                    <a:pt x="421226" y="737685"/>
                  </a:lnTo>
                  <a:lnTo>
                    <a:pt x="416153" y="737685"/>
                  </a:lnTo>
                  <a:lnTo>
                    <a:pt x="416153" y="730329"/>
                  </a:lnTo>
                  <a:lnTo>
                    <a:pt x="417168" y="731090"/>
                  </a:lnTo>
                  <a:lnTo>
                    <a:pt x="411967" y="731090"/>
                  </a:lnTo>
                  <a:lnTo>
                    <a:pt x="411967" y="723733"/>
                  </a:lnTo>
                  <a:lnTo>
                    <a:pt x="413109" y="724494"/>
                  </a:lnTo>
                  <a:lnTo>
                    <a:pt x="408035" y="724494"/>
                  </a:lnTo>
                  <a:lnTo>
                    <a:pt x="408035" y="717138"/>
                  </a:lnTo>
                  <a:lnTo>
                    <a:pt x="409050" y="718025"/>
                  </a:lnTo>
                  <a:lnTo>
                    <a:pt x="403850" y="718025"/>
                  </a:lnTo>
                  <a:lnTo>
                    <a:pt x="403850" y="710669"/>
                  </a:lnTo>
                  <a:lnTo>
                    <a:pt x="404991" y="711430"/>
                  </a:lnTo>
                  <a:lnTo>
                    <a:pt x="402455" y="711430"/>
                  </a:lnTo>
                  <a:lnTo>
                    <a:pt x="402455" y="707371"/>
                  </a:lnTo>
                  <a:lnTo>
                    <a:pt x="403596" y="708132"/>
                  </a:lnTo>
                  <a:lnTo>
                    <a:pt x="399791" y="708132"/>
                  </a:lnTo>
                  <a:lnTo>
                    <a:pt x="399791" y="704073"/>
                  </a:lnTo>
                  <a:lnTo>
                    <a:pt x="400806" y="704834"/>
                  </a:lnTo>
                  <a:lnTo>
                    <a:pt x="397001" y="704834"/>
                  </a:lnTo>
                  <a:lnTo>
                    <a:pt x="397001" y="700902"/>
                  </a:lnTo>
                  <a:lnTo>
                    <a:pt x="398142" y="701663"/>
                  </a:lnTo>
                  <a:lnTo>
                    <a:pt x="394337" y="701663"/>
                  </a:lnTo>
                  <a:lnTo>
                    <a:pt x="394337" y="697605"/>
                  </a:lnTo>
                  <a:lnTo>
                    <a:pt x="395478" y="698366"/>
                  </a:lnTo>
                  <a:lnTo>
                    <a:pt x="392942" y="698366"/>
                  </a:lnTo>
                  <a:lnTo>
                    <a:pt x="392942" y="694307"/>
                  </a:lnTo>
                  <a:lnTo>
                    <a:pt x="394083" y="695068"/>
                  </a:lnTo>
                  <a:lnTo>
                    <a:pt x="391673" y="695068"/>
                  </a:lnTo>
                  <a:lnTo>
                    <a:pt x="391673" y="691009"/>
                  </a:lnTo>
                  <a:lnTo>
                    <a:pt x="392688" y="691770"/>
                  </a:lnTo>
                  <a:lnTo>
                    <a:pt x="390278" y="691770"/>
                  </a:lnTo>
                  <a:lnTo>
                    <a:pt x="390278" y="684414"/>
                  </a:lnTo>
                  <a:lnTo>
                    <a:pt x="391420" y="685175"/>
                  </a:lnTo>
                  <a:lnTo>
                    <a:pt x="388883" y="685175"/>
                  </a:lnTo>
                  <a:lnTo>
                    <a:pt x="388883" y="681116"/>
                  </a:lnTo>
                  <a:lnTo>
                    <a:pt x="390024" y="682004"/>
                  </a:lnTo>
                  <a:lnTo>
                    <a:pt x="386093" y="682004"/>
                  </a:lnTo>
                  <a:lnTo>
                    <a:pt x="386093" y="677818"/>
                  </a:lnTo>
                  <a:lnTo>
                    <a:pt x="387234" y="678706"/>
                  </a:lnTo>
                  <a:lnTo>
                    <a:pt x="384824" y="678706"/>
                  </a:lnTo>
                  <a:lnTo>
                    <a:pt x="384824" y="674647"/>
                  </a:lnTo>
                  <a:lnTo>
                    <a:pt x="385966" y="675408"/>
                  </a:lnTo>
                  <a:lnTo>
                    <a:pt x="382161" y="675408"/>
                  </a:lnTo>
                  <a:lnTo>
                    <a:pt x="382161" y="668052"/>
                  </a:lnTo>
                  <a:lnTo>
                    <a:pt x="383175" y="668813"/>
                  </a:lnTo>
                  <a:lnTo>
                    <a:pt x="379116" y="668813"/>
                  </a:lnTo>
                  <a:lnTo>
                    <a:pt x="375311" y="668813"/>
                  </a:lnTo>
                  <a:lnTo>
                    <a:pt x="375311" y="664754"/>
                  </a:lnTo>
                  <a:lnTo>
                    <a:pt x="376326" y="665515"/>
                  </a:lnTo>
                  <a:lnTo>
                    <a:pt x="367194" y="665515"/>
                  </a:lnTo>
                  <a:lnTo>
                    <a:pt x="367194" y="658285"/>
                  </a:lnTo>
                  <a:lnTo>
                    <a:pt x="368208" y="659046"/>
                  </a:lnTo>
                  <a:lnTo>
                    <a:pt x="365799" y="659046"/>
                  </a:lnTo>
                  <a:lnTo>
                    <a:pt x="365799" y="654987"/>
                  </a:lnTo>
                  <a:lnTo>
                    <a:pt x="366940" y="655748"/>
                  </a:lnTo>
                  <a:lnTo>
                    <a:pt x="364403" y="655748"/>
                  </a:lnTo>
                  <a:lnTo>
                    <a:pt x="364403" y="648392"/>
                  </a:lnTo>
                  <a:lnTo>
                    <a:pt x="365545" y="649153"/>
                  </a:lnTo>
                  <a:lnTo>
                    <a:pt x="361740" y="649153"/>
                  </a:lnTo>
                  <a:lnTo>
                    <a:pt x="361740" y="645221"/>
                  </a:lnTo>
                  <a:lnTo>
                    <a:pt x="362754" y="645982"/>
                  </a:lnTo>
                  <a:lnTo>
                    <a:pt x="360345" y="645982"/>
                  </a:lnTo>
                  <a:lnTo>
                    <a:pt x="360345" y="635328"/>
                  </a:lnTo>
                  <a:lnTo>
                    <a:pt x="361486" y="636089"/>
                  </a:lnTo>
                  <a:lnTo>
                    <a:pt x="357681" y="636089"/>
                  </a:lnTo>
                  <a:lnTo>
                    <a:pt x="357681" y="632030"/>
                  </a:lnTo>
                  <a:lnTo>
                    <a:pt x="358696" y="632791"/>
                  </a:lnTo>
                  <a:lnTo>
                    <a:pt x="356286" y="632791"/>
                  </a:lnTo>
                  <a:lnTo>
                    <a:pt x="356286" y="628732"/>
                  </a:lnTo>
                  <a:lnTo>
                    <a:pt x="357427" y="629620"/>
                  </a:lnTo>
                  <a:lnTo>
                    <a:pt x="354891" y="629620"/>
                  </a:lnTo>
                  <a:lnTo>
                    <a:pt x="354891" y="622263"/>
                  </a:lnTo>
                  <a:lnTo>
                    <a:pt x="356032" y="623024"/>
                  </a:lnTo>
                  <a:lnTo>
                    <a:pt x="352227" y="623024"/>
                  </a:lnTo>
                  <a:lnTo>
                    <a:pt x="352227" y="615668"/>
                  </a:lnTo>
                  <a:lnTo>
                    <a:pt x="353242" y="616556"/>
                  </a:lnTo>
                  <a:lnTo>
                    <a:pt x="349563" y="616556"/>
                  </a:lnTo>
                  <a:lnTo>
                    <a:pt x="349563" y="612497"/>
                  </a:lnTo>
                  <a:lnTo>
                    <a:pt x="350578" y="613258"/>
                  </a:lnTo>
                  <a:lnTo>
                    <a:pt x="346773" y="613258"/>
                  </a:lnTo>
                  <a:lnTo>
                    <a:pt x="346773" y="605901"/>
                  </a:lnTo>
                  <a:lnTo>
                    <a:pt x="347915" y="606789"/>
                  </a:lnTo>
                  <a:lnTo>
                    <a:pt x="346519" y="606789"/>
                  </a:lnTo>
                  <a:lnTo>
                    <a:pt x="341319" y="606789"/>
                  </a:lnTo>
                  <a:lnTo>
                    <a:pt x="341319" y="602730"/>
                  </a:lnTo>
                  <a:lnTo>
                    <a:pt x="342461" y="603491"/>
                  </a:lnTo>
                  <a:lnTo>
                    <a:pt x="339924" y="603491"/>
                  </a:lnTo>
                  <a:lnTo>
                    <a:pt x="339924" y="599433"/>
                  </a:lnTo>
                  <a:lnTo>
                    <a:pt x="341065" y="600194"/>
                  </a:lnTo>
                  <a:lnTo>
                    <a:pt x="337260" y="600194"/>
                  </a:lnTo>
                  <a:lnTo>
                    <a:pt x="337260" y="592964"/>
                  </a:lnTo>
                  <a:lnTo>
                    <a:pt x="338402" y="593725"/>
                  </a:lnTo>
                  <a:lnTo>
                    <a:pt x="334597" y="593725"/>
                  </a:lnTo>
                  <a:lnTo>
                    <a:pt x="334597" y="589793"/>
                  </a:lnTo>
                  <a:lnTo>
                    <a:pt x="335611" y="590554"/>
                  </a:lnTo>
                  <a:lnTo>
                    <a:pt x="333201" y="590554"/>
                  </a:lnTo>
                  <a:lnTo>
                    <a:pt x="333201" y="586495"/>
                  </a:lnTo>
                  <a:lnTo>
                    <a:pt x="334343" y="587256"/>
                  </a:lnTo>
                  <a:lnTo>
                    <a:pt x="331806" y="587256"/>
                  </a:lnTo>
                  <a:lnTo>
                    <a:pt x="331806" y="579900"/>
                  </a:lnTo>
                  <a:lnTo>
                    <a:pt x="332948" y="580788"/>
                  </a:lnTo>
                  <a:lnTo>
                    <a:pt x="330411" y="580788"/>
                  </a:lnTo>
                  <a:lnTo>
                    <a:pt x="330411" y="576729"/>
                  </a:lnTo>
                  <a:lnTo>
                    <a:pt x="331552" y="577490"/>
                  </a:lnTo>
                  <a:lnTo>
                    <a:pt x="329016" y="577490"/>
                  </a:lnTo>
                  <a:lnTo>
                    <a:pt x="329016" y="573558"/>
                  </a:lnTo>
                  <a:lnTo>
                    <a:pt x="330157" y="574319"/>
                  </a:lnTo>
                  <a:lnTo>
                    <a:pt x="326479" y="574319"/>
                  </a:lnTo>
                  <a:lnTo>
                    <a:pt x="326479" y="570260"/>
                  </a:lnTo>
                  <a:lnTo>
                    <a:pt x="327494" y="571021"/>
                  </a:lnTo>
                  <a:lnTo>
                    <a:pt x="325084" y="571021"/>
                  </a:lnTo>
                  <a:lnTo>
                    <a:pt x="325084" y="567089"/>
                  </a:lnTo>
                  <a:lnTo>
                    <a:pt x="326099" y="567850"/>
                  </a:lnTo>
                  <a:lnTo>
                    <a:pt x="320898" y="567850"/>
                  </a:lnTo>
                  <a:lnTo>
                    <a:pt x="320898" y="563791"/>
                  </a:lnTo>
                  <a:lnTo>
                    <a:pt x="322040" y="564552"/>
                  </a:lnTo>
                  <a:lnTo>
                    <a:pt x="319630" y="564552"/>
                  </a:lnTo>
                  <a:lnTo>
                    <a:pt x="319630" y="557196"/>
                  </a:lnTo>
                  <a:lnTo>
                    <a:pt x="320645" y="558084"/>
                  </a:lnTo>
                  <a:lnTo>
                    <a:pt x="316839" y="558084"/>
                  </a:lnTo>
                  <a:lnTo>
                    <a:pt x="316839" y="554025"/>
                  </a:lnTo>
                  <a:lnTo>
                    <a:pt x="317981" y="554786"/>
                  </a:lnTo>
                  <a:lnTo>
                    <a:pt x="315444" y="554786"/>
                  </a:lnTo>
                  <a:lnTo>
                    <a:pt x="315444" y="550727"/>
                  </a:lnTo>
                  <a:lnTo>
                    <a:pt x="316586" y="551488"/>
                  </a:lnTo>
                  <a:lnTo>
                    <a:pt x="312781" y="551488"/>
                  </a:lnTo>
                  <a:lnTo>
                    <a:pt x="312781" y="541088"/>
                  </a:lnTo>
                  <a:lnTo>
                    <a:pt x="313922" y="541849"/>
                  </a:lnTo>
                  <a:lnTo>
                    <a:pt x="311512" y="541849"/>
                  </a:lnTo>
                  <a:lnTo>
                    <a:pt x="311512" y="534492"/>
                  </a:lnTo>
                  <a:lnTo>
                    <a:pt x="312527" y="535380"/>
                  </a:lnTo>
                  <a:lnTo>
                    <a:pt x="310117" y="535380"/>
                  </a:lnTo>
                  <a:lnTo>
                    <a:pt x="310117" y="531321"/>
                  </a:lnTo>
                  <a:lnTo>
                    <a:pt x="311132" y="532082"/>
                  </a:lnTo>
                  <a:lnTo>
                    <a:pt x="308722" y="532082"/>
                  </a:lnTo>
                  <a:lnTo>
                    <a:pt x="308722" y="524726"/>
                  </a:lnTo>
                  <a:lnTo>
                    <a:pt x="309863" y="525613"/>
                  </a:lnTo>
                  <a:lnTo>
                    <a:pt x="307327" y="525613"/>
                  </a:lnTo>
                  <a:lnTo>
                    <a:pt x="307327" y="521555"/>
                  </a:lnTo>
                  <a:lnTo>
                    <a:pt x="308468" y="522316"/>
                  </a:lnTo>
                  <a:lnTo>
                    <a:pt x="304663" y="522316"/>
                  </a:lnTo>
                  <a:lnTo>
                    <a:pt x="304663" y="515086"/>
                  </a:lnTo>
                  <a:lnTo>
                    <a:pt x="305678" y="515847"/>
                  </a:lnTo>
                  <a:lnTo>
                    <a:pt x="301999" y="515847"/>
                  </a:lnTo>
                  <a:lnTo>
                    <a:pt x="301999" y="511788"/>
                  </a:lnTo>
                  <a:lnTo>
                    <a:pt x="303014" y="512549"/>
                  </a:lnTo>
                  <a:lnTo>
                    <a:pt x="300604" y="512549"/>
                  </a:lnTo>
                  <a:lnTo>
                    <a:pt x="300604" y="508617"/>
                  </a:lnTo>
                  <a:lnTo>
                    <a:pt x="301619" y="509378"/>
                  </a:lnTo>
                  <a:lnTo>
                    <a:pt x="297814" y="509378"/>
                  </a:lnTo>
                  <a:lnTo>
                    <a:pt x="297814" y="505319"/>
                  </a:lnTo>
                  <a:lnTo>
                    <a:pt x="298955" y="506080"/>
                  </a:lnTo>
                  <a:lnTo>
                    <a:pt x="296165" y="506080"/>
                  </a:lnTo>
                  <a:lnTo>
                    <a:pt x="291091" y="506080"/>
                  </a:lnTo>
                  <a:lnTo>
                    <a:pt x="291091" y="502022"/>
                  </a:lnTo>
                  <a:lnTo>
                    <a:pt x="292233" y="502910"/>
                  </a:lnTo>
                  <a:lnTo>
                    <a:pt x="288301" y="502910"/>
                  </a:lnTo>
                  <a:lnTo>
                    <a:pt x="288301" y="498851"/>
                  </a:lnTo>
                  <a:lnTo>
                    <a:pt x="289443" y="499612"/>
                  </a:lnTo>
                  <a:lnTo>
                    <a:pt x="287033" y="499612"/>
                  </a:lnTo>
                  <a:lnTo>
                    <a:pt x="287033" y="492382"/>
                  </a:lnTo>
                  <a:lnTo>
                    <a:pt x="288047" y="493143"/>
                  </a:lnTo>
                  <a:lnTo>
                    <a:pt x="282847" y="493143"/>
                  </a:lnTo>
                  <a:lnTo>
                    <a:pt x="282847" y="489084"/>
                  </a:lnTo>
                  <a:lnTo>
                    <a:pt x="283989" y="489972"/>
                  </a:lnTo>
                  <a:lnTo>
                    <a:pt x="281198" y="489972"/>
                  </a:lnTo>
                  <a:lnTo>
                    <a:pt x="276125" y="489972"/>
                  </a:lnTo>
                  <a:lnTo>
                    <a:pt x="276125" y="479445"/>
                  </a:lnTo>
                  <a:lnTo>
                    <a:pt x="277266" y="480206"/>
                  </a:lnTo>
                  <a:lnTo>
                    <a:pt x="271939" y="480206"/>
                  </a:lnTo>
                  <a:lnTo>
                    <a:pt x="271939" y="476147"/>
                  </a:lnTo>
                  <a:lnTo>
                    <a:pt x="273081" y="477035"/>
                  </a:lnTo>
                  <a:lnTo>
                    <a:pt x="269275" y="477035"/>
                  </a:lnTo>
                  <a:lnTo>
                    <a:pt x="269275" y="472976"/>
                  </a:lnTo>
                  <a:lnTo>
                    <a:pt x="270417" y="473737"/>
                  </a:lnTo>
                  <a:lnTo>
                    <a:pt x="265217" y="473737"/>
                  </a:lnTo>
                  <a:lnTo>
                    <a:pt x="265217" y="466507"/>
                  </a:lnTo>
                  <a:lnTo>
                    <a:pt x="266358" y="467395"/>
                  </a:lnTo>
                  <a:lnTo>
                    <a:pt x="263821" y="467395"/>
                  </a:lnTo>
                  <a:lnTo>
                    <a:pt x="263821" y="463336"/>
                  </a:lnTo>
                  <a:lnTo>
                    <a:pt x="264963" y="464097"/>
                  </a:lnTo>
                  <a:lnTo>
                    <a:pt x="261158" y="464097"/>
                  </a:lnTo>
                  <a:lnTo>
                    <a:pt x="261158" y="456868"/>
                  </a:lnTo>
                  <a:lnTo>
                    <a:pt x="262173" y="457756"/>
                  </a:lnTo>
                  <a:lnTo>
                    <a:pt x="259763" y="457756"/>
                  </a:lnTo>
                  <a:lnTo>
                    <a:pt x="259763" y="453697"/>
                  </a:lnTo>
                  <a:lnTo>
                    <a:pt x="260904" y="454458"/>
                  </a:lnTo>
                  <a:lnTo>
                    <a:pt x="255704" y="454458"/>
                  </a:lnTo>
                  <a:lnTo>
                    <a:pt x="255704" y="447228"/>
                  </a:lnTo>
                  <a:lnTo>
                    <a:pt x="256845" y="447989"/>
                  </a:lnTo>
                  <a:lnTo>
                    <a:pt x="247586" y="447989"/>
                  </a:lnTo>
                  <a:lnTo>
                    <a:pt x="247586" y="444057"/>
                  </a:lnTo>
                  <a:lnTo>
                    <a:pt x="248601" y="444818"/>
                  </a:lnTo>
                  <a:lnTo>
                    <a:pt x="240737" y="444818"/>
                  </a:lnTo>
                  <a:lnTo>
                    <a:pt x="240737" y="440886"/>
                  </a:lnTo>
                  <a:lnTo>
                    <a:pt x="241879" y="441647"/>
                  </a:lnTo>
                  <a:lnTo>
                    <a:pt x="237693" y="441647"/>
                  </a:lnTo>
                  <a:lnTo>
                    <a:pt x="233888" y="441647"/>
                  </a:lnTo>
                  <a:lnTo>
                    <a:pt x="233888" y="437588"/>
                  </a:lnTo>
                  <a:lnTo>
                    <a:pt x="235029" y="438349"/>
                  </a:lnTo>
                  <a:lnTo>
                    <a:pt x="232619" y="438349"/>
                  </a:lnTo>
                  <a:lnTo>
                    <a:pt x="232619" y="434417"/>
                  </a:lnTo>
                  <a:lnTo>
                    <a:pt x="233761" y="435178"/>
                  </a:lnTo>
                  <a:lnTo>
                    <a:pt x="229956" y="435178"/>
                  </a:lnTo>
                  <a:lnTo>
                    <a:pt x="229956" y="428076"/>
                  </a:lnTo>
                  <a:lnTo>
                    <a:pt x="230971" y="428837"/>
                  </a:lnTo>
                  <a:lnTo>
                    <a:pt x="228561" y="428837"/>
                  </a:lnTo>
                  <a:lnTo>
                    <a:pt x="228561" y="421607"/>
                  </a:lnTo>
                  <a:lnTo>
                    <a:pt x="229575" y="422368"/>
                  </a:lnTo>
                  <a:lnTo>
                    <a:pt x="227165" y="422368"/>
                  </a:lnTo>
                  <a:lnTo>
                    <a:pt x="227165" y="418436"/>
                  </a:lnTo>
                  <a:lnTo>
                    <a:pt x="228307" y="419197"/>
                  </a:lnTo>
                  <a:lnTo>
                    <a:pt x="221711" y="419197"/>
                  </a:lnTo>
                  <a:lnTo>
                    <a:pt x="221711" y="408796"/>
                  </a:lnTo>
                  <a:lnTo>
                    <a:pt x="222726" y="409557"/>
                  </a:lnTo>
                  <a:lnTo>
                    <a:pt x="217399" y="409557"/>
                  </a:lnTo>
                  <a:lnTo>
                    <a:pt x="213594" y="409557"/>
                  </a:lnTo>
                  <a:lnTo>
                    <a:pt x="213594" y="405499"/>
                  </a:lnTo>
                  <a:lnTo>
                    <a:pt x="214609" y="406260"/>
                  </a:lnTo>
                  <a:lnTo>
                    <a:pt x="212199" y="406260"/>
                  </a:lnTo>
                  <a:lnTo>
                    <a:pt x="212199" y="402328"/>
                  </a:lnTo>
                  <a:lnTo>
                    <a:pt x="213340" y="403216"/>
                  </a:lnTo>
                  <a:lnTo>
                    <a:pt x="209535" y="403216"/>
                  </a:lnTo>
                  <a:lnTo>
                    <a:pt x="209535" y="399157"/>
                  </a:lnTo>
                  <a:lnTo>
                    <a:pt x="210677" y="399918"/>
                  </a:lnTo>
                  <a:lnTo>
                    <a:pt x="208140" y="399918"/>
                  </a:lnTo>
                  <a:lnTo>
                    <a:pt x="208140" y="395986"/>
                  </a:lnTo>
                  <a:lnTo>
                    <a:pt x="209281" y="396747"/>
                  </a:lnTo>
                  <a:lnTo>
                    <a:pt x="206745" y="396747"/>
                  </a:lnTo>
                  <a:lnTo>
                    <a:pt x="206745" y="392688"/>
                  </a:lnTo>
                  <a:lnTo>
                    <a:pt x="207886" y="393576"/>
                  </a:lnTo>
                  <a:lnTo>
                    <a:pt x="205476" y="393576"/>
                  </a:lnTo>
                  <a:lnTo>
                    <a:pt x="205476" y="389517"/>
                  </a:lnTo>
                  <a:lnTo>
                    <a:pt x="206491" y="390278"/>
                  </a:lnTo>
                  <a:lnTo>
                    <a:pt x="204081" y="390278"/>
                  </a:lnTo>
                  <a:lnTo>
                    <a:pt x="204081" y="379877"/>
                  </a:lnTo>
                  <a:lnTo>
                    <a:pt x="205096" y="380765"/>
                  </a:lnTo>
                  <a:lnTo>
                    <a:pt x="202686" y="380765"/>
                  </a:lnTo>
                  <a:lnTo>
                    <a:pt x="202686" y="373536"/>
                  </a:lnTo>
                  <a:lnTo>
                    <a:pt x="203827" y="374297"/>
                  </a:lnTo>
                  <a:lnTo>
                    <a:pt x="199895" y="374297"/>
                  </a:lnTo>
                  <a:lnTo>
                    <a:pt x="199895" y="363896"/>
                  </a:lnTo>
                  <a:lnTo>
                    <a:pt x="201037" y="364657"/>
                  </a:lnTo>
                  <a:lnTo>
                    <a:pt x="197359" y="364657"/>
                  </a:lnTo>
                  <a:lnTo>
                    <a:pt x="197359" y="360725"/>
                  </a:lnTo>
                  <a:lnTo>
                    <a:pt x="198373" y="361486"/>
                  </a:lnTo>
                  <a:lnTo>
                    <a:pt x="195964" y="361486"/>
                  </a:lnTo>
                  <a:lnTo>
                    <a:pt x="195964" y="354383"/>
                  </a:lnTo>
                  <a:lnTo>
                    <a:pt x="196978" y="355144"/>
                  </a:lnTo>
                  <a:lnTo>
                    <a:pt x="193173" y="355144"/>
                  </a:lnTo>
                  <a:lnTo>
                    <a:pt x="193173" y="351085"/>
                  </a:lnTo>
                  <a:lnTo>
                    <a:pt x="194315" y="351973"/>
                  </a:lnTo>
                  <a:lnTo>
                    <a:pt x="191778" y="351973"/>
                  </a:lnTo>
                  <a:lnTo>
                    <a:pt x="191778" y="341573"/>
                  </a:lnTo>
                  <a:lnTo>
                    <a:pt x="192919" y="342334"/>
                  </a:lnTo>
                  <a:lnTo>
                    <a:pt x="189114" y="342334"/>
                  </a:lnTo>
                  <a:lnTo>
                    <a:pt x="189114" y="338402"/>
                  </a:lnTo>
                  <a:lnTo>
                    <a:pt x="190129" y="339163"/>
                  </a:lnTo>
                  <a:lnTo>
                    <a:pt x="187719" y="339163"/>
                  </a:lnTo>
                  <a:lnTo>
                    <a:pt x="187719" y="335231"/>
                  </a:lnTo>
                  <a:lnTo>
                    <a:pt x="188861" y="335992"/>
                  </a:lnTo>
                  <a:lnTo>
                    <a:pt x="186324" y="335992"/>
                  </a:lnTo>
                  <a:lnTo>
                    <a:pt x="186324" y="328762"/>
                  </a:lnTo>
                  <a:lnTo>
                    <a:pt x="187465" y="329523"/>
                  </a:lnTo>
                  <a:lnTo>
                    <a:pt x="185056" y="329523"/>
                  </a:lnTo>
                  <a:lnTo>
                    <a:pt x="185056" y="325591"/>
                  </a:lnTo>
                  <a:lnTo>
                    <a:pt x="186197" y="326352"/>
                  </a:lnTo>
                  <a:lnTo>
                    <a:pt x="182265" y="326352"/>
                  </a:lnTo>
                  <a:lnTo>
                    <a:pt x="182265" y="322420"/>
                  </a:lnTo>
                  <a:lnTo>
                    <a:pt x="183407" y="323181"/>
                  </a:lnTo>
                  <a:lnTo>
                    <a:pt x="180997" y="323181"/>
                  </a:lnTo>
                  <a:lnTo>
                    <a:pt x="180997" y="315952"/>
                  </a:lnTo>
                  <a:lnTo>
                    <a:pt x="182011" y="316839"/>
                  </a:lnTo>
                  <a:lnTo>
                    <a:pt x="179602" y="316839"/>
                  </a:lnTo>
                  <a:lnTo>
                    <a:pt x="179602" y="309610"/>
                  </a:lnTo>
                  <a:lnTo>
                    <a:pt x="180616" y="310371"/>
                  </a:lnTo>
                  <a:lnTo>
                    <a:pt x="178206" y="310371"/>
                  </a:lnTo>
                  <a:lnTo>
                    <a:pt x="178206" y="303268"/>
                  </a:lnTo>
                  <a:lnTo>
                    <a:pt x="179348" y="304029"/>
                  </a:lnTo>
                  <a:lnTo>
                    <a:pt x="176811" y="304029"/>
                  </a:lnTo>
                  <a:lnTo>
                    <a:pt x="176811" y="299970"/>
                  </a:lnTo>
                  <a:lnTo>
                    <a:pt x="177953" y="300731"/>
                  </a:lnTo>
                  <a:lnTo>
                    <a:pt x="174148" y="300731"/>
                  </a:lnTo>
                  <a:lnTo>
                    <a:pt x="174148" y="296799"/>
                  </a:lnTo>
                  <a:lnTo>
                    <a:pt x="175289" y="297560"/>
                  </a:lnTo>
                  <a:lnTo>
                    <a:pt x="172879" y="297560"/>
                  </a:lnTo>
                  <a:lnTo>
                    <a:pt x="172879" y="290457"/>
                  </a:lnTo>
                  <a:lnTo>
                    <a:pt x="173894" y="291218"/>
                  </a:lnTo>
                  <a:lnTo>
                    <a:pt x="171484" y="291218"/>
                  </a:lnTo>
                  <a:lnTo>
                    <a:pt x="171484" y="287159"/>
                  </a:lnTo>
                  <a:lnTo>
                    <a:pt x="172499" y="288047"/>
                  </a:lnTo>
                  <a:lnTo>
                    <a:pt x="170089" y="288047"/>
                  </a:lnTo>
                  <a:lnTo>
                    <a:pt x="170089" y="280818"/>
                  </a:lnTo>
                  <a:lnTo>
                    <a:pt x="171230" y="281579"/>
                  </a:lnTo>
                  <a:lnTo>
                    <a:pt x="168694" y="281579"/>
                  </a:lnTo>
                  <a:lnTo>
                    <a:pt x="168694" y="274476"/>
                  </a:lnTo>
                  <a:lnTo>
                    <a:pt x="169835" y="275237"/>
                  </a:lnTo>
                  <a:lnTo>
                    <a:pt x="167298" y="275237"/>
                  </a:lnTo>
                  <a:lnTo>
                    <a:pt x="167298" y="268007"/>
                  </a:lnTo>
                  <a:lnTo>
                    <a:pt x="168440" y="268768"/>
                  </a:lnTo>
                  <a:lnTo>
                    <a:pt x="160576" y="268768"/>
                  </a:lnTo>
                  <a:lnTo>
                    <a:pt x="160576" y="264836"/>
                  </a:lnTo>
                  <a:lnTo>
                    <a:pt x="161717" y="265724"/>
                  </a:lnTo>
                  <a:lnTo>
                    <a:pt x="155122" y="265724"/>
                  </a:lnTo>
                  <a:lnTo>
                    <a:pt x="155122" y="261665"/>
                  </a:lnTo>
                  <a:lnTo>
                    <a:pt x="156137" y="262426"/>
                  </a:lnTo>
                  <a:lnTo>
                    <a:pt x="153727" y="262426"/>
                  </a:lnTo>
                  <a:lnTo>
                    <a:pt x="153727" y="258494"/>
                  </a:lnTo>
                  <a:lnTo>
                    <a:pt x="154868" y="259255"/>
                  </a:lnTo>
                  <a:lnTo>
                    <a:pt x="151063" y="259255"/>
                  </a:lnTo>
                  <a:lnTo>
                    <a:pt x="151063" y="255196"/>
                  </a:lnTo>
                  <a:lnTo>
                    <a:pt x="152205" y="256084"/>
                  </a:lnTo>
                  <a:lnTo>
                    <a:pt x="149668" y="256084"/>
                  </a:lnTo>
                  <a:lnTo>
                    <a:pt x="149668" y="252152"/>
                  </a:lnTo>
                  <a:lnTo>
                    <a:pt x="150809" y="252913"/>
                  </a:lnTo>
                  <a:lnTo>
                    <a:pt x="148400" y="252913"/>
                  </a:lnTo>
                  <a:lnTo>
                    <a:pt x="148400" y="248855"/>
                  </a:lnTo>
                  <a:lnTo>
                    <a:pt x="149414" y="249616"/>
                  </a:lnTo>
                  <a:lnTo>
                    <a:pt x="147004" y="249616"/>
                  </a:lnTo>
                  <a:lnTo>
                    <a:pt x="147004" y="245684"/>
                  </a:lnTo>
                  <a:lnTo>
                    <a:pt x="148019" y="246445"/>
                  </a:lnTo>
                  <a:lnTo>
                    <a:pt x="144214" y="246445"/>
                  </a:lnTo>
                  <a:lnTo>
                    <a:pt x="144214" y="239342"/>
                  </a:lnTo>
                  <a:lnTo>
                    <a:pt x="145355" y="240103"/>
                  </a:lnTo>
                  <a:lnTo>
                    <a:pt x="140155" y="240103"/>
                  </a:lnTo>
                  <a:lnTo>
                    <a:pt x="140155" y="229702"/>
                  </a:lnTo>
                  <a:lnTo>
                    <a:pt x="141170" y="230463"/>
                  </a:lnTo>
                  <a:lnTo>
                    <a:pt x="137492" y="230463"/>
                  </a:lnTo>
                  <a:lnTo>
                    <a:pt x="137492" y="226531"/>
                  </a:lnTo>
                  <a:lnTo>
                    <a:pt x="138633" y="227292"/>
                  </a:lnTo>
                  <a:lnTo>
                    <a:pt x="133306" y="227292"/>
                  </a:lnTo>
                  <a:lnTo>
                    <a:pt x="133306" y="223233"/>
                  </a:lnTo>
                  <a:lnTo>
                    <a:pt x="134447" y="224121"/>
                  </a:lnTo>
                  <a:lnTo>
                    <a:pt x="132038" y="224121"/>
                  </a:lnTo>
                  <a:lnTo>
                    <a:pt x="132038" y="220189"/>
                  </a:lnTo>
                  <a:lnTo>
                    <a:pt x="133052" y="220950"/>
                  </a:lnTo>
                  <a:lnTo>
                    <a:pt x="130642" y="220950"/>
                  </a:lnTo>
                  <a:lnTo>
                    <a:pt x="130642" y="216892"/>
                  </a:lnTo>
                  <a:lnTo>
                    <a:pt x="131784" y="217653"/>
                  </a:lnTo>
                  <a:lnTo>
                    <a:pt x="129247" y="217653"/>
                  </a:lnTo>
                  <a:lnTo>
                    <a:pt x="129247" y="213721"/>
                  </a:lnTo>
                  <a:lnTo>
                    <a:pt x="130389" y="214482"/>
                  </a:lnTo>
                  <a:lnTo>
                    <a:pt x="127852" y="214482"/>
                  </a:lnTo>
                  <a:lnTo>
                    <a:pt x="127852" y="210550"/>
                  </a:lnTo>
                  <a:lnTo>
                    <a:pt x="128993" y="211311"/>
                  </a:lnTo>
                  <a:lnTo>
                    <a:pt x="125188" y="211311"/>
                  </a:lnTo>
                  <a:lnTo>
                    <a:pt x="125188" y="204081"/>
                  </a:lnTo>
                  <a:lnTo>
                    <a:pt x="126330" y="204969"/>
                  </a:lnTo>
                  <a:lnTo>
                    <a:pt x="122525" y="204969"/>
                  </a:lnTo>
                  <a:lnTo>
                    <a:pt x="122525" y="201037"/>
                  </a:lnTo>
                  <a:lnTo>
                    <a:pt x="123539" y="201798"/>
                  </a:lnTo>
                  <a:lnTo>
                    <a:pt x="121130" y="201798"/>
                  </a:lnTo>
                  <a:lnTo>
                    <a:pt x="121130" y="191397"/>
                  </a:lnTo>
                  <a:lnTo>
                    <a:pt x="122271" y="192158"/>
                  </a:lnTo>
                  <a:lnTo>
                    <a:pt x="118339" y="192158"/>
                  </a:lnTo>
                  <a:lnTo>
                    <a:pt x="118339" y="188226"/>
                  </a:lnTo>
                  <a:lnTo>
                    <a:pt x="119481" y="188987"/>
                  </a:lnTo>
                  <a:lnTo>
                    <a:pt x="117071" y="188987"/>
                  </a:lnTo>
                  <a:lnTo>
                    <a:pt x="117071" y="185055"/>
                  </a:lnTo>
                  <a:lnTo>
                    <a:pt x="118085" y="185817"/>
                  </a:lnTo>
                  <a:lnTo>
                    <a:pt x="115802" y="185817"/>
                  </a:lnTo>
                  <a:lnTo>
                    <a:pt x="115802" y="181758"/>
                  </a:lnTo>
                  <a:lnTo>
                    <a:pt x="116817" y="182646"/>
                  </a:lnTo>
                  <a:lnTo>
                    <a:pt x="114407" y="182646"/>
                  </a:lnTo>
                  <a:lnTo>
                    <a:pt x="114407" y="178714"/>
                  </a:lnTo>
                  <a:lnTo>
                    <a:pt x="115422" y="179475"/>
                  </a:lnTo>
                  <a:lnTo>
                    <a:pt x="113012" y="179475"/>
                  </a:lnTo>
                  <a:lnTo>
                    <a:pt x="113012" y="172245"/>
                  </a:lnTo>
                  <a:lnTo>
                    <a:pt x="114154" y="173133"/>
                  </a:lnTo>
                  <a:lnTo>
                    <a:pt x="111617" y="173133"/>
                  </a:lnTo>
                  <a:lnTo>
                    <a:pt x="111617" y="169074"/>
                  </a:lnTo>
                  <a:lnTo>
                    <a:pt x="112758" y="169835"/>
                  </a:lnTo>
                  <a:lnTo>
                    <a:pt x="110222" y="169835"/>
                  </a:lnTo>
                  <a:lnTo>
                    <a:pt x="110222" y="165903"/>
                  </a:lnTo>
                  <a:lnTo>
                    <a:pt x="111363" y="166664"/>
                  </a:lnTo>
                  <a:lnTo>
                    <a:pt x="108953" y="166664"/>
                  </a:lnTo>
                  <a:lnTo>
                    <a:pt x="108953" y="162732"/>
                  </a:lnTo>
                  <a:lnTo>
                    <a:pt x="109968" y="163493"/>
                  </a:lnTo>
                  <a:lnTo>
                    <a:pt x="106163" y="163493"/>
                  </a:lnTo>
                  <a:lnTo>
                    <a:pt x="106163" y="156390"/>
                  </a:lnTo>
                  <a:lnTo>
                    <a:pt x="107304" y="157151"/>
                  </a:lnTo>
                  <a:lnTo>
                    <a:pt x="104768" y="157151"/>
                  </a:lnTo>
                  <a:lnTo>
                    <a:pt x="104768" y="153093"/>
                  </a:lnTo>
                  <a:lnTo>
                    <a:pt x="105909" y="153980"/>
                  </a:lnTo>
                  <a:lnTo>
                    <a:pt x="103499" y="153980"/>
                  </a:lnTo>
                  <a:lnTo>
                    <a:pt x="103499" y="149922"/>
                  </a:lnTo>
                  <a:lnTo>
                    <a:pt x="104641" y="150809"/>
                  </a:lnTo>
                  <a:lnTo>
                    <a:pt x="99060" y="150809"/>
                  </a:lnTo>
                  <a:lnTo>
                    <a:pt x="96650" y="150809"/>
                  </a:lnTo>
                  <a:lnTo>
                    <a:pt x="96650" y="143580"/>
                  </a:lnTo>
                  <a:lnTo>
                    <a:pt x="97792" y="144468"/>
                  </a:lnTo>
                  <a:lnTo>
                    <a:pt x="93860" y="144468"/>
                  </a:lnTo>
                  <a:lnTo>
                    <a:pt x="93860" y="134067"/>
                  </a:lnTo>
                  <a:lnTo>
                    <a:pt x="95001" y="134828"/>
                  </a:lnTo>
                  <a:lnTo>
                    <a:pt x="88532" y="134828"/>
                  </a:lnTo>
                  <a:lnTo>
                    <a:pt x="88532" y="124554"/>
                  </a:lnTo>
                  <a:lnTo>
                    <a:pt x="89674" y="125315"/>
                  </a:lnTo>
                  <a:lnTo>
                    <a:pt x="87137" y="125315"/>
                  </a:lnTo>
                  <a:lnTo>
                    <a:pt x="87137" y="118212"/>
                  </a:lnTo>
                  <a:lnTo>
                    <a:pt x="88279" y="118973"/>
                  </a:lnTo>
                  <a:lnTo>
                    <a:pt x="85742" y="118973"/>
                  </a:lnTo>
                  <a:lnTo>
                    <a:pt x="85742" y="115041"/>
                  </a:lnTo>
                  <a:lnTo>
                    <a:pt x="86883" y="115802"/>
                  </a:lnTo>
                  <a:lnTo>
                    <a:pt x="83078" y="115802"/>
                  </a:lnTo>
                  <a:lnTo>
                    <a:pt x="83078" y="111870"/>
                  </a:lnTo>
                  <a:lnTo>
                    <a:pt x="84093" y="112631"/>
                  </a:lnTo>
                  <a:lnTo>
                    <a:pt x="81683" y="112631"/>
                  </a:lnTo>
                  <a:lnTo>
                    <a:pt x="81683" y="108699"/>
                  </a:lnTo>
                  <a:lnTo>
                    <a:pt x="82825" y="109461"/>
                  </a:lnTo>
                  <a:lnTo>
                    <a:pt x="77624" y="109461"/>
                  </a:lnTo>
                  <a:lnTo>
                    <a:pt x="77624" y="105529"/>
                  </a:lnTo>
                  <a:lnTo>
                    <a:pt x="78766" y="106290"/>
                  </a:lnTo>
                  <a:lnTo>
                    <a:pt x="74961" y="106290"/>
                  </a:lnTo>
                  <a:lnTo>
                    <a:pt x="74961" y="102358"/>
                  </a:lnTo>
                  <a:lnTo>
                    <a:pt x="75976" y="103119"/>
                  </a:lnTo>
                  <a:lnTo>
                    <a:pt x="72170" y="103119"/>
                  </a:lnTo>
                  <a:lnTo>
                    <a:pt x="72170" y="96016"/>
                  </a:lnTo>
                  <a:lnTo>
                    <a:pt x="73312" y="96777"/>
                  </a:lnTo>
                  <a:lnTo>
                    <a:pt x="70775" y="96777"/>
                  </a:lnTo>
                  <a:lnTo>
                    <a:pt x="70775" y="92718"/>
                  </a:lnTo>
                  <a:lnTo>
                    <a:pt x="71917" y="93606"/>
                  </a:lnTo>
                  <a:lnTo>
                    <a:pt x="69380" y="93606"/>
                  </a:lnTo>
                  <a:lnTo>
                    <a:pt x="69380" y="89547"/>
                  </a:lnTo>
                  <a:lnTo>
                    <a:pt x="70522" y="90435"/>
                  </a:lnTo>
                  <a:lnTo>
                    <a:pt x="65448" y="90435"/>
                  </a:lnTo>
                  <a:lnTo>
                    <a:pt x="65448" y="86503"/>
                  </a:lnTo>
                  <a:lnTo>
                    <a:pt x="66463" y="87264"/>
                  </a:lnTo>
                  <a:lnTo>
                    <a:pt x="62658" y="87264"/>
                  </a:lnTo>
                  <a:lnTo>
                    <a:pt x="62658" y="83205"/>
                  </a:lnTo>
                  <a:lnTo>
                    <a:pt x="63799" y="83966"/>
                  </a:lnTo>
                  <a:lnTo>
                    <a:pt x="61262" y="83966"/>
                  </a:lnTo>
                  <a:lnTo>
                    <a:pt x="61262" y="80034"/>
                  </a:lnTo>
                  <a:lnTo>
                    <a:pt x="62404" y="80922"/>
                  </a:lnTo>
                  <a:lnTo>
                    <a:pt x="59994" y="80922"/>
                  </a:lnTo>
                  <a:lnTo>
                    <a:pt x="59994" y="76990"/>
                  </a:lnTo>
                  <a:lnTo>
                    <a:pt x="61009" y="77751"/>
                  </a:lnTo>
                  <a:lnTo>
                    <a:pt x="54540" y="77751"/>
                  </a:lnTo>
                  <a:lnTo>
                    <a:pt x="54540" y="73692"/>
                  </a:lnTo>
                  <a:lnTo>
                    <a:pt x="55682" y="74453"/>
                  </a:lnTo>
                  <a:lnTo>
                    <a:pt x="47691" y="74453"/>
                  </a:lnTo>
                  <a:lnTo>
                    <a:pt x="47691" y="67477"/>
                  </a:lnTo>
                  <a:lnTo>
                    <a:pt x="48832" y="68238"/>
                  </a:lnTo>
                  <a:lnTo>
                    <a:pt x="46296" y="68238"/>
                  </a:lnTo>
                  <a:lnTo>
                    <a:pt x="46296" y="64180"/>
                  </a:lnTo>
                  <a:lnTo>
                    <a:pt x="47437" y="64941"/>
                  </a:lnTo>
                  <a:lnTo>
                    <a:pt x="45027" y="64941"/>
                  </a:lnTo>
                  <a:lnTo>
                    <a:pt x="45027" y="61009"/>
                  </a:lnTo>
                  <a:lnTo>
                    <a:pt x="46169" y="61897"/>
                  </a:lnTo>
                  <a:lnTo>
                    <a:pt x="39573" y="61897"/>
                  </a:lnTo>
                  <a:lnTo>
                    <a:pt x="39573" y="57838"/>
                  </a:lnTo>
                  <a:lnTo>
                    <a:pt x="40715" y="58599"/>
                  </a:lnTo>
                  <a:lnTo>
                    <a:pt x="38178" y="58599"/>
                  </a:lnTo>
                  <a:lnTo>
                    <a:pt x="38178" y="54667"/>
                  </a:lnTo>
                  <a:lnTo>
                    <a:pt x="39320" y="55428"/>
                  </a:lnTo>
                  <a:lnTo>
                    <a:pt x="36783" y="55428"/>
                  </a:lnTo>
                  <a:lnTo>
                    <a:pt x="36783" y="51496"/>
                  </a:lnTo>
                  <a:lnTo>
                    <a:pt x="37924" y="52384"/>
                  </a:lnTo>
                  <a:lnTo>
                    <a:pt x="34119" y="52384"/>
                  </a:lnTo>
                  <a:lnTo>
                    <a:pt x="34119" y="48325"/>
                  </a:lnTo>
                  <a:lnTo>
                    <a:pt x="35134" y="49086"/>
                  </a:lnTo>
                  <a:lnTo>
                    <a:pt x="30060" y="49086"/>
                  </a:lnTo>
                  <a:lnTo>
                    <a:pt x="30060" y="45154"/>
                  </a:lnTo>
                  <a:lnTo>
                    <a:pt x="31202" y="45915"/>
                  </a:lnTo>
                  <a:lnTo>
                    <a:pt x="28665" y="45915"/>
                  </a:lnTo>
                  <a:lnTo>
                    <a:pt x="28665" y="38812"/>
                  </a:lnTo>
                  <a:lnTo>
                    <a:pt x="29807" y="39573"/>
                  </a:lnTo>
                  <a:lnTo>
                    <a:pt x="26002" y="39573"/>
                  </a:lnTo>
                  <a:lnTo>
                    <a:pt x="26002" y="32470"/>
                  </a:lnTo>
                  <a:lnTo>
                    <a:pt x="27016" y="33231"/>
                  </a:lnTo>
                  <a:lnTo>
                    <a:pt x="24606" y="33231"/>
                  </a:lnTo>
                  <a:lnTo>
                    <a:pt x="24606" y="29299"/>
                  </a:lnTo>
                  <a:lnTo>
                    <a:pt x="25748" y="30060"/>
                  </a:lnTo>
                  <a:lnTo>
                    <a:pt x="23211" y="30060"/>
                  </a:lnTo>
                  <a:lnTo>
                    <a:pt x="23211" y="26128"/>
                  </a:lnTo>
                  <a:lnTo>
                    <a:pt x="24353" y="26889"/>
                  </a:lnTo>
                  <a:lnTo>
                    <a:pt x="21943" y="26889"/>
                  </a:lnTo>
                  <a:lnTo>
                    <a:pt x="21943" y="22958"/>
                  </a:lnTo>
                  <a:lnTo>
                    <a:pt x="23084" y="23719"/>
                  </a:lnTo>
                  <a:lnTo>
                    <a:pt x="19152" y="23719"/>
                  </a:lnTo>
                  <a:lnTo>
                    <a:pt x="19152" y="19787"/>
                  </a:lnTo>
                  <a:lnTo>
                    <a:pt x="20294" y="20548"/>
                  </a:lnTo>
                  <a:lnTo>
                    <a:pt x="16489" y="20548"/>
                  </a:lnTo>
                  <a:lnTo>
                    <a:pt x="16489" y="16616"/>
                  </a:lnTo>
                  <a:lnTo>
                    <a:pt x="17630" y="17377"/>
                  </a:lnTo>
                  <a:lnTo>
                    <a:pt x="13698" y="17377"/>
                  </a:lnTo>
                  <a:lnTo>
                    <a:pt x="13698" y="13445"/>
                  </a:lnTo>
                  <a:lnTo>
                    <a:pt x="14840" y="14206"/>
                  </a:lnTo>
                  <a:lnTo>
                    <a:pt x="11035" y="14206"/>
                  </a:lnTo>
                  <a:lnTo>
                    <a:pt x="11035" y="10274"/>
                  </a:lnTo>
                  <a:lnTo>
                    <a:pt x="12050" y="11035"/>
                  </a:lnTo>
                  <a:lnTo>
                    <a:pt x="9766" y="11035"/>
                  </a:lnTo>
                  <a:lnTo>
                    <a:pt x="9766" y="7103"/>
                  </a:lnTo>
                  <a:lnTo>
                    <a:pt x="10781" y="7864"/>
                  </a:lnTo>
                  <a:lnTo>
                    <a:pt x="6976" y="7864"/>
                  </a:lnTo>
                  <a:lnTo>
                    <a:pt x="6976" y="3932"/>
                  </a:lnTo>
                  <a:lnTo>
                    <a:pt x="8118" y="4693"/>
                  </a:lnTo>
                  <a:lnTo>
                    <a:pt x="1522" y="4693"/>
                  </a:lnTo>
                  <a:lnTo>
                    <a:pt x="1522" y="761"/>
                  </a:lnTo>
                  <a:lnTo>
                    <a:pt x="2537" y="1522"/>
                  </a:lnTo>
                  <a:lnTo>
                    <a:pt x="0" y="1522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36" cap="rnd">
              <a:solidFill>
                <a:schemeClr val="accent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0" name="Freihandform: Form 339">
              <a:extLst>
                <a:ext uri="{FF2B5EF4-FFF2-40B4-BE49-F238E27FC236}">
                  <a16:creationId xmlns:a16="http://schemas.microsoft.com/office/drawing/2014/main" id="{6CF0F6AB-53E0-DF87-7C2D-8676157BB495}"/>
                </a:ext>
              </a:extLst>
            </p:cNvPr>
            <p:cNvSpPr/>
            <p:nvPr/>
          </p:nvSpPr>
          <p:spPr>
            <a:xfrm>
              <a:off x="7110123" y="1696613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1" name="Freihandform: Form 340">
              <a:extLst>
                <a:ext uri="{FF2B5EF4-FFF2-40B4-BE49-F238E27FC236}">
                  <a16:creationId xmlns:a16="http://schemas.microsoft.com/office/drawing/2014/main" id="{F677215A-3940-9F6E-91B5-CD4A8AA251E5}"/>
                </a:ext>
              </a:extLst>
            </p:cNvPr>
            <p:cNvSpPr/>
            <p:nvPr/>
          </p:nvSpPr>
          <p:spPr>
            <a:xfrm>
              <a:off x="7118367" y="1709170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2" name="Freihandform: Form 341">
              <a:extLst>
                <a:ext uri="{FF2B5EF4-FFF2-40B4-BE49-F238E27FC236}">
                  <a16:creationId xmlns:a16="http://schemas.microsoft.com/office/drawing/2014/main" id="{E553994B-5B0E-51A6-AF7F-1ADC2B2CFF74}"/>
                </a:ext>
              </a:extLst>
            </p:cNvPr>
            <p:cNvSpPr/>
            <p:nvPr/>
          </p:nvSpPr>
          <p:spPr>
            <a:xfrm>
              <a:off x="7183561" y="1766500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3" name="Freihandform: Form 342">
              <a:extLst>
                <a:ext uri="{FF2B5EF4-FFF2-40B4-BE49-F238E27FC236}">
                  <a16:creationId xmlns:a16="http://schemas.microsoft.com/office/drawing/2014/main" id="{2DB8959C-3471-5223-ADE5-2CB63A076B45}"/>
                </a:ext>
              </a:extLst>
            </p:cNvPr>
            <p:cNvSpPr/>
            <p:nvPr/>
          </p:nvSpPr>
          <p:spPr>
            <a:xfrm>
              <a:off x="7232521" y="1836514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4" name="Freihandform: Form 343">
              <a:extLst>
                <a:ext uri="{FF2B5EF4-FFF2-40B4-BE49-F238E27FC236}">
                  <a16:creationId xmlns:a16="http://schemas.microsoft.com/office/drawing/2014/main" id="{A0FD7618-88D7-2A8C-ABC3-A4B5F9B12CB6}"/>
                </a:ext>
              </a:extLst>
            </p:cNvPr>
            <p:cNvSpPr/>
            <p:nvPr/>
          </p:nvSpPr>
          <p:spPr>
            <a:xfrm>
              <a:off x="7259664" y="1903484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5" name="Freihandform: Form 344">
              <a:extLst>
                <a:ext uri="{FF2B5EF4-FFF2-40B4-BE49-F238E27FC236}">
                  <a16:creationId xmlns:a16="http://schemas.microsoft.com/office/drawing/2014/main" id="{6E51B3BE-390D-302B-F4E9-63F456350EB1}"/>
                </a:ext>
              </a:extLst>
            </p:cNvPr>
            <p:cNvSpPr/>
            <p:nvPr/>
          </p:nvSpPr>
          <p:spPr>
            <a:xfrm>
              <a:off x="7267781" y="1925808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6" name="Freihandform: Form 345">
              <a:extLst>
                <a:ext uri="{FF2B5EF4-FFF2-40B4-BE49-F238E27FC236}">
                  <a16:creationId xmlns:a16="http://schemas.microsoft.com/office/drawing/2014/main" id="{ADF922DC-F811-22C4-9954-753B71CB9EC4}"/>
                </a:ext>
              </a:extLst>
            </p:cNvPr>
            <p:cNvSpPr/>
            <p:nvPr/>
          </p:nvSpPr>
          <p:spPr>
            <a:xfrm>
              <a:off x="7274631" y="1945087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7" name="Freihandform: Form 346">
              <a:extLst>
                <a:ext uri="{FF2B5EF4-FFF2-40B4-BE49-F238E27FC236}">
                  <a16:creationId xmlns:a16="http://schemas.microsoft.com/office/drawing/2014/main" id="{37F2EF20-233B-21E5-0F7B-E5860862EFB0}"/>
                </a:ext>
              </a:extLst>
            </p:cNvPr>
            <p:cNvSpPr/>
            <p:nvPr/>
          </p:nvSpPr>
          <p:spPr>
            <a:xfrm>
              <a:off x="7289597" y="1974006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8" name="Freihandform: Form 347">
              <a:extLst>
                <a:ext uri="{FF2B5EF4-FFF2-40B4-BE49-F238E27FC236}">
                  <a16:creationId xmlns:a16="http://schemas.microsoft.com/office/drawing/2014/main" id="{C54C7BD9-DC07-6B4C-1315-6758AF21E79B}"/>
                </a:ext>
              </a:extLst>
            </p:cNvPr>
            <p:cNvSpPr/>
            <p:nvPr/>
          </p:nvSpPr>
          <p:spPr>
            <a:xfrm>
              <a:off x="7290866" y="1977177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9" name="Freihandform: Form 348">
              <a:extLst>
                <a:ext uri="{FF2B5EF4-FFF2-40B4-BE49-F238E27FC236}">
                  <a16:creationId xmlns:a16="http://schemas.microsoft.com/office/drawing/2014/main" id="{A87235E7-EA4D-A1C8-CB22-F974AAE238A9}"/>
                </a:ext>
              </a:extLst>
            </p:cNvPr>
            <p:cNvSpPr/>
            <p:nvPr/>
          </p:nvSpPr>
          <p:spPr>
            <a:xfrm>
              <a:off x="7297715" y="1986816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0" name="Freihandform: Form 349">
              <a:extLst>
                <a:ext uri="{FF2B5EF4-FFF2-40B4-BE49-F238E27FC236}">
                  <a16:creationId xmlns:a16="http://schemas.microsoft.com/office/drawing/2014/main" id="{35DEC290-D28E-8382-7505-58E5A4247D7D}"/>
                </a:ext>
              </a:extLst>
            </p:cNvPr>
            <p:cNvSpPr/>
            <p:nvPr/>
          </p:nvSpPr>
          <p:spPr>
            <a:xfrm>
              <a:off x="7316740" y="2025502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6 h 29553"/>
                <a:gd name="connsiteX2" fmla="*/ 13698 w 41095"/>
                <a:gd name="connsiteY2" fmla="*/ 9766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6 h 29553"/>
                <a:gd name="connsiteX6" fmla="*/ 41095 w 41095"/>
                <a:gd name="connsiteY6" fmla="*/ 9766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1" name="Freihandform: Form 350">
              <a:extLst>
                <a:ext uri="{FF2B5EF4-FFF2-40B4-BE49-F238E27FC236}">
                  <a16:creationId xmlns:a16="http://schemas.microsoft.com/office/drawing/2014/main" id="{C8257AD2-0A56-610A-A0D1-25805C04FDD7}"/>
                </a:ext>
              </a:extLst>
            </p:cNvPr>
            <p:cNvSpPr/>
            <p:nvPr/>
          </p:nvSpPr>
          <p:spPr>
            <a:xfrm>
              <a:off x="7334498" y="2061016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2" name="Freihandform: Form 351">
              <a:extLst>
                <a:ext uri="{FF2B5EF4-FFF2-40B4-BE49-F238E27FC236}">
                  <a16:creationId xmlns:a16="http://schemas.microsoft.com/office/drawing/2014/main" id="{8F2FD3DD-AF84-0DB4-13FB-6C1E861A69AA}"/>
                </a:ext>
              </a:extLst>
            </p:cNvPr>
            <p:cNvSpPr/>
            <p:nvPr/>
          </p:nvSpPr>
          <p:spPr>
            <a:xfrm>
              <a:off x="7338430" y="2086891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3" name="Freihandform: Form 352">
              <a:extLst>
                <a:ext uri="{FF2B5EF4-FFF2-40B4-BE49-F238E27FC236}">
                  <a16:creationId xmlns:a16="http://schemas.microsoft.com/office/drawing/2014/main" id="{174A5AEF-DB94-42BB-2E84-D1F947F5D58B}"/>
                </a:ext>
              </a:extLst>
            </p:cNvPr>
            <p:cNvSpPr/>
            <p:nvPr/>
          </p:nvSpPr>
          <p:spPr>
            <a:xfrm>
              <a:off x="7346674" y="2099828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4" name="Freihandform: Form 353">
              <a:extLst>
                <a:ext uri="{FF2B5EF4-FFF2-40B4-BE49-F238E27FC236}">
                  <a16:creationId xmlns:a16="http://schemas.microsoft.com/office/drawing/2014/main" id="{618421B9-F2F4-FEE5-FDEA-A3FE5CB72F60}"/>
                </a:ext>
              </a:extLst>
            </p:cNvPr>
            <p:cNvSpPr/>
            <p:nvPr/>
          </p:nvSpPr>
          <p:spPr>
            <a:xfrm>
              <a:off x="7350733" y="2112893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6 h 29553"/>
                <a:gd name="connsiteX2" fmla="*/ 13698 w 41095"/>
                <a:gd name="connsiteY2" fmla="*/ 9766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6 h 29553"/>
                <a:gd name="connsiteX6" fmla="*/ 41095 w 41095"/>
                <a:gd name="connsiteY6" fmla="*/ 9766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5" name="Freihandform: Form 354">
              <a:extLst>
                <a:ext uri="{FF2B5EF4-FFF2-40B4-BE49-F238E27FC236}">
                  <a16:creationId xmlns:a16="http://schemas.microsoft.com/office/drawing/2014/main" id="{1A4C5734-51B6-6F0C-CF9D-662598F2212E}"/>
                </a:ext>
              </a:extLst>
            </p:cNvPr>
            <p:cNvSpPr/>
            <p:nvPr/>
          </p:nvSpPr>
          <p:spPr>
            <a:xfrm>
              <a:off x="7379271" y="2181131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6" name="Freihandform: Form 355">
              <a:extLst>
                <a:ext uri="{FF2B5EF4-FFF2-40B4-BE49-F238E27FC236}">
                  <a16:creationId xmlns:a16="http://schemas.microsoft.com/office/drawing/2014/main" id="{8A6B21F6-7BAE-700C-474E-900F214CEC59}"/>
                </a:ext>
              </a:extLst>
            </p:cNvPr>
            <p:cNvSpPr/>
            <p:nvPr/>
          </p:nvSpPr>
          <p:spPr>
            <a:xfrm>
              <a:off x="7380666" y="2181131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7" name="Freihandform: Form 356">
              <a:extLst>
                <a:ext uri="{FF2B5EF4-FFF2-40B4-BE49-F238E27FC236}">
                  <a16:creationId xmlns:a16="http://schemas.microsoft.com/office/drawing/2014/main" id="{B74E6E6E-78FB-ABDC-97CC-D4FEBBDA466D}"/>
                </a:ext>
              </a:extLst>
            </p:cNvPr>
            <p:cNvSpPr/>
            <p:nvPr/>
          </p:nvSpPr>
          <p:spPr>
            <a:xfrm>
              <a:off x="7380666" y="2181131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8" name="Freihandform: Form 357">
              <a:extLst>
                <a:ext uri="{FF2B5EF4-FFF2-40B4-BE49-F238E27FC236}">
                  <a16:creationId xmlns:a16="http://schemas.microsoft.com/office/drawing/2014/main" id="{9C4325E5-2773-1B4D-5C7A-D963082A4D73}"/>
                </a:ext>
              </a:extLst>
            </p:cNvPr>
            <p:cNvSpPr/>
            <p:nvPr/>
          </p:nvSpPr>
          <p:spPr>
            <a:xfrm>
              <a:off x="7410600" y="2246706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6 h 29553"/>
                <a:gd name="connsiteX2" fmla="*/ 13698 w 41095"/>
                <a:gd name="connsiteY2" fmla="*/ 9766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6 h 29553"/>
                <a:gd name="connsiteX6" fmla="*/ 41095 w 41095"/>
                <a:gd name="connsiteY6" fmla="*/ 9766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9" name="Freihandform: Form 358">
              <a:extLst>
                <a:ext uri="{FF2B5EF4-FFF2-40B4-BE49-F238E27FC236}">
                  <a16:creationId xmlns:a16="http://schemas.microsoft.com/office/drawing/2014/main" id="{8D188F04-2FB5-3B66-BD3C-8120AED75212}"/>
                </a:ext>
              </a:extLst>
            </p:cNvPr>
            <p:cNvSpPr/>
            <p:nvPr/>
          </p:nvSpPr>
          <p:spPr>
            <a:xfrm>
              <a:off x="7439138" y="2299217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6 h 29553"/>
                <a:gd name="connsiteX2" fmla="*/ 13698 w 41095"/>
                <a:gd name="connsiteY2" fmla="*/ 9766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6 h 29553"/>
                <a:gd name="connsiteX6" fmla="*/ 41095 w 41095"/>
                <a:gd name="connsiteY6" fmla="*/ 9766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0" name="Freihandform: Form 359">
              <a:extLst>
                <a:ext uri="{FF2B5EF4-FFF2-40B4-BE49-F238E27FC236}">
                  <a16:creationId xmlns:a16="http://schemas.microsoft.com/office/drawing/2014/main" id="{F4161D4E-B7E4-3626-C14F-31A1186B5271}"/>
                </a:ext>
              </a:extLst>
            </p:cNvPr>
            <p:cNvSpPr/>
            <p:nvPr/>
          </p:nvSpPr>
          <p:spPr>
            <a:xfrm>
              <a:off x="7502938" y="2434044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1" name="Freihandform: Form 360">
              <a:extLst>
                <a:ext uri="{FF2B5EF4-FFF2-40B4-BE49-F238E27FC236}">
                  <a16:creationId xmlns:a16="http://schemas.microsoft.com/office/drawing/2014/main" id="{90E1CDB9-A618-9FF1-3B0D-C07239401650}"/>
                </a:ext>
              </a:extLst>
            </p:cNvPr>
            <p:cNvSpPr/>
            <p:nvPr/>
          </p:nvSpPr>
          <p:spPr>
            <a:xfrm>
              <a:off x="7507123" y="2434044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2" name="Freihandform: Form 361">
              <a:extLst>
                <a:ext uri="{FF2B5EF4-FFF2-40B4-BE49-F238E27FC236}">
                  <a16:creationId xmlns:a16="http://schemas.microsoft.com/office/drawing/2014/main" id="{964563B3-51E6-E562-B438-3946B104447F}"/>
                </a:ext>
              </a:extLst>
            </p:cNvPr>
            <p:cNvSpPr/>
            <p:nvPr/>
          </p:nvSpPr>
          <p:spPr>
            <a:xfrm>
              <a:off x="7515241" y="2453958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6 h 29553"/>
                <a:gd name="connsiteX2" fmla="*/ 13698 w 41095"/>
                <a:gd name="connsiteY2" fmla="*/ 9766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6 h 29553"/>
                <a:gd name="connsiteX6" fmla="*/ 41095 w 41095"/>
                <a:gd name="connsiteY6" fmla="*/ 9766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3" name="Freihandform: Form 362">
              <a:extLst>
                <a:ext uri="{FF2B5EF4-FFF2-40B4-BE49-F238E27FC236}">
                  <a16:creationId xmlns:a16="http://schemas.microsoft.com/office/drawing/2014/main" id="{75B21AAE-E50E-F8FA-1357-15B05F8F53FC}"/>
                </a:ext>
              </a:extLst>
            </p:cNvPr>
            <p:cNvSpPr/>
            <p:nvPr/>
          </p:nvSpPr>
          <p:spPr>
            <a:xfrm>
              <a:off x="7565468" y="2530060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4" name="Freihandform: Form 363">
              <a:extLst>
                <a:ext uri="{FF2B5EF4-FFF2-40B4-BE49-F238E27FC236}">
                  <a16:creationId xmlns:a16="http://schemas.microsoft.com/office/drawing/2014/main" id="{BD5B075D-245B-B84E-B2B0-B7C75B19AB17}"/>
                </a:ext>
              </a:extLst>
            </p:cNvPr>
            <p:cNvSpPr/>
            <p:nvPr/>
          </p:nvSpPr>
          <p:spPr>
            <a:xfrm>
              <a:off x="7596797" y="2583332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7 h 29426"/>
                <a:gd name="connsiteX2" fmla="*/ 13698 w 41095"/>
                <a:gd name="connsiteY2" fmla="*/ 9767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7 h 29426"/>
                <a:gd name="connsiteX6" fmla="*/ 41095 w 41095"/>
                <a:gd name="connsiteY6" fmla="*/ 9767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5" name="Freihandform: Form 364">
              <a:extLst>
                <a:ext uri="{FF2B5EF4-FFF2-40B4-BE49-F238E27FC236}">
                  <a16:creationId xmlns:a16="http://schemas.microsoft.com/office/drawing/2014/main" id="{CBE0D500-1FC1-7296-A8F8-57B537FEB384}"/>
                </a:ext>
              </a:extLst>
            </p:cNvPr>
            <p:cNvSpPr/>
            <p:nvPr/>
          </p:nvSpPr>
          <p:spPr>
            <a:xfrm>
              <a:off x="7613159" y="2616563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6" name="Freihandform: Form 365">
              <a:extLst>
                <a:ext uri="{FF2B5EF4-FFF2-40B4-BE49-F238E27FC236}">
                  <a16:creationId xmlns:a16="http://schemas.microsoft.com/office/drawing/2014/main" id="{3F327589-9B07-17A4-9C0B-E7D649BF2DBB}"/>
                </a:ext>
              </a:extLst>
            </p:cNvPr>
            <p:cNvSpPr/>
            <p:nvPr/>
          </p:nvSpPr>
          <p:spPr>
            <a:xfrm>
              <a:off x="7632058" y="2643326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7" name="Freihandform: Form 366">
              <a:extLst>
                <a:ext uri="{FF2B5EF4-FFF2-40B4-BE49-F238E27FC236}">
                  <a16:creationId xmlns:a16="http://schemas.microsoft.com/office/drawing/2014/main" id="{3CA2D803-9F5E-55B7-4337-131BC55F020E}"/>
                </a:ext>
              </a:extLst>
            </p:cNvPr>
            <p:cNvSpPr/>
            <p:nvPr/>
          </p:nvSpPr>
          <p:spPr>
            <a:xfrm>
              <a:off x="7655142" y="2663493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7 h 29553"/>
                <a:gd name="connsiteX2" fmla="*/ 13698 w 41095"/>
                <a:gd name="connsiteY2" fmla="*/ 9767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7 h 29553"/>
                <a:gd name="connsiteX6" fmla="*/ 41095 w 41095"/>
                <a:gd name="connsiteY6" fmla="*/ 9767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8" name="Freihandform: Form 367">
              <a:extLst>
                <a:ext uri="{FF2B5EF4-FFF2-40B4-BE49-F238E27FC236}">
                  <a16:creationId xmlns:a16="http://schemas.microsoft.com/office/drawing/2014/main" id="{7556763F-98CA-EDAF-90D8-246C907CA374}"/>
                </a:ext>
              </a:extLst>
            </p:cNvPr>
            <p:cNvSpPr/>
            <p:nvPr/>
          </p:nvSpPr>
          <p:spPr>
            <a:xfrm>
              <a:off x="7663387" y="2670215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7 h 29426"/>
                <a:gd name="connsiteX2" fmla="*/ 13698 w 41095"/>
                <a:gd name="connsiteY2" fmla="*/ 9767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7 h 29426"/>
                <a:gd name="connsiteX6" fmla="*/ 41095 w 41095"/>
                <a:gd name="connsiteY6" fmla="*/ 9767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9" name="Freihandform: Form 368">
              <a:extLst>
                <a:ext uri="{FF2B5EF4-FFF2-40B4-BE49-F238E27FC236}">
                  <a16:creationId xmlns:a16="http://schemas.microsoft.com/office/drawing/2014/main" id="{E24F5B0A-B832-80E4-D63F-E11E9BA69C36}"/>
                </a:ext>
              </a:extLst>
            </p:cNvPr>
            <p:cNvSpPr/>
            <p:nvPr/>
          </p:nvSpPr>
          <p:spPr>
            <a:xfrm>
              <a:off x="7666050" y="2673640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0" name="Freihandform: Form 369">
              <a:extLst>
                <a:ext uri="{FF2B5EF4-FFF2-40B4-BE49-F238E27FC236}">
                  <a16:creationId xmlns:a16="http://schemas.microsoft.com/office/drawing/2014/main" id="{F7F4B2D6-80AD-7996-058E-D83BFE40F878}"/>
                </a:ext>
              </a:extLst>
            </p:cNvPr>
            <p:cNvSpPr/>
            <p:nvPr/>
          </p:nvSpPr>
          <p:spPr>
            <a:xfrm>
              <a:off x="7668841" y="2673640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1" name="Freihandform: Form 370">
              <a:extLst>
                <a:ext uri="{FF2B5EF4-FFF2-40B4-BE49-F238E27FC236}">
                  <a16:creationId xmlns:a16="http://schemas.microsoft.com/office/drawing/2014/main" id="{5B78887C-23C8-22DC-B331-2E745711B215}"/>
                </a:ext>
              </a:extLst>
            </p:cNvPr>
            <p:cNvSpPr/>
            <p:nvPr/>
          </p:nvSpPr>
          <p:spPr>
            <a:xfrm>
              <a:off x="7682412" y="2690509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2" name="Freihandform: Form 371">
              <a:extLst>
                <a:ext uri="{FF2B5EF4-FFF2-40B4-BE49-F238E27FC236}">
                  <a16:creationId xmlns:a16="http://schemas.microsoft.com/office/drawing/2014/main" id="{9588D843-251E-3A06-8484-6D4976A2615A}"/>
                </a:ext>
              </a:extLst>
            </p:cNvPr>
            <p:cNvSpPr/>
            <p:nvPr/>
          </p:nvSpPr>
          <p:spPr>
            <a:xfrm>
              <a:off x="7751792" y="2731351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7 h 29553"/>
                <a:gd name="connsiteX2" fmla="*/ 13698 w 41095"/>
                <a:gd name="connsiteY2" fmla="*/ 9767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7 h 29553"/>
                <a:gd name="connsiteX6" fmla="*/ 41095 w 41095"/>
                <a:gd name="connsiteY6" fmla="*/ 9767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3" name="Freihandform: Form 372">
              <a:extLst>
                <a:ext uri="{FF2B5EF4-FFF2-40B4-BE49-F238E27FC236}">
                  <a16:creationId xmlns:a16="http://schemas.microsoft.com/office/drawing/2014/main" id="{5BAD178F-6B25-9976-8E88-D7AE89878AAD}"/>
                </a:ext>
              </a:extLst>
            </p:cNvPr>
            <p:cNvSpPr/>
            <p:nvPr/>
          </p:nvSpPr>
          <p:spPr>
            <a:xfrm>
              <a:off x="7758515" y="2731351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7 h 29553"/>
                <a:gd name="connsiteX2" fmla="*/ 13698 w 41095"/>
                <a:gd name="connsiteY2" fmla="*/ 9767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7 h 29553"/>
                <a:gd name="connsiteX6" fmla="*/ 41095 w 41095"/>
                <a:gd name="connsiteY6" fmla="*/ 9767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4" name="Freihandform: Form 373">
              <a:extLst>
                <a:ext uri="{FF2B5EF4-FFF2-40B4-BE49-F238E27FC236}">
                  <a16:creationId xmlns:a16="http://schemas.microsoft.com/office/drawing/2014/main" id="{16A57748-2B04-192C-8B57-D863324439D5}"/>
                </a:ext>
              </a:extLst>
            </p:cNvPr>
            <p:cNvSpPr/>
            <p:nvPr/>
          </p:nvSpPr>
          <p:spPr>
            <a:xfrm>
              <a:off x="7769296" y="2741625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5" name="Freihandform: Form 374">
              <a:extLst>
                <a:ext uri="{FF2B5EF4-FFF2-40B4-BE49-F238E27FC236}">
                  <a16:creationId xmlns:a16="http://schemas.microsoft.com/office/drawing/2014/main" id="{D9839845-89B2-7A9B-AA2F-51BB6FA407BA}"/>
                </a:ext>
              </a:extLst>
            </p:cNvPr>
            <p:cNvSpPr/>
            <p:nvPr/>
          </p:nvSpPr>
          <p:spPr>
            <a:xfrm>
              <a:off x="7792507" y="2762299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7 h 29426"/>
                <a:gd name="connsiteX2" fmla="*/ 13698 w 41095"/>
                <a:gd name="connsiteY2" fmla="*/ 9767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7 h 29426"/>
                <a:gd name="connsiteX6" fmla="*/ 41095 w 41095"/>
                <a:gd name="connsiteY6" fmla="*/ 9767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6" name="Freihandform: Form 375">
              <a:extLst>
                <a:ext uri="{FF2B5EF4-FFF2-40B4-BE49-F238E27FC236}">
                  <a16:creationId xmlns:a16="http://schemas.microsoft.com/office/drawing/2014/main" id="{BC048456-DA31-86A2-20F1-1D555D2909FA}"/>
                </a:ext>
              </a:extLst>
            </p:cNvPr>
            <p:cNvSpPr/>
            <p:nvPr/>
          </p:nvSpPr>
          <p:spPr>
            <a:xfrm>
              <a:off x="7812928" y="2776124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766 h 29552"/>
                <a:gd name="connsiteX2" fmla="*/ 13698 w 41095"/>
                <a:gd name="connsiteY2" fmla="*/ 9766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766 h 29552"/>
                <a:gd name="connsiteX6" fmla="*/ 41095 w 41095"/>
                <a:gd name="connsiteY6" fmla="*/ 9766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7" name="Freihandform: Form 376">
              <a:extLst>
                <a:ext uri="{FF2B5EF4-FFF2-40B4-BE49-F238E27FC236}">
                  <a16:creationId xmlns:a16="http://schemas.microsoft.com/office/drawing/2014/main" id="{B043CCD9-C098-43EB-F105-ABAEE718C797}"/>
                </a:ext>
              </a:extLst>
            </p:cNvPr>
            <p:cNvSpPr/>
            <p:nvPr/>
          </p:nvSpPr>
          <p:spPr>
            <a:xfrm>
              <a:off x="7821045" y="2779549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8" name="Freihandform: Form 377">
              <a:extLst>
                <a:ext uri="{FF2B5EF4-FFF2-40B4-BE49-F238E27FC236}">
                  <a16:creationId xmlns:a16="http://schemas.microsoft.com/office/drawing/2014/main" id="{A02AAE86-B747-579F-6D3D-22DEC829D6DF}"/>
                </a:ext>
              </a:extLst>
            </p:cNvPr>
            <p:cNvSpPr/>
            <p:nvPr/>
          </p:nvSpPr>
          <p:spPr>
            <a:xfrm>
              <a:off x="7834617" y="2786398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9" name="Freihandform: Form 378">
              <a:extLst>
                <a:ext uri="{FF2B5EF4-FFF2-40B4-BE49-F238E27FC236}">
                  <a16:creationId xmlns:a16="http://schemas.microsoft.com/office/drawing/2014/main" id="{F12E090C-7C8B-2F47-B64C-22C16C15772C}"/>
                </a:ext>
              </a:extLst>
            </p:cNvPr>
            <p:cNvSpPr/>
            <p:nvPr/>
          </p:nvSpPr>
          <p:spPr>
            <a:xfrm>
              <a:off x="7848315" y="2786398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0" name="Freihandform: Form 379">
              <a:extLst>
                <a:ext uri="{FF2B5EF4-FFF2-40B4-BE49-F238E27FC236}">
                  <a16:creationId xmlns:a16="http://schemas.microsoft.com/office/drawing/2014/main" id="{B9FAF7A7-E895-B86E-1606-B7A4DFA13ED9}"/>
                </a:ext>
              </a:extLst>
            </p:cNvPr>
            <p:cNvSpPr/>
            <p:nvPr/>
          </p:nvSpPr>
          <p:spPr>
            <a:xfrm>
              <a:off x="7849584" y="2786398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1" name="Freihandform: Form 380">
              <a:extLst>
                <a:ext uri="{FF2B5EF4-FFF2-40B4-BE49-F238E27FC236}">
                  <a16:creationId xmlns:a16="http://schemas.microsoft.com/office/drawing/2014/main" id="{67D86689-BE3C-15CE-B962-DDAD930D5DEE}"/>
                </a:ext>
              </a:extLst>
            </p:cNvPr>
            <p:cNvSpPr/>
            <p:nvPr/>
          </p:nvSpPr>
          <p:spPr>
            <a:xfrm>
              <a:off x="7850852" y="2789950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2" name="Freihandform: Form 381">
              <a:extLst>
                <a:ext uri="{FF2B5EF4-FFF2-40B4-BE49-F238E27FC236}">
                  <a16:creationId xmlns:a16="http://schemas.microsoft.com/office/drawing/2014/main" id="{14C1FE1B-396E-8C14-688C-966A280423A1}"/>
                </a:ext>
              </a:extLst>
            </p:cNvPr>
            <p:cNvSpPr/>
            <p:nvPr/>
          </p:nvSpPr>
          <p:spPr>
            <a:xfrm>
              <a:off x="7874063" y="2800604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766 h 29552"/>
                <a:gd name="connsiteX2" fmla="*/ 13698 w 41095"/>
                <a:gd name="connsiteY2" fmla="*/ 9766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766 h 29552"/>
                <a:gd name="connsiteX6" fmla="*/ 41095 w 41095"/>
                <a:gd name="connsiteY6" fmla="*/ 9766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3" name="Freihandform: Form 382">
              <a:extLst>
                <a:ext uri="{FF2B5EF4-FFF2-40B4-BE49-F238E27FC236}">
                  <a16:creationId xmlns:a16="http://schemas.microsoft.com/office/drawing/2014/main" id="{E1E24594-862F-6F6B-6B11-7F0EDE419FA5}"/>
                </a:ext>
              </a:extLst>
            </p:cNvPr>
            <p:cNvSpPr/>
            <p:nvPr/>
          </p:nvSpPr>
          <p:spPr>
            <a:xfrm>
              <a:off x="7887635" y="2814683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4" name="Freihandform: Form 383">
              <a:extLst>
                <a:ext uri="{FF2B5EF4-FFF2-40B4-BE49-F238E27FC236}">
                  <a16:creationId xmlns:a16="http://schemas.microsoft.com/office/drawing/2014/main" id="{17BB7A31-4A9B-31E6-39D6-8BCD3229FC55}"/>
                </a:ext>
              </a:extLst>
            </p:cNvPr>
            <p:cNvSpPr/>
            <p:nvPr/>
          </p:nvSpPr>
          <p:spPr>
            <a:xfrm>
              <a:off x="7891694" y="2818234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766 h 29552"/>
                <a:gd name="connsiteX2" fmla="*/ 13698 w 41095"/>
                <a:gd name="connsiteY2" fmla="*/ 9766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766 h 29552"/>
                <a:gd name="connsiteX6" fmla="*/ 41095 w 41095"/>
                <a:gd name="connsiteY6" fmla="*/ 9766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5" name="Freihandform: Form 384">
              <a:extLst>
                <a:ext uri="{FF2B5EF4-FFF2-40B4-BE49-F238E27FC236}">
                  <a16:creationId xmlns:a16="http://schemas.microsoft.com/office/drawing/2014/main" id="{02B74435-0F62-E906-4117-33C3CA1670C2}"/>
                </a:ext>
              </a:extLst>
            </p:cNvPr>
            <p:cNvSpPr/>
            <p:nvPr/>
          </p:nvSpPr>
          <p:spPr>
            <a:xfrm>
              <a:off x="7901206" y="2828889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6" name="Freihandform: Form 385">
              <a:extLst>
                <a:ext uri="{FF2B5EF4-FFF2-40B4-BE49-F238E27FC236}">
                  <a16:creationId xmlns:a16="http://schemas.microsoft.com/office/drawing/2014/main" id="{39C851BE-11AA-94C6-C7BC-EAEFDE487C69}"/>
                </a:ext>
              </a:extLst>
            </p:cNvPr>
            <p:cNvSpPr/>
            <p:nvPr/>
          </p:nvSpPr>
          <p:spPr>
            <a:xfrm>
              <a:off x="7918964" y="2846773"/>
              <a:ext cx="41095" cy="29552"/>
            </a:xfrm>
            <a:custGeom>
              <a:avLst/>
              <a:gdLst>
                <a:gd name="connsiteX0" fmla="*/ 0 w 41095"/>
                <a:gd name="connsiteY0" fmla="*/ 19787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787 h 29552"/>
                <a:gd name="connsiteX8" fmla="*/ 27397 w 41095"/>
                <a:gd name="connsiteY8" fmla="*/ 19787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787 h 29552"/>
                <a:gd name="connsiteX12" fmla="*/ 0 w 41095"/>
                <a:gd name="connsiteY12" fmla="*/ 19787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7" name="Freihandform: Form 386">
              <a:extLst>
                <a:ext uri="{FF2B5EF4-FFF2-40B4-BE49-F238E27FC236}">
                  <a16:creationId xmlns:a16="http://schemas.microsoft.com/office/drawing/2014/main" id="{8B2A7A68-E3AB-B6F1-7526-17CE22AED007}"/>
                </a:ext>
              </a:extLst>
            </p:cNvPr>
            <p:cNvSpPr/>
            <p:nvPr/>
          </p:nvSpPr>
          <p:spPr>
            <a:xfrm>
              <a:off x="7929872" y="2857554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8" name="Freihandform: Form 387">
              <a:extLst>
                <a:ext uri="{FF2B5EF4-FFF2-40B4-BE49-F238E27FC236}">
                  <a16:creationId xmlns:a16="http://schemas.microsoft.com/office/drawing/2014/main" id="{884D6827-E49D-7494-9688-D27C2DDFF9A5}"/>
                </a:ext>
              </a:extLst>
            </p:cNvPr>
            <p:cNvSpPr/>
            <p:nvPr/>
          </p:nvSpPr>
          <p:spPr>
            <a:xfrm>
              <a:off x="7940653" y="2864784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9" name="Freihandform: Form 388">
              <a:extLst>
                <a:ext uri="{FF2B5EF4-FFF2-40B4-BE49-F238E27FC236}">
                  <a16:creationId xmlns:a16="http://schemas.microsoft.com/office/drawing/2014/main" id="{99A1D619-0BD1-F766-3981-FC71D37E5C86}"/>
                </a:ext>
              </a:extLst>
            </p:cNvPr>
            <p:cNvSpPr/>
            <p:nvPr/>
          </p:nvSpPr>
          <p:spPr>
            <a:xfrm>
              <a:off x="7954351" y="2864784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0" name="Freihandform: Form 389">
              <a:extLst>
                <a:ext uri="{FF2B5EF4-FFF2-40B4-BE49-F238E27FC236}">
                  <a16:creationId xmlns:a16="http://schemas.microsoft.com/office/drawing/2014/main" id="{94AA2AC7-22F4-137D-81E5-C9BF8327099D}"/>
                </a:ext>
              </a:extLst>
            </p:cNvPr>
            <p:cNvSpPr/>
            <p:nvPr/>
          </p:nvSpPr>
          <p:spPr>
            <a:xfrm>
              <a:off x="7965132" y="2864784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1" name="Freihandform: Form 390">
              <a:extLst>
                <a:ext uri="{FF2B5EF4-FFF2-40B4-BE49-F238E27FC236}">
                  <a16:creationId xmlns:a16="http://schemas.microsoft.com/office/drawing/2014/main" id="{127C4F41-55BC-17ED-C3B4-D941CD4B46D8}"/>
                </a:ext>
              </a:extLst>
            </p:cNvPr>
            <p:cNvSpPr/>
            <p:nvPr/>
          </p:nvSpPr>
          <p:spPr>
            <a:xfrm>
              <a:off x="7969191" y="2875818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2" name="Freihandform: Form 391">
              <a:extLst>
                <a:ext uri="{FF2B5EF4-FFF2-40B4-BE49-F238E27FC236}">
                  <a16:creationId xmlns:a16="http://schemas.microsoft.com/office/drawing/2014/main" id="{F80C8517-D8C2-195B-2364-29D7F54E7332}"/>
                </a:ext>
              </a:extLst>
            </p:cNvPr>
            <p:cNvSpPr/>
            <p:nvPr/>
          </p:nvSpPr>
          <p:spPr>
            <a:xfrm>
              <a:off x="7969191" y="2875818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3" name="Freihandform: Form 392">
              <a:extLst>
                <a:ext uri="{FF2B5EF4-FFF2-40B4-BE49-F238E27FC236}">
                  <a16:creationId xmlns:a16="http://schemas.microsoft.com/office/drawing/2014/main" id="{CA81996E-DF1F-F20D-CC52-897DA82AD28A}"/>
                </a:ext>
              </a:extLst>
            </p:cNvPr>
            <p:cNvSpPr/>
            <p:nvPr/>
          </p:nvSpPr>
          <p:spPr>
            <a:xfrm>
              <a:off x="8001915" y="2883175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7 h 29426"/>
                <a:gd name="connsiteX2" fmla="*/ 13698 w 41095"/>
                <a:gd name="connsiteY2" fmla="*/ 9767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7 h 29426"/>
                <a:gd name="connsiteX6" fmla="*/ 41095 w 41095"/>
                <a:gd name="connsiteY6" fmla="*/ 9767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4" name="Freihandform: Form 393">
              <a:extLst>
                <a:ext uri="{FF2B5EF4-FFF2-40B4-BE49-F238E27FC236}">
                  <a16:creationId xmlns:a16="http://schemas.microsoft.com/office/drawing/2014/main" id="{539EA24A-5572-44CB-3EBE-A5F12000D4EE}"/>
                </a:ext>
              </a:extLst>
            </p:cNvPr>
            <p:cNvSpPr/>
            <p:nvPr/>
          </p:nvSpPr>
          <p:spPr>
            <a:xfrm>
              <a:off x="8015360" y="2901566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5" name="Freihandform: Form 394">
              <a:extLst>
                <a:ext uri="{FF2B5EF4-FFF2-40B4-BE49-F238E27FC236}">
                  <a16:creationId xmlns:a16="http://schemas.microsoft.com/office/drawing/2014/main" id="{368739C2-9731-676D-AD8C-C549032A1469}"/>
                </a:ext>
              </a:extLst>
            </p:cNvPr>
            <p:cNvSpPr/>
            <p:nvPr/>
          </p:nvSpPr>
          <p:spPr>
            <a:xfrm>
              <a:off x="8025000" y="2912728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6" name="Freihandform: Form 395">
              <a:extLst>
                <a:ext uri="{FF2B5EF4-FFF2-40B4-BE49-F238E27FC236}">
                  <a16:creationId xmlns:a16="http://schemas.microsoft.com/office/drawing/2014/main" id="{3368754F-2FDD-98E2-7F27-51173C189303}"/>
                </a:ext>
              </a:extLst>
            </p:cNvPr>
            <p:cNvSpPr/>
            <p:nvPr/>
          </p:nvSpPr>
          <p:spPr>
            <a:xfrm>
              <a:off x="8044025" y="2916406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7" name="Freihandform: Form 396">
              <a:extLst>
                <a:ext uri="{FF2B5EF4-FFF2-40B4-BE49-F238E27FC236}">
                  <a16:creationId xmlns:a16="http://schemas.microsoft.com/office/drawing/2014/main" id="{C2113D2D-59F9-2A01-FFFB-47912B2CD7B7}"/>
                </a:ext>
              </a:extLst>
            </p:cNvPr>
            <p:cNvSpPr/>
            <p:nvPr/>
          </p:nvSpPr>
          <p:spPr>
            <a:xfrm>
              <a:off x="8060260" y="2920085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8" name="Freihandform: Form 397">
              <a:extLst>
                <a:ext uri="{FF2B5EF4-FFF2-40B4-BE49-F238E27FC236}">
                  <a16:creationId xmlns:a16="http://schemas.microsoft.com/office/drawing/2014/main" id="{72805DD8-6759-83D1-404C-4B2F05D925F0}"/>
                </a:ext>
              </a:extLst>
            </p:cNvPr>
            <p:cNvSpPr/>
            <p:nvPr/>
          </p:nvSpPr>
          <p:spPr>
            <a:xfrm>
              <a:off x="8065714" y="2923890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9" name="Freihandform: Form 398">
              <a:extLst>
                <a:ext uri="{FF2B5EF4-FFF2-40B4-BE49-F238E27FC236}">
                  <a16:creationId xmlns:a16="http://schemas.microsoft.com/office/drawing/2014/main" id="{E8C75B5E-6E6C-5A60-DE71-87264E5C796D}"/>
                </a:ext>
              </a:extLst>
            </p:cNvPr>
            <p:cNvSpPr/>
            <p:nvPr/>
          </p:nvSpPr>
          <p:spPr>
            <a:xfrm>
              <a:off x="8079286" y="2942789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766 h 29552"/>
                <a:gd name="connsiteX2" fmla="*/ 13698 w 41095"/>
                <a:gd name="connsiteY2" fmla="*/ 9766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766 h 29552"/>
                <a:gd name="connsiteX6" fmla="*/ 41095 w 41095"/>
                <a:gd name="connsiteY6" fmla="*/ 9766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7" name="Freihandform: Form 436">
              <a:extLst>
                <a:ext uri="{FF2B5EF4-FFF2-40B4-BE49-F238E27FC236}">
                  <a16:creationId xmlns:a16="http://schemas.microsoft.com/office/drawing/2014/main" id="{8434A40E-E0A2-968F-91B1-11C52A888BEE}"/>
                </a:ext>
              </a:extLst>
            </p:cNvPr>
            <p:cNvSpPr/>
            <p:nvPr/>
          </p:nvSpPr>
          <p:spPr>
            <a:xfrm>
              <a:off x="8082076" y="2946594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8" name="Freihandform: Form 437">
              <a:extLst>
                <a:ext uri="{FF2B5EF4-FFF2-40B4-BE49-F238E27FC236}">
                  <a16:creationId xmlns:a16="http://schemas.microsoft.com/office/drawing/2014/main" id="{6BC3EBFD-5162-73FE-C380-0E3B7A78BBD5}"/>
                </a:ext>
              </a:extLst>
            </p:cNvPr>
            <p:cNvSpPr/>
            <p:nvPr/>
          </p:nvSpPr>
          <p:spPr>
            <a:xfrm>
              <a:off x="8083471" y="2946594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9" name="Freihandform: Form 438">
              <a:extLst>
                <a:ext uri="{FF2B5EF4-FFF2-40B4-BE49-F238E27FC236}">
                  <a16:creationId xmlns:a16="http://schemas.microsoft.com/office/drawing/2014/main" id="{32047E91-27B5-9888-9BCD-E541B997F5D9}"/>
                </a:ext>
              </a:extLst>
            </p:cNvPr>
            <p:cNvSpPr/>
            <p:nvPr/>
          </p:nvSpPr>
          <p:spPr>
            <a:xfrm>
              <a:off x="8086008" y="2946594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0" name="Freihandform: Form 439">
              <a:extLst>
                <a:ext uri="{FF2B5EF4-FFF2-40B4-BE49-F238E27FC236}">
                  <a16:creationId xmlns:a16="http://schemas.microsoft.com/office/drawing/2014/main" id="{103A88B1-C77E-8EED-C477-252E8C11B57E}"/>
                </a:ext>
              </a:extLst>
            </p:cNvPr>
            <p:cNvSpPr/>
            <p:nvPr/>
          </p:nvSpPr>
          <p:spPr>
            <a:xfrm>
              <a:off x="8087403" y="2946594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1" name="Freihandform: Form 440">
              <a:extLst>
                <a:ext uri="{FF2B5EF4-FFF2-40B4-BE49-F238E27FC236}">
                  <a16:creationId xmlns:a16="http://schemas.microsoft.com/office/drawing/2014/main" id="{3FB782B4-7A87-3848-C3D8-1248CC4EEAC6}"/>
                </a:ext>
              </a:extLst>
            </p:cNvPr>
            <p:cNvSpPr/>
            <p:nvPr/>
          </p:nvSpPr>
          <p:spPr>
            <a:xfrm>
              <a:off x="8090194" y="2950399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2" name="Freihandform: Form 441">
              <a:extLst>
                <a:ext uri="{FF2B5EF4-FFF2-40B4-BE49-F238E27FC236}">
                  <a16:creationId xmlns:a16="http://schemas.microsoft.com/office/drawing/2014/main" id="{4358982C-A7C1-2953-692B-24813ABC37BD}"/>
                </a:ext>
              </a:extLst>
            </p:cNvPr>
            <p:cNvSpPr/>
            <p:nvPr/>
          </p:nvSpPr>
          <p:spPr>
            <a:xfrm>
              <a:off x="8091589" y="2950399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3" name="Freihandform: Form 442">
              <a:extLst>
                <a:ext uri="{FF2B5EF4-FFF2-40B4-BE49-F238E27FC236}">
                  <a16:creationId xmlns:a16="http://schemas.microsoft.com/office/drawing/2014/main" id="{96183079-F68F-0542-8F12-81F86767FC80}"/>
                </a:ext>
              </a:extLst>
            </p:cNvPr>
            <p:cNvSpPr/>
            <p:nvPr/>
          </p:nvSpPr>
          <p:spPr>
            <a:xfrm>
              <a:off x="8158179" y="2973864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4" name="Freihandform: Form 443">
              <a:extLst>
                <a:ext uri="{FF2B5EF4-FFF2-40B4-BE49-F238E27FC236}">
                  <a16:creationId xmlns:a16="http://schemas.microsoft.com/office/drawing/2014/main" id="{0E0F4EBF-A95E-C3D9-268D-E7575812CC37}"/>
                </a:ext>
              </a:extLst>
            </p:cNvPr>
            <p:cNvSpPr/>
            <p:nvPr/>
          </p:nvSpPr>
          <p:spPr>
            <a:xfrm>
              <a:off x="8189381" y="2993397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5" name="Freihandform: Form 444">
              <a:extLst>
                <a:ext uri="{FF2B5EF4-FFF2-40B4-BE49-F238E27FC236}">
                  <a16:creationId xmlns:a16="http://schemas.microsoft.com/office/drawing/2014/main" id="{CDEDCC7E-4164-64C5-DDCA-EAF0B82A5997}"/>
                </a:ext>
              </a:extLst>
            </p:cNvPr>
            <p:cNvSpPr/>
            <p:nvPr/>
          </p:nvSpPr>
          <p:spPr>
            <a:xfrm>
              <a:off x="8194835" y="2993397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6" name="Freihandform: Form 445">
              <a:extLst>
                <a:ext uri="{FF2B5EF4-FFF2-40B4-BE49-F238E27FC236}">
                  <a16:creationId xmlns:a16="http://schemas.microsoft.com/office/drawing/2014/main" id="{AB20EA5E-B56B-A867-4242-F4EF6568BFAE}"/>
                </a:ext>
              </a:extLst>
            </p:cNvPr>
            <p:cNvSpPr/>
            <p:nvPr/>
          </p:nvSpPr>
          <p:spPr>
            <a:xfrm>
              <a:off x="8201557" y="2997328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7" name="Freihandform: Form 446">
              <a:extLst>
                <a:ext uri="{FF2B5EF4-FFF2-40B4-BE49-F238E27FC236}">
                  <a16:creationId xmlns:a16="http://schemas.microsoft.com/office/drawing/2014/main" id="{D0DFE3A2-DC29-EE6C-5EF6-C69C7F1F040A}"/>
                </a:ext>
              </a:extLst>
            </p:cNvPr>
            <p:cNvSpPr/>
            <p:nvPr/>
          </p:nvSpPr>
          <p:spPr>
            <a:xfrm>
              <a:off x="8216524" y="3001387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8" name="Freihandform: Form 447">
              <a:extLst>
                <a:ext uri="{FF2B5EF4-FFF2-40B4-BE49-F238E27FC236}">
                  <a16:creationId xmlns:a16="http://schemas.microsoft.com/office/drawing/2014/main" id="{56A7A3CA-17E7-0E35-B8B2-825F87B750AB}"/>
                </a:ext>
              </a:extLst>
            </p:cNvPr>
            <p:cNvSpPr/>
            <p:nvPr/>
          </p:nvSpPr>
          <p:spPr>
            <a:xfrm>
              <a:off x="8217919" y="3001387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9" name="Freihandform: Form 448">
              <a:extLst>
                <a:ext uri="{FF2B5EF4-FFF2-40B4-BE49-F238E27FC236}">
                  <a16:creationId xmlns:a16="http://schemas.microsoft.com/office/drawing/2014/main" id="{37B9E160-F00D-86F3-2E52-D68F0CB05DEE}"/>
                </a:ext>
              </a:extLst>
            </p:cNvPr>
            <p:cNvSpPr/>
            <p:nvPr/>
          </p:nvSpPr>
          <p:spPr>
            <a:xfrm>
              <a:off x="8231491" y="3017496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6 h 29553"/>
                <a:gd name="connsiteX2" fmla="*/ 13698 w 41095"/>
                <a:gd name="connsiteY2" fmla="*/ 9766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6 h 29553"/>
                <a:gd name="connsiteX6" fmla="*/ 41095 w 41095"/>
                <a:gd name="connsiteY6" fmla="*/ 9766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0" name="Freihandform: Form 449">
              <a:extLst>
                <a:ext uri="{FF2B5EF4-FFF2-40B4-BE49-F238E27FC236}">
                  <a16:creationId xmlns:a16="http://schemas.microsoft.com/office/drawing/2014/main" id="{F6B53735-A020-0769-A71C-32EEEE2ADC05}"/>
                </a:ext>
              </a:extLst>
            </p:cNvPr>
            <p:cNvSpPr/>
            <p:nvPr/>
          </p:nvSpPr>
          <p:spPr>
            <a:xfrm>
              <a:off x="8235676" y="3021554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6 h 29553"/>
                <a:gd name="connsiteX2" fmla="*/ 13698 w 41095"/>
                <a:gd name="connsiteY2" fmla="*/ 9766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6 h 29553"/>
                <a:gd name="connsiteX6" fmla="*/ 41095 w 41095"/>
                <a:gd name="connsiteY6" fmla="*/ 9766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1" name="Freihandform: Form 450">
              <a:extLst>
                <a:ext uri="{FF2B5EF4-FFF2-40B4-BE49-F238E27FC236}">
                  <a16:creationId xmlns:a16="http://schemas.microsoft.com/office/drawing/2014/main" id="{841F1462-0A3E-0C0C-289A-8C650DCA5B0D}"/>
                </a:ext>
              </a:extLst>
            </p:cNvPr>
            <p:cNvSpPr/>
            <p:nvPr/>
          </p:nvSpPr>
          <p:spPr>
            <a:xfrm>
              <a:off x="8243794" y="3021554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6 h 29553"/>
                <a:gd name="connsiteX2" fmla="*/ 13698 w 41095"/>
                <a:gd name="connsiteY2" fmla="*/ 9766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6 h 29553"/>
                <a:gd name="connsiteX6" fmla="*/ 41095 w 41095"/>
                <a:gd name="connsiteY6" fmla="*/ 9766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2" name="Freihandform: Form 451">
              <a:extLst>
                <a:ext uri="{FF2B5EF4-FFF2-40B4-BE49-F238E27FC236}">
                  <a16:creationId xmlns:a16="http://schemas.microsoft.com/office/drawing/2014/main" id="{EB471D65-5994-C6B3-1253-E3D5993F7089}"/>
                </a:ext>
              </a:extLst>
            </p:cNvPr>
            <p:cNvSpPr/>
            <p:nvPr/>
          </p:nvSpPr>
          <p:spPr>
            <a:xfrm>
              <a:off x="8245189" y="3029672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3" name="Freihandform: Form 452">
              <a:extLst>
                <a:ext uri="{FF2B5EF4-FFF2-40B4-BE49-F238E27FC236}">
                  <a16:creationId xmlns:a16="http://schemas.microsoft.com/office/drawing/2014/main" id="{25D7DC15-7494-F0CC-CE0F-0F54F080C59F}"/>
                </a:ext>
              </a:extLst>
            </p:cNvPr>
            <p:cNvSpPr/>
            <p:nvPr/>
          </p:nvSpPr>
          <p:spPr>
            <a:xfrm>
              <a:off x="8264215" y="3033858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4" name="Freihandform: Form 453">
              <a:extLst>
                <a:ext uri="{FF2B5EF4-FFF2-40B4-BE49-F238E27FC236}">
                  <a16:creationId xmlns:a16="http://schemas.microsoft.com/office/drawing/2014/main" id="{F3A499CF-AC80-F023-09FD-B70F2663FB86}"/>
                </a:ext>
              </a:extLst>
            </p:cNvPr>
            <p:cNvSpPr/>
            <p:nvPr/>
          </p:nvSpPr>
          <p:spPr>
            <a:xfrm>
              <a:off x="8285904" y="3046161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5" name="Freihandform: Form 454">
              <a:extLst>
                <a:ext uri="{FF2B5EF4-FFF2-40B4-BE49-F238E27FC236}">
                  <a16:creationId xmlns:a16="http://schemas.microsoft.com/office/drawing/2014/main" id="{74BE2FDE-BEB0-FFF8-2502-E7FE004CDDB7}"/>
                </a:ext>
              </a:extLst>
            </p:cNvPr>
            <p:cNvSpPr/>
            <p:nvPr/>
          </p:nvSpPr>
          <p:spPr>
            <a:xfrm>
              <a:off x="8318501" y="3050346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6" name="Freihandform: Form 455">
              <a:extLst>
                <a:ext uri="{FF2B5EF4-FFF2-40B4-BE49-F238E27FC236}">
                  <a16:creationId xmlns:a16="http://schemas.microsoft.com/office/drawing/2014/main" id="{7AEF94A5-B87D-B769-056B-2A288F64139A}"/>
                </a:ext>
              </a:extLst>
            </p:cNvPr>
            <p:cNvSpPr/>
            <p:nvPr/>
          </p:nvSpPr>
          <p:spPr>
            <a:xfrm>
              <a:off x="8330677" y="3050346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7" name="Freihandform: Form 456">
              <a:extLst>
                <a:ext uri="{FF2B5EF4-FFF2-40B4-BE49-F238E27FC236}">
                  <a16:creationId xmlns:a16="http://schemas.microsoft.com/office/drawing/2014/main" id="{5F804E27-C7A0-5C2D-8585-256B28A25B69}"/>
                </a:ext>
              </a:extLst>
            </p:cNvPr>
            <p:cNvSpPr/>
            <p:nvPr/>
          </p:nvSpPr>
          <p:spPr>
            <a:xfrm>
              <a:off x="8352493" y="3054532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8" name="Freihandform: Form 457">
              <a:extLst>
                <a:ext uri="{FF2B5EF4-FFF2-40B4-BE49-F238E27FC236}">
                  <a16:creationId xmlns:a16="http://schemas.microsoft.com/office/drawing/2014/main" id="{9D1D60AB-DA49-1C83-4723-BDFD26416B57}"/>
                </a:ext>
              </a:extLst>
            </p:cNvPr>
            <p:cNvSpPr/>
            <p:nvPr/>
          </p:nvSpPr>
          <p:spPr>
            <a:xfrm>
              <a:off x="8368855" y="3054532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9" name="Freihandform: Form 458">
              <a:extLst>
                <a:ext uri="{FF2B5EF4-FFF2-40B4-BE49-F238E27FC236}">
                  <a16:creationId xmlns:a16="http://schemas.microsoft.com/office/drawing/2014/main" id="{62FA6E66-FFDC-10F3-2781-6A6C1A828408}"/>
                </a:ext>
              </a:extLst>
            </p:cNvPr>
            <p:cNvSpPr/>
            <p:nvPr/>
          </p:nvSpPr>
          <p:spPr>
            <a:xfrm>
              <a:off x="8419083" y="3075841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0" name="Freihandform: Form 459">
              <a:extLst>
                <a:ext uri="{FF2B5EF4-FFF2-40B4-BE49-F238E27FC236}">
                  <a16:creationId xmlns:a16="http://schemas.microsoft.com/office/drawing/2014/main" id="{8B1E59D8-C4B2-B38F-C6CC-22182EFFF625}"/>
                </a:ext>
              </a:extLst>
            </p:cNvPr>
            <p:cNvSpPr/>
            <p:nvPr/>
          </p:nvSpPr>
          <p:spPr>
            <a:xfrm>
              <a:off x="8432781" y="3075841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1" name="Freihandform: Form 460">
              <a:extLst>
                <a:ext uri="{FF2B5EF4-FFF2-40B4-BE49-F238E27FC236}">
                  <a16:creationId xmlns:a16="http://schemas.microsoft.com/office/drawing/2014/main" id="{C2B192D6-B39A-5C77-D256-1F0B260D02AA}"/>
                </a:ext>
              </a:extLst>
            </p:cNvPr>
            <p:cNvSpPr/>
            <p:nvPr/>
          </p:nvSpPr>
          <p:spPr>
            <a:xfrm>
              <a:off x="8434050" y="3075841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2" name="Freihandform: Form 461">
              <a:extLst>
                <a:ext uri="{FF2B5EF4-FFF2-40B4-BE49-F238E27FC236}">
                  <a16:creationId xmlns:a16="http://schemas.microsoft.com/office/drawing/2014/main" id="{A85F59C5-3EF5-004C-75AF-B5779E0F5E8C}"/>
                </a:ext>
              </a:extLst>
            </p:cNvPr>
            <p:cNvSpPr/>
            <p:nvPr/>
          </p:nvSpPr>
          <p:spPr>
            <a:xfrm>
              <a:off x="8435445" y="3075841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3" name="Freihandform: Form 462">
              <a:extLst>
                <a:ext uri="{FF2B5EF4-FFF2-40B4-BE49-F238E27FC236}">
                  <a16:creationId xmlns:a16="http://schemas.microsoft.com/office/drawing/2014/main" id="{FB04D18B-259D-1A8C-B9B3-93E5C458AEC6}"/>
                </a:ext>
              </a:extLst>
            </p:cNvPr>
            <p:cNvSpPr/>
            <p:nvPr/>
          </p:nvSpPr>
          <p:spPr>
            <a:xfrm>
              <a:off x="8444958" y="3080153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4" name="Freihandform: Form 463">
              <a:extLst>
                <a:ext uri="{FF2B5EF4-FFF2-40B4-BE49-F238E27FC236}">
                  <a16:creationId xmlns:a16="http://schemas.microsoft.com/office/drawing/2014/main" id="{205C2F62-3019-6365-F6E2-8D2394930EF5}"/>
                </a:ext>
              </a:extLst>
            </p:cNvPr>
            <p:cNvSpPr/>
            <p:nvPr/>
          </p:nvSpPr>
          <p:spPr>
            <a:xfrm>
              <a:off x="8480345" y="3080153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5" name="Freihandform: Form 464">
              <a:extLst>
                <a:ext uri="{FF2B5EF4-FFF2-40B4-BE49-F238E27FC236}">
                  <a16:creationId xmlns:a16="http://schemas.microsoft.com/office/drawing/2014/main" id="{F0242EF0-2497-0E3E-397D-E20B6F837EF9}"/>
                </a:ext>
              </a:extLst>
            </p:cNvPr>
            <p:cNvSpPr/>
            <p:nvPr/>
          </p:nvSpPr>
          <p:spPr>
            <a:xfrm>
              <a:off x="8480345" y="3080153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6" name="Freihandform: Form 465">
              <a:extLst>
                <a:ext uri="{FF2B5EF4-FFF2-40B4-BE49-F238E27FC236}">
                  <a16:creationId xmlns:a16="http://schemas.microsoft.com/office/drawing/2014/main" id="{85F06FB8-3E0F-84D6-9B40-0B27F59A24EF}"/>
                </a:ext>
              </a:extLst>
            </p:cNvPr>
            <p:cNvSpPr/>
            <p:nvPr/>
          </p:nvSpPr>
          <p:spPr>
            <a:xfrm>
              <a:off x="8485672" y="3080153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7" name="Freihandform: Form 466">
              <a:extLst>
                <a:ext uri="{FF2B5EF4-FFF2-40B4-BE49-F238E27FC236}">
                  <a16:creationId xmlns:a16="http://schemas.microsoft.com/office/drawing/2014/main" id="{1C778C8A-627B-B77C-423E-62E48ABE0839}"/>
                </a:ext>
              </a:extLst>
            </p:cNvPr>
            <p:cNvSpPr/>
            <p:nvPr/>
          </p:nvSpPr>
          <p:spPr>
            <a:xfrm>
              <a:off x="8488463" y="3080153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8" name="Freihandform: Form 467">
              <a:extLst>
                <a:ext uri="{FF2B5EF4-FFF2-40B4-BE49-F238E27FC236}">
                  <a16:creationId xmlns:a16="http://schemas.microsoft.com/office/drawing/2014/main" id="{E198C818-1A7E-0205-BB8D-4C500AB1F4C2}"/>
                </a:ext>
              </a:extLst>
            </p:cNvPr>
            <p:cNvSpPr/>
            <p:nvPr/>
          </p:nvSpPr>
          <p:spPr>
            <a:xfrm>
              <a:off x="8499371" y="3093725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9" name="Freihandform: Form 468">
              <a:extLst>
                <a:ext uri="{FF2B5EF4-FFF2-40B4-BE49-F238E27FC236}">
                  <a16:creationId xmlns:a16="http://schemas.microsoft.com/office/drawing/2014/main" id="{6746FD90-DAB5-5D94-EE34-B96664B546B2}"/>
                </a:ext>
              </a:extLst>
            </p:cNvPr>
            <p:cNvSpPr/>
            <p:nvPr/>
          </p:nvSpPr>
          <p:spPr>
            <a:xfrm>
              <a:off x="8503430" y="3093725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0" name="Freihandform: Form 469">
              <a:extLst>
                <a:ext uri="{FF2B5EF4-FFF2-40B4-BE49-F238E27FC236}">
                  <a16:creationId xmlns:a16="http://schemas.microsoft.com/office/drawing/2014/main" id="{CE01B736-9AD9-CA68-CDE8-AB80C0078DA6}"/>
                </a:ext>
              </a:extLst>
            </p:cNvPr>
            <p:cNvSpPr/>
            <p:nvPr/>
          </p:nvSpPr>
          <p:spPr>
            <a:xfrm>
              <a:off x="8517001" y="3098291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1" name="Freihandform: Form 470">
              <a:extLst>
                <a:ext uri="{FF2B5EF4-FFF2-40B4-BE49-F238E27FC236}">
                  <a16:creationId xmlns:a16="http://schemas.microsoft.com/office/drawing/2014/main" id="{43B424D2-8C16-D8AD-CF2F-9B05BCAD844B}"/>
                </a:ext>
              </a:extLst>
            </p:cNvPr>
            <p:cNvSpPr/>
            <p:nvPr/>
          </p:nvSpPr>
          <p:spPr>
            <a:xfrm>
              <a:off x="8519665" y="3098291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2" name="Freihandform: Form 471">
              <a:extLst>
                <a:ext uri="{FF2B5EF4-FFF2-40B4-BE49-F238E27FC236}">
                  <a16:creationId xmlns:a16="http://schemas.microsoft.com/office/drawing/2014/main" id="{08BBF1A0-F904-4349-4039-1A8F28722796}"/>
                </a:ext>
              </a:extLst>
            </p:cNvPr>
            <p:cNvSpPr/>
            <p:nvPr/>
          </p:nvSpPr>
          <p:spPr>
            <a:xfrm>
              <a:off x="8542749" y="3112116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3" name="Freihandform: Form 472">
              <a:extLst>
                <a:ext uri="{FF2B5EF4-FFF2-40B4-BE49-F238E27FC236}">
                  <a16:creationId xmlns:a16="http://schemas.microsoft.com/office/drawing/2014/main" id="{EBDE0552-69EA-E03F-A3E7-14F02CC4B7F9}"/>
                </a:ext>
              </a:extLst>
            </p:cNvPr>
            <p:cNvSpPr/>
            <p:nvPr/>
          </p:nvSpPr>
          <p:spPr>
            <a:xfrm>
              <a:off x="8546935" y="3112116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4" name="Freihandform: Form 473">
              <a:extLst>
                <a:ext uri="{FF2B5EF4-FFF2-40B4-BE49-F238E27FC236}">
                  <a16:creationId xmlns:a16="http://schemas.microsoft.com/office/drawing/2014/main" id="{FF3CD7FA-2FDC-7A5D-2ED7-B6F88B617B64}"/>
                </a:ext>
              </a:extLst>
            </p:cNvPr>
            <p:cNvSpPr/>
            <p:nvPr/>
          </p:nvSpPr>
          <p:spPr>
            <a:xfrm>
              <a:off x="8560506" y="3116936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7 h 29426"/>
                <a:gd name="connsiteX2" fmla="*/ 13698 w 41095"/>
                <a:gd name="connsiteY2" fmla="*/ 9767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7 h 29426"/>
                <a:gd name="connsiteX6" fmla="*/ 41095 w 41095"/>
                <a:gd name="connsiteY6" fmla="*/ 9767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5" name="Freihandform: Form 474">
              <a:extLst>
                <a:ext uri="{FF2B5EF4-FFF2-40B4-BE49-F238E27FC236}">
                  <a16:creationId xmlns:a16="http://schemas.microsoft.com/office/drawing/2014/main" id="{6F21A5FC-B0AA-37DB-8AD8-1E69D3B7BD62}"/>
                </a:ext>
              </a:extLst>
            </p:cNvPr>
            <p:cNvSpPr/>
            <p:nvPr/>
          </p:nvSpPr>
          <p:spPr>
            <a:xfrm>
              <a:off x="8576741" y="3121629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6 h 29553"/>
                <a:gd name="connsiteX2" fmla="*/ 13698 w 41095"/>
                <a:gd name="connsiteY2" fmla="*/ 9766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6 h 29553"/>
                <a:gd name="connsiteX6" fmla="*/ 41095 w 41095"/>
                <a:gd name="connsiteY6" fmla="*/ 9766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6" name="Freihandform: Form 475">
              <a:extLst>
                <a:ext uri="{FF2B5EF4-FFF2-40B4-BE49-F238E27FC236}">
                  <a16:creationId xmlns:a16="http://schemas.microsoft.com/office/drawing/2014/main" id="{D916752D-2EDA-4E58-0772-85019829C523}"/>
                </a:ext>
              </a:extLst>
            </p:cNvPr>
            <p:cNvSpPr/>
            <p:nvPr/>
          </p:nvSpPr>
          <p:spPr>
            <a:xfrm>
              <a:off x="8589045" y="3126322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7" name="Freihandform: Form 476">
              <a:extLst>
                <a:ext uri="{FF2B5EF4-FFF2-40B4-BE49-F238E27FC236}">
                  <a16:creationId xmlns:a16="http://schemas.microsoft.com/office/drawing/2014/main" id="{14F9EF9E-F835-7BCD-2EA6-DF8070DBC444}"/>
                </a:ext>
              </a:extLst>
            </p:cNvPr>
            <p:cNvSpPr/>
            <p:nvPr/>
          </p:nvSpPr>
          <p:spPr>
            <a:xfrm>
              <a:off x="8616188" y="3140781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766 h 29552"/>
                <a:gd name="connsiteX2" fmla="*/ 13698 w 41095"/>
                <a:gd name="connsiteY2" fmla="*/ 9766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766 h 29552"/>
                <a:gd name="connsiteX6" fmla="*/ 41095 w 41095"/>
                <a:gd name="connsiteY6" fmla="*/ 9766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8" name="Freihandform: Form 477">
              <a:extLst>
                <a:ext uri="{FF2B5EF4-FFF2-40B4-BE49-F238E27FC236}">
                  <a16:creationId xmlns:a16="http://schemas.microsoft.com/office/drawing/2014/main" id="{A390915D-2FDB-CCC7-5E4B-4DC4AE9030D8}"/>
                </a:ext>
              </a:extLst>
            </p:cNvPr>
            <p:cNvSpPr/>
            <p:nvPr/>
          </p:nvSpPr>
          <p:spPr>
            <a:xfrm>
              <a:off x="8632550" y="3140781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766 h 29552"/>
                <a:gd name="connsiteX2" fmla="*/ 13698 w 41095"/>
                <a:gd name="connsiteY2" fmla="*/ 9766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766 h 29552"/>
                <a:gd name="connsiteX6" fmla="*/ 41095 w 41095"/>
                <a:gd name="connsiteY6" fmla="*/ 9766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9" name="Freihandform: Form 478">
              <a:extLst>
                <a:ext uri="{FF2B5EF4-FFF2-40B4-BE49-F238E27FC236}">
                  <a16:creationId xmlns:a16="http://schemas.microsoft.com/office/drawing/2014/main" id="{A4D87D5A-704E-7426-F261-0E2BDAD4855E}"/>
                </a:ext>
              </a:extLst>
            </p:cNvPr>
            <p:cNvSpPr/>
            <p:nvPr/>
          </p:nvSpPr>
          <p:spPr>
            <a:xfrm>
              <a:off x="8663752" y="3145601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0" name="Freihandform: Form 479">
              <a:extLst>
                <a:ext uri="{FF2B5EF4-FFF2-40B4-BE49-F238E27FC236}">
                  <a16:creationId xmlns:a16="http://schemas.microsoft.com/office/drawing/2014/main" id="{6622F191-0DA7-FD5B-BFDC-2614A7FA53FD}"/>
                </a:ext>
              </a:extLst>
            </p:cNvPr>
            <p:cNvSpPr/>
            <p:nvPr/>
          </p:nvSpPr>
          <p:spPr>
            <a:xfrm>
              <a:off x="8666542" y="3145601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1" name="Freihandform: Form 480">
              <a:extLst>
                <a:ext uri="{FF2B5EF4-FFF2-40B4-BE49-F238E27FC236}">
                  <a16:creationId xmlns:a16="http://schemas.microsoft.com/office/drawing/2014/main" id="{D8942382-91A7-8F51-AFEE-1D6DC015AD65}"/>
                </a:ext>
              </a:extLst>
            </p:cNvPr>
            <p:cNvSpPr/>
            <p:nvPr/>
          </p:nvSpPr>
          <p:spPr>
            <a:xfrm>
              <a:off x="8695081" y="3150548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2" name="Freihandform: Form 481">
              <a:extLst>
                <a:ext uri="{FF2B5EF4-FFF2-40B4-BE49-F238E27FC236}">
                  <a16:creationId xmlns:a16="http://schemas.microsoft.com/office/drawing/2014/main" id="{70C6EB05-A503-D841-8D5D-55DFE444C921}"/>
                </a:ext>
              </a:extLst>
            </p:cNvPr>
            <p:cNvSpPr/>
            <p:nvPr/>
          </p:nvSpPr>
          <p:spPr>
            <a:xfrm>
              <a:off x="8716770" y="3150548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3" name="Freihandform: Form 482">
              <a:extLst>
                <a:ext uri="{FF2B5EF4-FFF2-40B4-BE49-F238E27FC236}">
                  <a16:creationId xmlns:a16="http://schemas.microsoft.com/office/drawing/2014/main" id="{3C9B1D2F-BAFA-5216-3C56-F955019765AB}"/>
                </a:ext>
              </a:extLst>
            </p:cNvPr>
            <p:cNvSpPr/>
            <p:nvPr/>
          </p:nvSpPr>
          <p:spPr>
            <a:xfrm>
              <a:off x="8728946" y="3155621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6 h 29553"/>
                <a:gd name="connsiteX2" fmla="*/ 13698 w 41095"/>
                <a:gd name="connsiteY2" fmla="*/ 9766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6 h 29553"/>
                <a:gd name="connsiteX6" fmla="*/ 41095 w 41095"/>
                <a:gd name="connsiteY6" fmla="*/ 9766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4" name="Freihandform: Form 483">
              <a:extLst>
                <a:ext uri="{FF2B5EF4-FFF2-40B4-BE49-F238E27FC236}">
                  <a16:creationId xmlns:a16="http://schemas.microsoft.com/office/drawing/2014/main" id="{A55EC8A8-A36F-BD0F-49D7-D5BDBBE8D0F5}"/>
                </a:ext>
              </a:extLst>
            </p:cNvPr>
            <p:cNvSpPr/>
            <p:nvPr/>
          </p:nvSpPr>
          <p:spPr>
            <a:xfrm>
              <a:off x="8728946" y="3155621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6 h 29553"/>
                <a:gd name="connsiteX2" fmla="*/ 13698 w 41095"/>
                <a:gd name="connsiteY2" fmla="*/ 9766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6 h 29553"/>
                <a:gd name="connsiteX6" fmla="*/ 41095 w 41095"/>
                <a:gd name="connsiteY6" fmla="*/ 9766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5" name="Freihandform: Form 484">
              <a:extLst>
                <a:ext uri="{FF2B5EF4-FFF2-40B4-BE49-F238E27FC236}">
                  <a16:creationId xmlns:a16="http://schemas.microsoft.com/office/drawing/2014/main" id="{CBFE0FC3-6146-940E-7F9A-4651418D44C0}"/>
                </a:ext>
              </a:extLst>
            </p:cNvPr>
            <p:cNvSpPr/>
            <p:nvPr/>
          </p:nvSpPr>
          <p:spPr>
            <a:xfrm>
              <a:off x="8767124" y="3160695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6" name="Freihandform: Form 485">
              <a:extLst>
                <a:ext uri="{FF2B5EF4-FFF2-40B4-BE49-F238E27FC236}">
                  <a16:creationId xmlns:a16="http://schemas.microsoft.com/office/drawing/2014/main" id="{F7202C7E-C00C-F808-A869-CBDE68A72993}"/>
                </a:ext>
              </a:extLst>
            </p:cNvPr>
            <p:cNvSpPr/>
            <p:nvPr/>
          </p:nvSpPr>
          <p:spPr>
            <a:xfrm>
              <a:off x="8805175" y="3186570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7" name="Freihandform: Form 486">
              <a:extLst>
                <a:ext uri="{FF2B5EF4-FFF2-40B4-BE49-F238E27FC236}">
                  <a16:creationId xmlns:a16="http://schemas.microsoft.com/office/drawing/2014/main" id="{B348ED84-DB9F-5AD5-9A80-AC7B07DF6AD4}"/>
                </a:ext>
              </a:extLst>
            </p:cNvPr>
            <p:cNvSpPr/>
            <p:nvPr/>
          </p:nvSpPr>
          <p:spPr>
            <a:xfrm>
              <a:off x="8806570" y="3186570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8" name="Freihandform: Form 487">
              <a:extLst>
                <a:ext uri="{FF2B5EF4-FFF2-40B4-BE49-F238E27FC236}">
                  <a16:creationId xmlns:a16="http://schemas.microsoft.com/office/drawing/2014/main" id="{EC27F72B-0DFA-EAE3-13FA-7861D5651781}"/>
                </a:ext>
              </a:extLst>
            </p:cNvPr>
            <p:cNvSpPr/>
            <p:nvPr/>
          </p:nvSpPr>
          <p:spPr>
            <a:xfrm>
              <a:off x="8807839" y="3186570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9" name="Freihandform: Form 488">
              <a:extLst>
                <a:ext uri="{FF2B5EF4-FFF2-40B4-BE49-F238E27FC236}">
                  <a16:creationId xmlns:a16="http://schemas.microsoft.com/office/drawing/2014/main" id="{FABE5F01-C33D-CD30-0362-7CE036D87C07}"/>
                </a:ext>
              </a:extLst>
            </p:cNvPr>
            <p:cNvSpPr/>
            <p:nvPr/>
          </p:nvSpPr>
          <p:spPr>
            <a:xfrm>
              <a:off x="8828260" y="3191770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0" name="Freihandform: Form 489">
              <a:extLst>
                <a:ext uri="{FF2B5EF4-FFF2-40B4-BE49-F238E27FC236}">
                  <a16:creationId xmlns:a16="http://schemas.microsoft.com/office/drawing/2014/main" id="{F557BF4C-5ED6-DCEC-2979-9FE11F390C87}"/>
                </a:ext>
              </a:extLst>
            </p:cNvPr>
            <p:cNvSpPr/>
            <p:nvPr/>
          </p:nvSpPr>
          <p:spPr>
            <a:xfrm>
              <a:off x="8837772" y="3191770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1" name="Freihandform: Form 490">
              <a:extLst>
                <a:ext uri="{FF2B5EF4-FFF2-40B4-BE49-F238E27FC236}">
                  <a16:creationId xmlns:a16="http://schemas.microsoft.com/office/drawing/2014/main" id="{5DE8E16D-F947-B20A-FB90-E1EE952B6145}"/>
                </a:ext>
              </a:extLst>
            </p:cNvPr>
            <p:cNvSpPr/>
            <p:nvPr/>
          </p:nvSpPr>
          <p:spPr>
            <a:xfrm>
              <a:off x="8840563" y="3191770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2" name="Freihandform: Form 491">
              <a:extLst>
                <a:ext uri="{FF2B5EF4-FFF2-40B4-BE49-F238E27FC236}">
                  <a16:creationId xmlns:a16="http://schemas.microsoft.com/office/drawing/2014/main" id="{9DC497E4-CEF5-CE91-C7DF-0EB14278DF1D}"/>
                </a:ext>
              </a:extLst>
            </p:cNvPr>
            <p:cNvSpPr/>
            <p:nvPr/>
          </p:nvSpPr>
          <p:spPr>
            <a:xfrm>
              <a:off x="8841831" y="3197224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3" name="Freihandform: Form 492">
              <a:extLst>
                <a:ext uri="{FF2B5EF4-FFF2-40B4-BE49-F238E27FC236}">
                  <a16:creationId xmlns:a16="http://schemas.microsoft.com/office/drawing/2014/main" id="{64BEF5E9-A23B-DA54-117E-15E2FBFD52CD}"/>
                </a:ext>
              </a:extLst>
            </p:cNvPr>
            <p:cNvSpPr/>
            <p:nvPr/>
          </p:nvSpPr>
          <p:spPr>
            <a:xfrm>
              <a:off x="8870370" y="3219294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4" name="Freihandform: Form 493">
              <a:extLst>
                <a:ext uri="{FF2B5EF4-FFF2-40B4-BE49-F238E27FC236}">
                  <a16:creationId xmlns:a16="http://schemas.microsoft.com/office/drawing/2014/main" id="{D1265444-DBD8-EB24-277A-1389D7D6E0A9}"/>
                </a:ext>
              </a:extLst>
            </p:cNvPr>
            <p:cNvSpPr/>
            <p:nvPr/>
          </p:nvSpPr>
          <p:spPr>
            <a:xfrm>
              <a:off x="8883941" y="3219294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5" name="Freihandform: Form 494">
              <a:extLst>
                <a:ext uri="{FF2B5EF4-FFF2-40B4-BE49-F238E27FC236}">
                  <a16:creationId xmlns:a16="http://schemas.microsoft.com/office/drawing/2014/main" id="{3A9F6178-4546-BC9B-E030-FFF8BA97DDDD}"/>
                </a:ext>
              </a:extLst>
            </p:cNvPr>
            <p:cNvSpPr/>
            <p:nvPr/>
          </p:nvSpPr>
          <p:spPr>
            <a:xfrm>
              <a:off x="8917933" y="3219294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6" name="Freihandform: Form 495">
              <a:extLst>
                <a:ext uri="{FF2B5EF4-FFF2-40B4-BE49-F238E27FC236}">
                  <a16:creationId xmlns:a16="http://schemas.microsoft.com/office/drawing/2014/main" id="{70F494C2-3A7F-14AD-C3E0-E128850D6933}"/>
                </a:ext>
              </a:extLst>
            </p:cNvPr>
            <p:cNvSpPr/>
            <p:nvPr/>
          </p:nvSpPr>
          <p:spPr>
            <a:xfrm>
              <a:off x="8938354" y="3219294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7" name="Freihandform: Form 496">
              <a:extLst>
                <a:ext uri="{FF2B5EF4-FFF2-40B4-BE49-F238E27FC236}">
                  <a16:creationId xmlns:a16="http://schemas.microsoft.com/office/drawing/2014/main" id="{3BB91254-9D9A-63CD-F936-E280B752A6D8}"/>
                </a:ext>
              </a:extLst>
            </p:cNvPr>
            <p:cNvSpPr/>
            <p:nvPr/>
          </p:nvSpPr>
          <p:spPr>
            <a:xfrm>
              <a:off x="8977801" y="3225001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8" name="Freihandform: Form 497">
              <a:extLst>
                <a:ext uri="{FF2B5EF4-FFF2-40B4-BE49-F238E27FC236}">
                  <a16:creationId xmlns:a16="http://schemas.microsoft.com/office/drawing/2014/main" id="{6297A5C0-14FE-5506-D873-AC3853C59BB7}"/>
                </a:ext>
              </a:extLst>
            </p:cNvPr>
            <p:cNvSpPr/>
            <p:nvPr/>
          </p:nvSpPr>
          <p:spPr>
            <a:xfrm>
              <a:off x="8981860" y="3225001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9" name="Freihandform: Form 498">
              <a:extLst>
                <a:ext uri="{FF2B5EF4-FFF2-40B4-BE49-F238E27FC236}">
                  <a16:creationId xmlns:a16="http://schemas.microsoft.com/office/drawing/2014/main" id="{9B9E9F75-816F-5B23-C727-CCD840467A98}"/>
                </a:ext>
              </a:extLst>
            </p:cNvPr>
            <p:cNvSpPr/>
            <p:nvPr/>
          </p:nvSpPr>
          <p:spPr>
            <a:xfrm>
              <a:off x="9006339" y="3225001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0" name="Freihandform: Form 499">
              <a:extLst>
                <a:ext uri="{FF2B5EF4-FFF2-40B4-BE49-F238E27FC236}">
                  <a16:creationId xmlns:a16="http://schemas.microsoft.com/office/drawing/2014/main" id="{E1458413-4FD5-ADD1-8C69-4F8728C171B2}"/>
                </a:ext>
              </a:extLst>
            </p:cNvPr>
            <p:cNvSpPr/>
            <p:nvPr/>
          </p:nvSpPr>
          <p:spPr>
            <a:xfrm>
              <a:off x="9015852" y="323096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766 h 29552"/>
                <a:gd name="connsiteX2" fmla="*/ 13698 w 41095"/>
                <a:gd name="connsiteY2" fmla="*/ 9766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766 h 29552"/>
                <a:gd name="connsiteX6" fmla="*/ 41095 w 41095"/>
                <a:gd name="connsiteY6" fmla="*/ 9766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1" name="Freihandform: Form 500">
              <a:extLst>
                <a:ext uri="{FF2B5EF4-FFF2-40B4-BE49-F238E27FC236}">
                  <a16:creationId xmlns:a16="http://schemas.microsoft.com/office/drawing/2014/main" id="{D406A0B9-825A-5CC1-9B84-1405D235A69F}"/>
                </a:ext>
              </a:extLst>
            </p:cNvPr>
            <p:cNvSpPr/>
            <p:nvPr/>
          </p:nvSpPr>
          <p:spPr>
            <a:xfrm>
              <a:off x="9042995" y="3236924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7 h 29553"/>
                <a:gd name="connsiteX2" fmla="*/ 13698 w 41095"/>
                <a:gd name="connsiteY2" fmla="*/ 9767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7 h 29553"/>
                <a:gd name="connsiteX6" fmla="*/ 41095 w 41095"/>
                <a:gd name="connsiteY6" fmla="*/ 9767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2" name="Freihandform: Form 501">
              <a:extLst>
                <a:ext uri="{FF2B5EF4-FFF2-40B4-BE49-F238E27FC236}">
                  <a16:creationId xmlns:a16="http://schemas.microsoft.com/office/drawing/2014/main" id="{3C1514E8-171D-ECFB-8988-6164C5892961}"/>
                </a:ext>
              </a:extLst>
            </p:cNvPr>
            <p:cNvSpPr/>
            <p:nvPr/>
          </p:nvSpPr>
          <p:spPr>
            <a:xfrm>
              <a:off x="9098803" y="3236924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7 h 29553"/>
                <a:gd name="connsiteX2" fmla="*/ 13698 w 41095"/>
                <a:gd name="connsiteY2" fmla="*/ 9767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7 h 29553"/>
                <a:gd name="connsiteX6" fmla="*/ 41095 w 41095"/>
                <a:gd name="connsiteY6" fmla="*/ 9767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3" name="Freihandform: Form 502">
              <a:extLst>
                <a:ext uri="{FF2B5EF4-FFF2-40B4-BE49-F238E27FC236}">
                  <a16:creationId xmlns:a16="http://schemas.microsoft.com/office/drawing/2014/main" id="{42DD983D-CC25-A579-34AB-6DD133304373}"/>
                </a:ext>
              </a:extLst>
            </p:cNvPr>
            <p:cNvSpPr/>
            <p:nvPr/>
          </p:nvSpPr>
          <p:spPr>
            <a:xfrm>
              <a:off x="9110980" y="3236924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7 h 29553"/>
                <a:gd name="connsiteX2" fmla="*/ 13698 w 41095"/>
                <a:gd name="connsiteY2" fmla="*/ 9767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7 h 29553"/>
                <a:gd name="connsiteX6" fmla="*/ 41095 w 41095"/>
                <a:gd name="connsiteY6" fmla="*/ 9767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4" name="Freihandform: Form 503">
              <a:extLst>
                <a:ext uri="{FF2B5EF4-FFF2-40B4-BE49-F238E27FC236}">
                  <a16:creationId xmlns:a16="http://schemas.microsoft.com/office/drawing/2014/main" id="{B2EF834D-285E-F076-212A-358D20069E92}"/>
                </a:ext>
              </a:extLst>
            </p:cNvPr>
            <p:cNvSpPr/>
            <p:nvPr/>
          </p:nvSpPr>
          <p:spPr>
            <a:xfrm>
              <a:off x="9124551" y="3236924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7 h 29553"/>
                <a:gd name="connsiteX2" fmla="*/ 13698 w 41095"/>
                <a:gd name="connsiteY2" fmla="*/ 9767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7 h 29553"/>
                <a:gd name="connsiteX6" fmla="*/ 41095 w 41095"/>
                <a:gd name="connsiteY6" fmla="*/ 9767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5" name="Freihandform: Form 504">
              <a:extLst>
                <a:ext uri="{FF2B5EF4-FFF2-40B4-BE49-F238E27FC236}">
                  <a16:creationId xmlns:a16="http://schemas.microsoft.com/office/drawing/2014/main" id="{70DEEE6E-7E01-0578-82B6-2A0635379FEE}"/>
                </a:ext>
              </a:extLst>
            </p:cNvPr>
            <p:cNvSpPr/>
            <p:nvPr/>
          </p:nvSpPr>
          <p:spPr>
            <a:xfrm>
              <a:off x="9124551" y="3236924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7 h 29553"/>
                <a:gd name="connsiteX2" fmla="*/ 13698 w 41095"/>
                <a:gd name="connsiteY2" fmla="*/ 9767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7 h 29553"/>
                <a:gd name="connsiteX6" fmla="*/ 41095 w 41095"/>
                <a:gd name="connsiteY6" fmla="*/ 9767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6" name="Freihandform: Form 505">
              <a:extLst>
                <a:ext uri="{FF2B5EF4-FFF2-40B4-BE49-F238E27FC236}">
                  <a16:creationId xmlns:a16="http://schemas.microsoft.com/office/drawing/2014/main" id="{559CA35A-FEB8-A042-1DCE-F8CD2C08DBEA}"/>
                </a:ext>
              </a:extLst>
            </p:cNvPr>
            <p:cNvSpPr/>
            <p:nvPr/>
          </p:nvSpPr>
          <p:spPr>
            <a:xfrm>
              <a:off x="9136855" y="3236924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7 h 29553"/>
                <a:gd name="connsiteX2" fmla="*/ 13698 w 41095"/>
                <a:gd name="connsiteY2" fmla="*/ 9767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7 h 29553"/>
                <a:gd name="connsiteX6" fmla="*/ 41095 w 41095"/>
                <a:gd name="connsiteY6" fmla="*/ 9767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7" name="Freihandform: Form 506">
              <a:extLst>
                <a:ext uri="{FF2B5EF4-FFF2-40B4-BE49-F238E27FC236}">
                  <a16:creationId xmlns:a16="http://schemas.microsoft.com/office/drawing/2014/main" id="{AF9F5B51-8CA4-5A16-D942-B3FB1ED11397}"/>
                </a:ext>
              </a:extLst>
            </p:cNvPr>
            <p:cNvSpPr/>
            <p:nvPr/>
          </p:nvSpPr>
          <p:spPr>
            <a:xfrm>
              <a:off x="9146367" y="3236924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7 h 29553"/>
                <a:gd name="connsiteX2" fmla="*/ 13698 w 41095"/>
                <a:gd name="connsiteY2" fmla="*/ 9767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7 h 29553"/>
                <a:gd name="connsiteX6" fmla="*/ 41095 w 41095"/>
                <a:gd name="connsiteY6" fmla="*/ 9767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8" name="Freihandform: Form 507">
              <a:extLst>
                <a:ext uri="{FF2B5EF4-FFF2-40B4-BE49-F238E27FC236}">
                  <a16:creationId xmlns:a16="http://schemas.microsoft.com/office/drawing/2014/main" id="{9E735F12-FE60-4A58-36EC-E75072558529}"/>
                </a:ext>
              </a:extLst>
            </p:cNvPr>
            <p:cNvSpPr/>
            <p:nvPr/>
          </p:nvSpPr>
          <p:spPr>
            <a:xfrm>
              <a:off x="9149031" y="3236924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7 h 29553"/>
                <a:gd name="connsiteX2" fmla="*/ 13698 w 41095"/>
                <a:gd name="connsiteY2" fmla="*/ 9767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7 h 29553"/>
                <a:gd name="connsiteX6" fmla="*/ 41095 w 41095"/>
                <a:gd name="connsiteY6" fmla="*/ 9767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9" name="Freihandform: Form 508">
              <a:extLst>
                <a:ext uri="{FF2B5EF4-FFF2-40B4-BE49-F238E27FC236}">
                  <a16:creationId xmlns:a16="http://schemas.microsoft.com/office/drawing/2014/main" id="{C100FBBE-D8A0-CF37-5368-F2B445F1FA2F}"/>
                </a:ext>
              </a:extLst>
            </p:cNvPr>
            <p:cNvSpPr/>
            <p:nvPr/>
          </p:nvSpPr>
          <p:spPr>
            <a:xfrm>
              <a:off x="9155880" y="3243520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0" name="Freihandform: Form 509">
              <a:extLst>
                <a:ext uri="{FF2B5EF4-FFF2-40B4-BE49-F238E27FC236}">
                  <a16:creationId xmlns:a16="http://schemas.microsoft.com/office/drawing/2014/main" id="{718E69BC-A6C5-80B6-215F-A5CD75D0128B}"/>
                </a:ext>
              </a:extLst>
            </p:cNvPr>
            <p:cNvSpPr/>
            <p:nvPr/>
          </p:nvSpPr>
          <p:spPr>
            <a:xfrm>
              <a:off x="9184292" y="3243520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1" name="Freihandform: Form 510">
              <a:extLst>
                <a:ext uri="{FF2B5EF4-FFF2-40B4-BE49-F238E27FC236}">
                  <a16:creationId xmlns:a16="http://schemas.microsoft.com/office/drawing/2014/main" id="{FAFD11A3-6BFD-6FC6-6A9D-124AC3ED4319}"/>
                </a:ext>
              </a:extLst>
            </p:cNvPr>
            <p:cNvSpPr/>
            <p:nvPr/>
          </p:nvSpPr>
          <p:spPr>
            <a:xfrm>
              <a:off x="9199259" y="3243520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2" name="Freihandform: Form 511">
              <a:extLst>
                <a:ext uri="{FF2B5EF4-FFF2-40B4-BE49-F238E27FC236}">
                  <a16:creationId xmlns:a16="http://schemas.microsoft.com/office/drawing/2014/main" id="{10968CC3-ACDE-177F-684E-16664AC20A4B}"/>
                </a:ext>
              </a:extLst>
            </p:cNvPr>
            <p:cNvSpPr/>
            <p:nvPr/>
          </p:nvSpPr>
          <p:spPr>
            <a:xfrm>
              <a:off x="9206108" y="3243520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3" name="Freihandform: Form 512">
              <a:extLst>
                <a:ext uri="{FF2B5EF4-FFF2-40B4-BE49-F238E27FC236}">
                  <a16:creationId xmlns:a16="http://schemas.microsoft.com/office/drawing/2014/main" id="{87083BA9-A93C-A7D4-F56B-FE133E80F494}"/>
                </a:ext>
              </a:extLst>
            </p:cNvPr>
            <p:cNvSpPr/>
            <p:nvPr/>
          </p:nvSpPr>
          <p:spPr>
            <a:xfrm>
              <a:off x="9234646" y="3243520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4" name="Freihandform: Form 513">
              <a:extLst>
                <a:ext uri="{FF2B5EF4-FFF2-40B4-BE49-F238E27FC236}">
                  <a16:creationId xmlns:a16="http://schemas.microsoft.com/office/drawing/2014/main" id="{A89E7EE8-E7E1-6657-6929-DC5A4500D505}"/>
                </a:ext>
              </a:extLst>
            </p:cNvPr>
            <p:cNvSpPr/>
            <p:nvPr/>
          </p:nvSpPr>
          <p:spPr>
            <a:xfrm>
              <a:off x="9234646" y="3243520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5" name="Freihandform: Form 514">
              <a:extLst>
                <a:ext uri="{FF2B5EF4-FFF2-40B4-BE49-F238E27FC236}">
                  <a16:creationId xmlns:a16="http://schemas.microsoft.com/office/drawing/2014/main" id="{F1A210D4-8EC9-649D-2019-FE902FB3B267}"/>
                </a:ext>
              </a:extLst>
            </p:cNvPr>
            <p:cNvSpPr/>
            <p:nvPr/>
          </p:nvSpPr>
          <p:spPr>
            <a:xfrm>
              <a:off x="9272697" y="3243520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6" name="Freihandform: Form 515">
              <a:extLst>
                <a:ext uri="{FF2B5EF4-FFF2-40B4-BE49-F238E27FC236}">
                  <a16:creationId xmlns:a16="http://schemas.microsoft.com/office/drawing/2014/main" id="{1DC2E5EF-2EAE-328C-9677-D8E6996BE25D}"/>
                </a:ext>
              </a:extLst>
            </p:cNvPr>
            <p:cNvSpPr/>
            <p:nvPr/>
          </p:nvSpPr>
          <p:spPr>
            <a:xfrm>
              <a:off x="9285000" y="3243520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7" name="Freihandform: Form 516">
              <a:extLst>
                <a:ext uri="{FF2B5EF4-FFF2-40B4-BE49-F238E27FC236}">
                  <a16:creationId xmlns:a16="http://schemas.microsoft.com/office/drawing/2014/main" id="{582EFA0A-7814-417C-77DD-9B4282CB38CE}"/>
                </a:ext>
              </a:extLst>
            </p:cNvPr>
            <p:cNvSpPr/>
            <p:nvPr/>
          </p:nvSpPr>
          <p:spPr>
            <a:xfrm>
              <a:off x="9297177" y="3243520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8" name="Freihandform: Form 517">
              <a:extLst>
                <a:ext uri="{FF2B5EF4-FFF2-40B4-BE49-F238E27FC236}">
                  <a16:creationId xmlns:a16="http://schemas.microsoft.com/office/drawing/2014/main" id="{C445E260-4C35-B589-AD8B-A3A4325CBE44}"/>
                </a:ext>
              </a:extLst>
            </p:cNvPr>
            <p:cNvSpPr/>
            <p:nvPr/>
          </p:nvSpPr>
          <p:spPr>
            <a:xfrm>
              <a:off x="9301236" y="3243520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9" name="Freihandform: Form 518">
              <a:extLst>
                <a:ext uri="{FF2B5EF4-FFF2-40B4-BE49-F238E27FC236}">
                  <a16:creationId xmlns:a16="http://schemas.microsoft.com/office/drawing/2014/main" id="{7E720F46-B5FB-E601-183F-ABAE5E755E4A}"/>
                </a:ext>
              </a:extLst>
            </p:cNvPr>
            <p:cNvSpPr/>
            <p:nvPr/>
          </p:nvSpPr>
          <p:spPr>
            <a:xfrm>
              <a:off x="9329774" y="3243520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0" name="Freihandform: Form 519">
              <a:extLst>
                <a:ext uri="{FF2B5EF4-FFF2-40B4-BE49-F238E27FC236}">
                  <a16:creationId xmlns:a16="http://schemas.microsoft.com/office/drawing/2014/main" id="{102805D3-B422-F580-8BD2-9BBB6D5E6FCF}"/>
                </a:ext>
              </a:extLst>
            </p:cNvPr>
            <p:cNvSpPr/>
            <p:nvPr/>
          </p:nvSpPr>
          <p:spPr>
            <a:xfrm>
              <a:off x="9344741" y="3243520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1" name="Freihandform: Form 520">
              <a:extLst>
                <a:ext uri="{FF2B5EF4-FFF2-40B4-BE49-F238E27FC236}">
                  <a16:creationId xmlns:a16="http://schemas.microsoft.com/office/drawing/2014/main" id="{4E7AF339-F587-5612-EF7C-F65BBE7317EF}"/>
                </a:ext>
              </a:extLst>
            </p:cNvPr>
            <p:cNvSpPr/>
            <p:nvPr/>
          </p:nvSpPr>
          <p:spPr>
            <a:xfrm>
              <a:off x="9354254" y="3243520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2" name="Freihandform: Form 521">
              <a:extLst>
                <a:ext uri="{FF2B5EF4-FFF2-40B4-BE49-F238E27FC236}">
                  <a16:creationId xmlns:a16="http://schemas.microsoft.com/office/drawing/2014/main" id="{A3D7DCD3-9A37-8BF8-8EE9-BD7CD95D8D1D}"/>
                </a:ext>
              </a:extLst>
            </p:cNvPr>
            <p:cNvSpPr/>
            <p:nvPr/>
          </p:nvSpPr>
          <p:spPr>
            <a:xfrm>
              <a:off x="9363766" y="3251383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7 h 29553"/>
                <a:gd name="connsiteX2" fmla="*/ 13698 w 41095"/>
                <a:gd name="connsiteY2" fmla="*/ 9767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7 h 29553"/>
                <a:gd name="connsiteX6" fmla="*/ 41095 w 41095"/>
                <a:gd name="connsiteY6" fmla="*/ 9767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3" name="Freihandform: Form 522">
              <a:extLst>
                <a:ext uri="{FF2B5EF4-FFF2-40B4-BE49-F238E27FC236}">
                  <a16:creationId xmlns:a16="http://schemas.microsoft.com/office/drawing/2014/main" id="{66C32D50-E54E-5392-62CB-DC2A34A1B177}"/>
                </a:ext>
              </a:extLst>
            </p:cNvPr>
            <p:cNvSpPr/>
            <p:nvPr/>
          </p:nvSpPr>
          <p:spPr>
            <a:xfrm>
              <a:off x="9392432" y="3259374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6 h 29553"/>
                <a:gd name="connsiteX2" fmla="*/ 13698 w 41095"/>
                <a:gd name="connsiteY2" fmla="*/ 9766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6 h 29553"/>
                <a:gd name="connsiteX6" fmla="*/ 41095 w 41095"/>
                <a:gd name="connsiteY6" fmla="*/ 9766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4" name="Freihandform: Form 523">
              <a:extLst>
                <a:ext uri="{FF2B5EF4-FFF2-40B4-BE49-F238E27FC236}">
                  <a16:creationId xmlns:a16="http://schemas.microsoft.com/office/drawing/2014/main" id="{C6421ACC-987B-E1A2-5007-82D06C07FB9A}"/>
                </a:ext>
              </a:extLst>
            </p:cNvPr>
            <p:cNvSpPr/>
            <p:nvPr/>
          </p:nvSpPr>
          <p:spPr>
            <a:xfrm>
              <a:off x="9393700" y="3259374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6 h 29553"/>
                <a:gd name="connsiteX2" fmla="*/ 13698 w 41095"/>
                <a:gd name="connsiteY2" fmla="*/ 9766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6 h 29553"/>
                <a:gd name="connsiteX6" fmla="*/ 41095 w 41095"/>
                <a:gd name="connsiteY6" fmla="*/ 9766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5" name="Freihandform: Form 524">
              <a:extLst>
                <a:ext uri="{FF2B5EF4-FFF2-40B4-BE49-F238E27FC236}">
                  <a16:creationId xmlns:a16="http://schemas.microsoft.com/office/drawing/2014/main" id="{12A4AA5D-0ED6-D102-C260-794CF94497E4}"/>
                </a:ext>
              </a:extLst>
            </p:cNvPr>
            <p:cNvSpPr/>
            <p:nvPr/>
          </p:nvSpPr>
          <p:spPr>
            <a:xfrm>
              <a:off x="9399154" y="3267492"/>
              <a:ext cx="41095" cy="29552"/>
            </a:xfrm>
            <a:custGeom>
              <a:avLst/>
              <a:gdLst>
                <a:gd name="connsiteX0" fmla="*/ 0 w 41095"/>
                <a:gd name="connsiteY0" fmla="*/ 19787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787 h 29552"/>
                <a:gd name="connsiteX8" fmla="*/ 27397 w 41095"/>
                <a:gd name="connsiteY8" fmla="*/ 19787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787 h 29552"/>
                <a:gd name="connsiteX12" fmla="*/ 0 w 41095"/>
                <a:gd name="connsiteY12" fmla="*/ 19787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6" name="Freihandform: Form 525">
              <a:extLst>
                <a:ext uri="{FF2B5EF4-FFF2-40B4-BE49-F238E27FC236}">
                  <a16:creationId xmlns:a16="http://schemas.microsoft.com/office/drawing/2014/main" id="{30EDCD31-B6F6-BF1D-6B72-367B0A194EEB}"/>
                </a:ext>
              </a:extLst>
            </p:cNvPr>
            <p:cNvSpPr/>
            <p:nvPr/>
          </p:nvSpPr>
          <p:spPr>
            <a:xfrm>
              <a:off x="9411330" y="3267492"/>
              <a:ext cx="41095" cy="29552"/>
            </a:xfrm>
            <a:custGeom>
              <a:avLst/>
              <a:gdLst>
                <a:gd name="connsiteX0" fmla="*/ 0 w 41095"/>
                <a:gd name="connsiteY0" fmla="*/ 19787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787 h 29552"/>
                <a:gd name="connsiteX8" fmla="*/ 27397 w 41095"/>
                <a:gd name="connsiteY8" fmla="*/ 19787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787 h 29552"/>
                <a:gd name="connsiteX12" fmla="*/ 0 w 41095"/>
                <a:gd name="connsiteY12" fmla="*/ 19787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7" name="Freihandform: Form 526">
              <a:extLst>
                <a:ext uri="{FF2B5EF4-FFF2-40B4-BE49-F238E27FC236}">
                  <a16:creationId xmlns:a16="http://schemas.microsoft.com/office/drawing/2014/main" id="{E0FFCCA1-1856-3B7E-8401-B9CFC24ECB97}"/>
                </a:ext>
              </a:extLst>
            </p:cNvPr>
            <p:cNvSpPr/>
            <p:nvPr/>
          </p:nvSpPr>
          <p:spPr>
            <a:xfrm>
              <a:off x="9450777" y="3276117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6 h 29553"/>
                <a:gd name="connsiteX2" fmla="*/ 13698 w 41095"/>
                <a:gd name="connsiteY2" fmla="*/ 9766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6 h 29553"/>
                <a:gd name="connsiteX6" fmla="*/ 41095 w 41095"/>
                <a:gd name="connsiteY6" fmla="*/ 9766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8" name="Freihandform: Form 527">
              <a:extLst>
                <a:ext uri="{FF2B5EF4-FFF2-40B4-BE49-F238E27FC236}">
                  <a16:creationId xmlns:a16="http://schemas.microsoft.com/office/drawing/2014/main" id="{A45DB904-485B-E069-23EF-2C68880BBA91}"/>
                </a:ext>
              </a:extLst>
            </p:cNvPr>
            <p:cNvSpPr/>
            <p:nvPr/>
          </p:nvSpPr>
          <p:spPr>
            <a:xfrm>
              <a:off x="9465743" y="3276117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6 h 29553"/>
                <a:gd name="connsiteX2" fmla="*/ 13698 w 41095"/>
                <a:gd name="connsiteY2" fmla="*/ 9766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6 h 29553"/>
                <a:gd name="connsiteX6" fmla="*/ 41095 w 41095"/>
                <a:gd name="connsiteY6" fmla="*/ 9766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9" name="Freihandform: Form 528">
              <a:extLst>
                <a:ext uri="{FF2B5EF4-FFF2-40B4-BE49-F238E27FC236}">
                  <a16:creationId xmlns:a16="http://schemas.microsoft.com/office/drawing/2014/main" id="{6BCE19F2-335F-C8BB-B056-C16A1CB6FD09}"/>
                </a:ext>
              </a:extLst>
            </p:cNvPr>
            <p:cNvSpPr/>
            <p:nvPr/>
          </p:nvSpPr>
          <p:spPr>
            <a:xfrm>
              <a:off x="9541846" y="3284868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0" name="Freihandform: Form 529">
              <a:extLst>
                <a:ext uri="{FF2B5EF4-FFF2-40B4-BE49-F238E27FC236}">
                  <a16:creationId xmlns:a16="http://schemas.microsoft.com/office/drawing/2014/main" id="{CBBD0F01-20B0-FCA1-4314-5180229390E3}"/>
                </a:ext>
              </a:extLst>
            </p:cNvPr>
            <p:cNvSpPr/>
            <p:nvPr/>
          </p:nvSpPr>
          <p:spPr>
            <a:xfrm>
              <a:off x="9564930" y="3284868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1" name="Freihandform: Form 530">
              <a:extLst>
                <a:ext uri="{FF2B5EF4-FFF2-40B4-BE49-F238E27FC236}">
                  <a16:creationId xmlns:a16="http://schemas.microsoft.com/office/drawing/2014/main" id="{AB47A7AB-6183-244D-87F3-D81022B0D1E4}"/>
                </a:ext>
              </a:extLst>
            </p:cNvPr>
            <p:cNvSpPr/>
            <p:nvPr/>
          </p:nvSpPr>
          <p:spPr>
            <a:xfrm>
              <a:off x="9706354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2" name="Freihandform: Form 531">
              <a:extLst>
                <a:ext uri="{FF2B5EF4-FFF2-40B4-BE49-F238E27FC236}">
                  <a16:creationId xmlns:a16="http://schemas.microsoft.com/office/drawing/2014/main" id="{783F886C-144F-3E25-2665-6D3902E1A4BC}"/>
                </a:ext>
              </a:extLst>
            </p:cNvPr>
            <p:cNvSpPr/>
            <p:nvPr/>
          </p:nvSpPr>
          <p:spPr>
            <a:xfrm>
              <a:off x="9707749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3" name="Freihandform: Form 532">
              <a:extLst>
                <a:ext uri="{FF2B5EF4-FFF2-40B4-BE49-F238E27FC236}">
                  <a16:creationId xmlns:a16="http://schemas.microsoft.com/office/drawing/2014/main" id="{AFB4391C-07E9-7116-7DE8-87014DB04816}"/>
                </a:ext>
              </a:extLst>
            </p:cNvPr>
            <p:cNvSpPr/>
            <p:nvPr/>
          </p:nvSpPr>
          <p:spPr>
            <a:xfrm>
              <a:off x="9728043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4" name="Freihandform: Form 533">
              <a:extLst>
                <a:ext uri="{FF2B5EF4-FFF2-40B4-BE49-F238E27FC236}">
                  <a16:creationId xmlns:a16="http://schemas.microsoft.com/office/drawing/2014/main" id="{3BCD2C3F-1D1A-E17C-DE0F-550AA4DA80FD}"/>
                </a:ext>
              </a:extLst>
            </p:cNvPr>
            <p:cNvSpPr/>
            <p:nvPr/>
          </p:nvSpPr>
          <p:spPr>
            <a:xfrm>
              <a:off x="9760640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5" name="Freihandform: Form 534">
              <a:extLst>
                <a:ext uri="{FF2B5EF4-FFF2-40B4-BE49-F238E27FC236}">
                  <a16:creationId xmlns:a16="http://schemas.microsoft.com/office/drawing/2014/main" id="{E396E773-F0CE-FC47-CDAD-D37E5409613D}"/>
                </a:ext>
              </a:extLst>
            </p:cNvPr>
            <p:cNvSpPr/>
            <p:nvPr/>
          </p:nvSpPr>
          <p:spPr>
            <a:xfrm>
              <a:off x="9813785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6" name="Freihandform: Form 535">
              <a:extLst>
                <a:ext uri="{FF2B5EF4-FFF2-40B4-BE49-F238E27FC236}">
                  <a16:creationId xmlns:a16="http://schemas.microsoft.com/office/drawing/2014/main" id="{98D0DB58-A551-776F-9D5B-B18A6F5BA92C}"/>
                </a:ext>
              </a:extLst>
            </p:cNvPr>
            <p:cNvSpPr/>
            <p:nvPr/>
          </p:nvSpPr>
          <p:spPr>
            <a:xfrm>
              <a:off x="9817717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7" name="Freihandform: Form 536">
              <a:extLst>
                <a:ext uri="{FF2B5EF4-FFF2-40B4-BE49-F238E27FC236}">
                  <a16:creationId xmlns:a16="http://schemas.microsoft.com/office/drawing/2014/main" id="{269206FF-FE0E-5EC2-FB50-73CCD02C6DA7}"/>
                </a:ext>
              </a:extLst>
            </p:cNvPr>
            <p:cNvSpPr/>
            <p:nvPr/>
          </p:nvSpPr>
          <p:spPr>
            <a:xfrm>
              <a:off x="9819112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8" name="Freihandform: Form 537">
              <a:extLst>
                <a:ext uri="{FF2B5EF4-FFF2-40B4-BE49-F238E27FC236}">
                  <a16:creationId xmlns:a16="http://schemas.microsoft.com/office/drawing/2014/main" id="{C6653938-A0A9-3059-BC24-A74CD1EE521A}"/>
                </a:ext>
              </a:extLst>
            </p:cNvPr>
            <p:cNvSpPr/>
            <p:nvPr/>
          </p:nvSpPr>
          <p:spPr>
            <a:xfrm>
              <a:off x="9823298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9" name="Freihandform: Form 538">
              <a:extLst>
                <a:ext uri="{FF2B5EF4-FFF2-40B4-BE49-F238E27FC236}">
                  <a16:creationId xmlns:a16="http://schemas.microsoft.com/office/drawing/2014/main" id="{964E8DD4-E954-04CD-9370-3CF4946DB5E7}"/>
                </a:ext>
              </a:extLst>
            </p:cNvPr>
            <p:cNvSpPr/>
            <p:nvPr/>
          </p:nvSpPr>
          <p:spPr>
            <a:xfrm>
              <a:off x="9923753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0" name="Freihandform: Form 539">
              <a:extLst>
                <a:ext uri="{FF2B5EF4-FFF2-40B4-BE49-F238E27FC236}">
                  <a16:creationId xmlns:a16="http://schemas.microsoft.com/office/drawing/2014/main" id="{F08D22E6-41F8-097F-AB97-A5E27630B7D0}"/>
                </a:ext>
              </a:extLst>
            </p:cNvPr>
            <p:cNvSpPr/>
            <p:nvPr/>
          </p:nvSpPr>
          <p:spPr>
            <a:xfrm>
              <a:off x="9930602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1" name="Freihandform: Form 540">
              <a:extLst>
                <a:ext uri="{FF2B5EF4-FFF2-40B4-BE49-F238E27FC236}">
                  <a16:creationId xmlns:a16="http://schemas.microsoft.com/office/drawing/2014/main" id="{DC02E1A7-FDEC-635F-C2DF-D004258ABFE0}"/>
                </a:ext>
              </a:extLst>
            </p:cNvPr>
            <p:cNvSpPr/>
            <p:nvPr/>
          </p:nvSpPr>
          <p:spPr>
            <a:xfrm>
              <a:off x="9931997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2" name="Freihandform: Form 541">
              <a:extLst>
                <a:ext uri="{FF2B5EF4-FFF2-40B4-BE49-F238E27FC236}">
                  <a16:creationId xmlns:a16="http://schemas.microsoft.com/office/drawing/2014/main" id="{D231C6E5-2263-2134-771C-A4F27F092782}"/>
                </a:ext>
              </a:extLst>
            </p:cNvPr>
            <p:cNvSpPr/>
            <p:nvPr/>
          </p:nvSpPr>
          <p:spPr>
            <a:xfrm>
              <a:off x="9968653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3" name="Freihandform: Form 542">
              <a:extLst>
                <a:ext uri="{FF2B5EF4-FFF2-40B4-BE49-F238E27FC236}">
                  <a16:creationId xmlns:a16="http://schemas.microsoft.com/office/drawing/2014/main" id="{D9601A10-8CEA-40DD-2465-F5F802B4A670}"/>
                </a:ext>
              </a:extLst>
            </p:cNvPr>
            <p:cNvSpPr/>
            <p:nvPr/>
          </p:nvSpPr>
          <p:spPr>
            <a:xfrm>
              <a:off x="9998587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4" name="Freihandform: Form 543">
              <a:extLst>
                <a:ext uri="{FF2B5EF4-FFF2-40B4-BE49-F238E27FC236}">
                  <a16:creationId xmlns:a16="http://schemas.microsoft.com/office/drawing/2014/main" id="{A194C5A8-E43C-A183-A3B7-47E10A63C3E5}"/>
                </a:ext>
              </a:extLst>
            </p:cNvPr>
            <p:cNvSpPr/>
            <p:nvPr/>
          </p:nvSpPr>
          <p:spPr>
            <a:xfrm>
              <a:off x="10032579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5" name="Freihandform: Form 544">
              <a:extLst>
                <a:ext uri="{FF2B5EF4-FFF2-40B4-BE49-F238E27FC236}">
                  <a16:creationId xmlns:a16="http://schemas.microsoft.com/office/drawing/2014/main" id="{35654575-2137-68AB-7B46-2B961D196793}"/>
                </a:ext>
              </a:extLst>
            </p:cNvPr>
            <p:cNvSpPr/>
            <p:nvPr/>
          </p:nvSpPr>
          <p:spPr>
            <a:xfrm>
              <a:off x="10042092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6" name="Freihandform: Form 545">
              <a:extLst>
                <a:ext uri="{FF2B5EF4-FFF2-40B4-BE49-F238E27FC236}">
                  <a16:creationId xmlns:a16="http://schemas.microsoft.com/office/drawing/2014/main" id="{4308841C-AA18-FC40-D071-EBA86BB5C85F}"/>
                </a:ext>
              </a:extLst>
            </p:cNvPr>
            <p:cNvSpPr/>
            <p:nvPr/>
          </p:nvSpPr>
          <p:spPr>
            <a:xfrm>
              <a:off x="10062386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7" name="Freihandform: Form 546">
              <a:extLst>
                <a:ext uri="{FF2B5EF4-FFF2-40B4-BE49-F238E27FC236}">
                  <a16:creationId xmlns:a16="http://schemas.microsoft.com/office/drawing/2014/main" id="{0141F7B9-4D1B-9B01-F23C-CF233DB0BF82}"/>
                </a:ext>
              </a:extLst>
            </p:cNvPr>
            <p:cNvSpPr/>
            <p:nvPr/>
          </p:nvSpPr>
          <p:spPr>
            <a:xfrm>
              <a:off x="10109950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8" name="Freihandform: Form 547">
              <a:extLst>
                <a:ext uri="{FF2B5EF4-FFF2-40B4-BE49-F238E27FC236}">
                  <a16:creationId xmlns:a16="http://schemas.microsoft.com/office/drawing/2014/main" id="{7EB67EFF-3803-4387-4D94-C018D19A8907}"/>
                </a:ext>
              </a:extLst>
            </p:cNvPr>
            <p:cNvSpPr/>
            <p:nvPr/>
          </p:nvSpPr>
          <p:spPr>
            <a:xfrm>
              <a:off x="10152187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9" name="Freihandform: Form 548">
              <a:extLst>
                <a:ext uri="{FF2B5EF4-FFF2-40B4-BE49-F238E27FC236}">
                  <a16:creationId xmlns:a16="http://schemas.microsoft.com/office/drawing/2014/main" id="{8B32240A-BD1D-CB8B-A89E-09355AE6F897}"/>
                </a:ext>
              </a:extLst>
            </p:cNvPr>
            <p:cNvSpPr/>
            <p:nvPr/>
          </p:nvSpPr>
          <p:spPr>
            <a:xfrm>
              <a:off x="10160304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0" name="Freihandform: Form 549">
              <a:extLst>
                <a:ext uri="{FF2B5EF4-FFF2-40B4-BE49-F238E27FC236}">
                  <a16:creationId xmlns:a16="http://schemas.microsoft.com/office/drawing/2014/main" id="{94C34640-2C7F-38FE-D125-C0B6F06FEEE2}"/>
                </a:ext>
              </a:extLst>
            </p:cNvPr>
            <p:cNvSpPr/>
            <p:nvPr/>
          </p:nvSpPr>
          <p:spPr>
            <a:xfrm>
              <a:off x="10218776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9 w 41095"/>
                <a:gd name="connsiteY2" fmla="*/ 9893 h 29552"/>
                <a:gd name="connsiteX3" fmla="*/ 13699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6 w 41095"/>
                <a:gd name="connsiteY6" fmla="*/ 9893 h 29552"/>
                <a:gd name="connsiteX7" fmla="*/ 41096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9 w 41095"/>
                <a:gd name="connsiteY10" fmla="*/ 29553 h 29552"/>
                <a:gd name="connsiteX11" fmla="*/ 13699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9" y="9893"/>
                  </a:lnTo>
                  <a:lnTo>
                    <a:pt x="13699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6" y="9893"/>
                  </a:lnTo>
                  <a:lnTo>
                    <a:pt x="41096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9" y="29553"/>
                  </a:lnTo>
                  <a:lnTo>
                    <a:pt x="13699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1" name="Freihandform: Form 550">
              <a:extLst>
                <a:ext uri="{FF2B5EF4-FFF2-40B4-BE49-F238E27FC236}">
                  <a16:creationId xmlns:a16="http://schemas.microsoft.com/office/drawing/2014/main" id="{68D0546B-DF5F-F981-F386-1A1646566779}"/>
                </a:ext>
              </a:extLst>
            </p:cNvPr>
            <p:cNvSpPr/>
            <p:nvPr/>
          </p:nvSpPr>
          <p:spPr>
            <a:xfrm>
              <a:off x="10241860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9 w 41095"/>
                <a:gd name="connsiteY2" fmla="*/ 9893 h 29552"/>
                <a:gd name="connsiteX3" fmla="*/ 13699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9 w 41095"/>
                <a:gd name="connsiteY10" fmla="*/ 29553 h 29552"/>
                <a:gd name="connsiteX11" fmla="*/ 13699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9" y="9893"/>
                  </a:lnTo>
                  <a:lnTo>
                    <a:pt x="13699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9" y="29553"/>
                  </a:lnTo>
                  <a:lnTo>
                    <a:pt x="13699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2" name="Freihandform: Form 551">
              <a:extLst>
                <a:ext uri="{FF2B5EF4-FFF2-40B4-BE49-F238E27FC236}">
                  <a16:creationId xmlns:a16="http://schemas.microsoft.com/office/drawing/2014/main" id="{172072B9-8DB5-84D3-5001-395CC119C0E0}"/>
                </a:ext>
              </a:extLst>
            </p:cNvPr>
            <p:cNvSpPr/>
            <p:nvPr/>
          </p:nvSpPr>
          <p:spPr>
            <a:xfrm>
              <a:off x="10247314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9 w 41095"/>
                <a:gd name="connsiteY2" fmla="*/ 9893 h 29552"/>
                <a:gd name="connsiteX3" fmla="*/ 13699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6 w 41095"/>
                <a:gd name="connsiteY6" fmla="*/ 9893 h 29552"/>
                <a:gd name="connsiteX7" fmla="*/ 41096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9 w 41095"/>
                <a:gd name="connsiteY10" fmla="*/ 29553 h 29552"/>
                <a:gd name="connsiteX11" fmla="*/ 13699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9" y="9893"/>
                  </a:lnTo>
                  <a:lnTo>
                    <a:pt x="13699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6" y="9893"/>
                  </a:lnTo>
                  <a:lnTo>
                    <a:pt x="41096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9" y="29553"/>
                  </a:lnTo>
                  <a:lnTo>
                    <a:pt x="13699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3" name="Freihandform: Form 552">
              <a:extLst>
                <a:ext uri="{FF2B5EF4-FFF2-40B4-BE49-F238E27FC236}">
                  <a16:creationId xmlns:a16="http://schemas.microsoft.com/office/drawing/2014/main" id="{7BB53A67-0F2A-2638-2969-12436BA9EF88}"/>
                </a:ext>
              </a:extLst>
            </p:cNvPr>
            <p:cNvSpPr/>
            <p:nvPr/>
          </p:nvSpPr>
          <p:spPr>
            <a:xfrm>
              <a:off x="10259618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9 w 41095"/>
                <a:gd name="connsiteY2" fmla="*/ 9893 h 29552"/>
                <a:gd name="connsiteX3" fmla="*/ 13699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6 w 41095"/>
                <a:gd name="connsiteY6" fmla="*/ 9893 h 29552"/>
                <a:gd name="connsiteX7" fmla="*/ 41096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9 w 41095"/>
                <a:gd name="connsiteY10" fmla="*/ 29553 h 29552"/>
                <a:gd name="connsiteX11" fmla="*/ 13699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9" y="9893"/>
                  </a:lnTo>
                  <a:lnTo>
                    <a:pt x="13699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6" y="9893"/>
                  </a:lnTo>
                  <a:lnTo>
                    <a:pt x="41096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9" y="29553"/>
                  </a:lnTo>
                  <a:lnTo>
                    <a:pt x="13699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4" name="Freihandform: Form 553">
              <a:extLst>
                <a:ext uri="{FF2B5EF4-FFF2-40B4-BE49-F238E27FC236}">
                  <a16:creationId xmlns:a16="http://schemas.microsoft.com/office/drawing/2014/main" id="{BF739604-77AB-60A9-5739-3B0B4E92A854}"/>
                </a:ext>
              </a:extLst>
            </p:cNvPr>
            <p:cNvSpPr/>
            <p:nvPr/>
          </p:nvSpPr>
          <p:spPr>
            <a:xfrm>
              <a:off x="10274458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5" name="Freihandform: Form 554">
              <a:extLst>
                <a:ext uri="{FF2B5EF4-FFF2-40B4-BE49-F238E27FC236}">
                  <a16:creationId xmlns:a16="http://schemas.microsoft.com/office/drawing/2014/main" id="{DD168B55-1E7A-754A-6413-237F03BC42CE}"/>
                </a:ext>
              </a:extLst>
            </p:cNvPr>
            <p:cNvSpPr/>
            <p:nvPr/>
          </p:nvSpPr>
          <p:spPr>
            <a:xfrm>
              <a:off x="10286761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6" name="Freihandform: Form 555">
              <a:extLst>
                <a:ext uri="{FF2B5EF4-FFF2-40B4-BE49-F238E27FC236}">
                  <a16:creationId xmlns:a16="http://schemas.microsoft.com/office/drawing/2014/main" id="{BE052353-4B5F-F7E9-AD28-CEBA1CAA60B6}"/>
                </a:ext>
              </a:extLst>
            </p:cNvPr>
            <p:cNvSpPr/>
            <p:nvPr/>
          </p:nvSpPr>
          <p:spPr>
            <a:xfrm>
              <a:off x="10294878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9 w 41095"/>
                <a:gd name="connsiteY2" fmla="*/ 9893 h 29552"/>
                <a:gd name="connsiteX3" fmla="*/ 13699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6 w 41095"/>
                <a:gd name="connsiteY6" fmla="*/ 9893 h 29552"/>
                <a:gd name="connsiteX7" fmla="*/ 41096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9 w 41095"/>
                <a:gd name="connsiteY10" fmla="*/ 29553 h 29552"/>
                <a:gd name="connsiteX11" fmla="*/ 13699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9" y="9893"/>
                  </a:lnTo>
                  <a:lnTo>
                    <a:pt x="13699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6" y="9893"/>
                  </a:lnTo>
                  <a:lnTo>
                    <a:pt x="41096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9" y="29553"/>
                  </a:lnTo>
                  <a:lnTo>
                    <a:pt x="13699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7" name="Freihandform: Form 556">
              <a:extLst>
                <a:ext uri="{FF2B5EF4-FFF2-40B4-BE49-F238E27FC236}">
                  <a16:creationId xmlns:a16="http://schemas.microsoft.com/office/drawing/2014/main" id="{5AF3ACFB-BC8B-7BD9-6204-B28DDE53F2A8}"/>
                </a:ext>
              </a:extLst>
            </p:cNvPr>
            <p:cNvSpPr/>
            <p:nvPr/>
          </p:nvSpPr>
          <p:spPr>
            <a:xfrm>
              <a:off x="10297542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8" name="Freihandform: Form 557">
              <a:extLst>
                <a:ext uri="{FF2B5EF4-FFF2-40B4-BE49-F238E27FC236}">
                  <a16:creationId xmlns:a16="http://schemas.microsoft.com/office/drawing/2014/main" id="{2139461E-1FFF-0A81-ED37-2B9247D2ADA7}"/>
                </a:ext>
              </a:extLst>
            </p:cNvPr>
            <p:cNvSpPr/>
            <p:nvPr/>
          </p:nvSpPr>
          <p:spPr>
            <a:xfrm>
              <a:off x="10315299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9" name="Freihandform: Form 558">
              <a:extLst>
                <a:ext uri="{FF2B5EF4-FFF2-40B4-BE49-F238E27FC236}">
                  <a16:creationId xmlns:a16="http://schemas.microsoft.com/office/drawing/2014/main" id="{5707078E-2126-5EC1-BC01-6AE60CEFEE6A}"/>
                </a:ext>
              </a:extLst>
            </p:cNvPr>
            <p:cNvSpPr/>
            <p:nvPr/>
          </p:nvSpPr>
          <p:spPr>
            <a:xfrm>
              <a:off x="10323417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9 w 41095"/>
                <a:gd name="connsiteY2" fmla="*/ 9893 h 29552"/>
                <a:gd name="connsiteX3" fmla="*/ 13699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6 w 41095"/>
                <a:gd name="connsiteY6" fmla="*/ 9893 h 29552"/>
                <a:gd name="connsiteX7" fmla="*/ 41096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9 w 41095"/>
                <a:gd name="connsiteY10" fmla="*/ 29553 h 29552"/>
                <a:gd name="connsiteX11" fmla="*/ 13699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9" y="9893"/>
                  </a:lnTo>
                  <a:lnTo>
                    <a:pt x="13699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6" y="9893"/>
                  </a:lnTo>
                  <a:lnTo>
                    <a:pt x="41096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9" y="29553"/>
                  </a:lnTo>
                  <a:lnTo>
                    <a:pt x="13699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0" name="Freihandform: Form 559">
              <a:extLst>
                <a:ext uri="{FF2B5EF4-FFF2-40B4-BE49-F238E27FC236}">
                  <a16:creationId xmlns:a16="http://schemas.microsoft.com/office/drawing/2014/main" id="{02A176F3-24C9-343F-0F66-118DA256E9C0}"/>
                </a:ext>
              </a:extLst>
            </p:cNvPr>
            <p:cNvSpPr/>
            <p:nvPr/>
          </p:nvSpPr>
          <p:spPr>
            <a:xfrm>
              <a:off x="10365527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9 w 41095"/>
                <a:gd name="connsiteY2" fmla="*/ 9893 h 29552"/>
                <a:gd name="connsiteX3" fmla="*/ 13699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9 w 41095"/>
                <a:gd name="connsiteY10" fmla="*/ 29553 h 29552"/>
                <a:gd name="connsiteX11" fmla="*/ 13699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9" y="9893"/>
                  </a:lnTo>
                  <a:lnTo>
                    <a:pt x="13699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9" y="29553"/>
                  </a:lnTo>
                  <a:lnTo>
                    <a:pt x="13699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1" name="Freihandform: Form 560">
              <a:extLst>
                <a:ext uri="{FF2B5EF4-FFF2-40B4-BE49-F238E27FC236}">
                  <a16:creationId xmlns:a16="http://schemas.microsoft.com/office/drawing/2014/main" id="{5079D763-E38A-15FE-7A9C-0B538BA78986}"/>
                </a:ext>
              </a:extLst>
            </p:cNvPr>
            <p:cNvSpPr/>
            <p:nvPr/>
          </p:nvSpPr>
          <p:spPr>
            <a:xfrm>
              <a:off x="10404973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2" name="Freihandform: Form 561">
              <a:extLst>
                <a:ext uri="{FF2B5EF4-FFF2-40B4-BE49-F238E27FC236}">
                  <a16:creationId xmlns:a16="http://schemas.microsoft.com/office/drawing/2014/main" id="{5A15C82D-65C4-591B-BF6B-70D1736712DF}"/>
                </a:ext>
              </a:extLst>
            </p:cNvPr>
            <p:cNvSpPr/>
            <p:nvPr/>
          </p:nvSpPr>
          <p:spPr>
            <a:xfrm>
              <a:off x="10407764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3" name="Freihandform: Form 562">
              <a:extLst>
                <a:ext uri="{FF2B5EF4-FFF2-40B4-BE49-F238E27FC236}">
                  <a16:creationId xmlns:a16="http://schemas.microsoft.com/office/drawing/2014/main" id="{68EAC0E0-6F5E-247C-B8A0-97082AB26DCD}"/>
                </a:ext>
              </a:extLst>
            </p:cNvPr>
            <p:cNvSpPr/>
            <p:nvPr/>
          </p:nvSpPr>
          <p:spPr>
            <a:xfrm>
              <a:off x="10413091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9 w 41095"/>
                <a:gd name="connsiteY2" fmla="*/ 9893 h 29552"/>
                <a:gd name="connsiteX3" fmla="*/ 13699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9 w 41095"/>
                <a:gd name="connsiteY10" fmla="*/ 29553 h 29552"/>
                <a:gd name="connsiteX11" fmla="*/ 13699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9" y="9893"/>
                  </a:lnTo>
                  <a:lnTo>
                    <a:pt x="13699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9" y="29553"/>
                  </a:lnTo>
                  <a:lnTo>
                    <a:pt x="13699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4" name="Freihandform: Form 563">
              <a:extLst>
                <a:ext uri="{FF2B5EF4-FFF2-40B4-BE49-F238E27FC236}">
                  <a16:creationId xmlns:a16="http://schemas.microsoft.com/office/drawing/2014/main" id="{15F55B71-F150-ECA5-5971-468498F4B60D}"/>
                </a:ext>
              </a:extLst>
            </p:cNvPr>
            <p:cNvSpPr/>
            <p:nvPr/>
          </p:nvSpPr>
          <p:spPr>
            <a:xfrm>
              <a:off x="10414486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5" name="Freihandform: Form 564">
              <a:extLst>
                <a:ext uri="{FF2B5EF4-FFF2-40B4-BE49-F238E27FC236}">
                  <a16:creationId xmlns:a16="http://schemas.microsoft.com/office/drawing/2014/main" id="{1D842E2B-3513-85B4-66CF-5E4AF8F7FEC4}"/>
                </a:ext>
              </a:extLst>
            </p:cNvPr>
            <p:cNvSpPr/>
            <p:nvPr/>
          </p:nvSpPr>
          <p:spPr>
            <a:xfrm>
              <a:off x="10423999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6" name="Freihandform: Form 565">
              <a:extLst>
                <a:ext uri="{FF2B5EF4-FFF2-40B4-BE49-F238E27FC236}">
                  <a16:creationId xmlns:a16="http://schemas.microsoft.com/office/drawing/2014/main" id="{AA4B542D-BAB9-B58B-F555-5EBB88DFF9A5}"/>
                </a:ext>
              </a:extLst>
            </p:cNvPr>
            <p:cNvSpPr/>
            <p:nvPr/>
          </p:nvSpPr>
          <p:spPr>
            <a:xfrm>
              <a:off x="10434907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7" name="Freihandform: Form 566">
              <a:extLst>
                <a:ext uri="{FF2B5EF4-FFF2-40B4-BE49-F238E27FC236}">
                  <a16:creationId xmlns:a16="http://schemas.microsoft.com/office/drawing/2014/main" id="{AA067F83-29B0-30C2-07D2-B37A925E7824}"/>
                </a:ext>
              </a:extLst>
            </p:cNvPr>
            <p:cNvSpPr/>
            <p:nvPr/>
          </p:nvSpPr>
          <p:spPr>
            <a:xfrm>
              <a:off x="10527371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8" name="Freihandform: Form 567">
              <a:extLst>
                <a:ext uri="{FF2B5EF4-FFF2-40B4-BE49-F238E27FC236}">
                  <a16:creationId xmlns:a16="http://schemas.microsoft.com/office/drawing/2014/main" id="{7BF28B88-A57D-519A-1996-F2D89FDFC6F5}"/>
                </a:ext>
              </a:extLst>
            </p:cNvPr>
            <p:cNvSpPr/>
            <p:nvPr/>
          </p:nvSpPr>
          <p:spPr>
            <a:xfrm>
              <a:off x="10576204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9" name="Freihandform: Form 568">
              <a:extLst>
                <a:ext uri="{FF2B5EF4-FFF2-40B4-BE49-F238E27FC236}">
                  <a16:creationId xmlns:a16="http://schemas.microsoft.com/office/drawing/2014/main" id="{A9DF04D7-9CCE-9697-8035-CCF59F513C0F}"/>
                </a:ext>
              </a:extLst>
            </p:cNvPr>
            <p:cNvSpPr/>
            <p:nvPr/>
          </p:nvSpPr>
          <p:spPr>
            <a:xfrm>
              <a:off x="10617045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0" name="Freihandform: Form 569">
              <a:extLst>
                <a:ext uri="{FF2B5EF4-FFF2-40B4-BE49-F238E27FC236}">
                  <a16:creationId xmlns:a16="http://schemas.microsoft.com/office/drawing/2014/main" id="{12A1FD61-9A17-1084-6A37-9EB9CFE9E8AE}"/>
                </a:ext>
              </a:extLst>
            </p:cNvPr>
            <p:cNvSpPr/>
            <p:nvPr/>
          </p:nvSpPr>
          <p:spPr>
            <a:xfrm>
              <a:off x="10653701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1" name="Freihandform: Form 570">
              <a:extLst>
                <a:ext uri="{FF2B5EF4-FFF2-40B4-BE49-F238E27FC236}">
                  <a16:creationId xmlns:a16="http://schemas.microsoft.com/office/drawing/2014/main" id="{A78EA587-BE85-907D-4A00-33E62ACEC518}"/>
                </a:ext>
              </a:extLst>
            </p:cNvPr>
            <p:cNvSpPr/>
            <p:nvPr/>
          </p:nvSpPr>
          <p:spPr>
            <a:xfrm>
              <a:off x="10699996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9 w 41095"/>
                <a:gd name="connsiteY2" fmla="*/ 9893 h 29552"/>
                <a:gd name="connsiteX3" fmla="*/ 13699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6 w 41095"/>
                <a:gd name="connsiteY6" fmla="*/ 9893 h 29552"/>
                <a:gd name="connsiteX7" fmla="*/ 41096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9 w 41095"/>
                <a:gd name="connsiteY10" fmla="*/ 29553 h 29552"/>
                <a:gd name="connsiteX11" fmla="*/ 13699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9" y="9893"/>
                  </a:lnTo>
                  <a:lnTo>
                    <a:pt x="13699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6" y="9893"/>
                  </a:lnTo>
                  <a:lnTo>
                    <a:pt x="41096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9" y="29553"/>
                  </a:lnTo>
                  <a:lnTo>
                    <a:pt x="13699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2" name="Freihandform: Form 571">
              <a:extLst>
                <a:ext uri="{FF2B5EF4-FFF2-40B4-BE49-F238E27FC236}">
                  <a16:creationId xmlns:a16="http://schemas.microsoft.com/office/drawing/2014/main" id="{D7B9F22B-1188-FCB5-EBDE-2F391EBA3735}"/>
                </a:ext>
              </a:extLst>
            </p:cNvPr>
            <p:cNvSpPr/>
            <p:nvPr/>
          </p:nvSpPr>
          <p:spPr>
            <a:xfrm>
              <a:off x="10736653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3" name="Freihandform: Form 572">
              <a:extLst>
                <a:ext uri="{FF2B5EF4-FFF2-40B4-BE49-F238E27FC236}">
                  <a16:creationId xmlns:a16="http://schemas.microsoft.com/office/drawing/2014/main" id="{EE27AB90-B74F-2CD4-8B0C-2A84CC9E7AB4}"/>
                </a:ext>
              </a:extLst>
            </p:cNvPr>
            <p:cNvSpPr/>
            <p:nvPr/>
          </p:nvSpPr>
          <p:spPr>
            <a:xfrm>
              <a:off x="10800452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4" name="Freihandform: Form 573">
              <a:extLst>
                <a:ext uri="{FF2B5EF4-FFF2-40B4-BE49-F238E27FC236}">
                  <a16:creationId xmlns:a16="http://schemas.microsoft.com/office/drawing/2014/main" id="{D486629F-156F-C675-5CD5-EF8B50C117A7}"/>
                </a:ext>
              </a:extLst>
            </p:cNvPr>
            <p:cNvSpPr/>
            <p:nvPr/>
          </p:nvSpPr>
          <p:spPr>
            <a:xfrm>
              <a:off x="10850806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5" name="Freihandform: Form 574">
              <a:extLst>
                <a:ext uri="{FF2B5EF4-FFF2-40B4-BE49-F238E27FC236}">
                  <a16:creationId xmlns:a16="http://schemas.microsoft.com/office/drawing/2014/main" id="{7759CC3A-23BB-2BDD-D6D5-F6C1B8ADC164}"/>
                </a:ext>
              </a:extLst>
            </p:cNvPr>
            <p:cNvSpPr/>
            <p:nvPr/>
          </p:nvSpPr>
          <p:spPr>
            <a:xfrm>
              <a:off x="10887589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6" name="Freihandform: Form 575">
              <a:extLst>
                <a:ext uri="{FF2B5EF4-FFF2-40B4-BE49-F238E27FC236}">
                  <a16:creationId xmlns:a16="http://schemas.microsoft.com/office/drawing/2014/main" id="{2D386A3B-6B55-EB94-C257-CC9AFAD94B5B}"/>
                </a:ext>
              </a:extLst>
            </p:cNvPr>
            <p:cNvSpPr/>
            <p:nvPr/>
          </p:nvSpPr>
          <p:spPr>
            <a:xfrm>
              <a:off x="10901160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7" name="Freihandform: Form 576">
              <a:extLst>
                <a:ext uri="{FF2B5EF4-FFF2-40B4-BE49-F238E27FC236}">
                  <a16:creationId xmlns:a16="http://schemas.microsoft.com/office/drawing/2014/main" id="{CD5C4F41-E717-89B6-90AE-72CB749BA597}"/>
                </a:ext>
              </a:extLst>
            </p:cNvPr>
            <p:cNvSpPr/>
            <p:nvPr/>
          </p:nvSpPr>
          <p:spPr>
            <a:xfrm>
              <a:off x="10939085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8" name="Freihandform: Form 577">
              <a:extLst>
                <a:ext uri="{FF2B5EF4-FFF2-40B4-BE49-F238E27FC236}">
                  <a16:creationId xmlns:a16="http://schemas.microsoft.com/office/drawing/2014/main" id="{121C9C2C-290A-F52C-7C24-1ED725CF3D63}"/>
                </a:ext>
              </a:extLst>
            </p:cNvPr>
            <p:cNvSpPr/>
            <p:nvPr/>
          </p:nvSpPr>
          <p:spPr>
            <a:xfrm>
              <a:off x="10950119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9 w 41095"/>
                <a:gd name="connsiteY2" fmla="*/ 9893 h 29552"/>
                <a:gd name="connsiteX3" fmla="*/ 13699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6 w 41095"/>
                <a:gd name="connsiteY6" fmla="*/ 9893 h 29552"/>
                <a:gd name="connsiteX7" fmla="*/ 41096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9 w 41095"/>
                <a:gd name="connsiteY10" fmla="*/ 29553 h 29552"/>
                <a:gd name="connsiteX11" fmla="*/ 13699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9" y="9893"/>
                  </a:lnTo>
                  <a:lnTo>
                    <a:pt x="13699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6" y="9893"/>
                  </a:lnTo>
                  <a:lnTo>
                    <a:pt x="41096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9" y="29553"/>
                  </a:lnTo>
                  <a:lnTo>
                    <a:pt x="13699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9" name="Freihandform: Form 578">
              <a:extLst>
                <a:ext uri="{FF2B5EF4-FFF2-40B4-BE49-F238E27FC236}">
                  <a16:creationId xmlns:a16="http://schemas.microsoft.com/office/drawing/2014/main" id="{F6DF80B2-32EF-C0BE-53B1-0EC84E09DD98}"/>
                </a:ext>
              </a:extLst>
            </p:cNvPr>
            <p:cNvSpPr/>
            <p:nvPr/>
          </p:nvSpPr>
          <p:spPr>
            <a:xfrm>
              <a:off x="11001742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0" name="Freihandform: Form 579">
              <a:extLst>
                <a:ext uri="{FF2B5EF4-FFF2-40B4-BE49-F238E27FC236}">
                  <a16:creationId xmlns:a16="http://schemas.microsoft.com/office/drawing/2014/main" id="{4CFFC7D0-E67C-42D6-B2B0-BBC8FE66DE53}"/>
                </a:ext>
              </a:extLst>
            </p:cNvPr>
            <p:cNvSpPr/>
            <p:nvPr/>
          </p:nvSpPr>
          <p:spPr>
            <a:xfrm>
              <a:off x="11057424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9 w 41095"/>
                <a:gd name="connsiteY2" fmla="*/ 9893 h 29552"/>
                <a:gd name="connsiteX3" fmla="*/ 13699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6 w 41095"/>
                <a:gd name="connsiteY6" fmla="*/ 9893 h 29552"/>
                <a:gd name="connsiteX7" fmla="*/ 41096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9 w 41095"/>
                <a:gd name="connsiteY10" fmla="*/ 29553 h 29552"/>
                <a:gd name="connsiteX11" fmla="*/ 13699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9" y="9893"/>
                  </a:lnTo>
                  <a:lnTo>
                    <a:pt x="13699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6" y="9893"/>
                  </a:lnTo>
                  <a:lnTo>
                    <a:pt x="41096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9" y="29553"/>
                  </a:lnTo>
                  <a:lnTo>
                    <a:pt x="13699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1" name="Freihandform: Form 580">
              <a:extLst>
                <a:ext uri="{FF2B5EF4-FFF2-40B4-BE49-F238E27FC236}">
                  <a16:creationId xmlns:a16="http://schemas.microsoft.com/office/drawing/2014/main" id="{C6F7F195-7169-F7BF-365D-FCA3693F3DB0}"/>
                </a:ext>
              </a:extLst>
            </p:cNvPr>
            <p:cNvSpPr/>
            <p:nvPr/>
          </p:nvSpPr>
          <p:spPr>
            <a:xfrm>
              <a:off x="11143039" y="330313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9 w 41095"/>
                <a:gd name="connsiteY2" fmla="*/ 9893 h 29552"/>
                <a:gd name="connsiteX3" fmla="*/ 13699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6 w 41095"/>
                <a:gd name="connsiteY6" fmla="*/ 9893 h 29552"/>
                <a:gd name="connsiteX7" fmla="*/ 41096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9 w 41095"/>
                <a:gd name="connsiteY10" fmla="*/ 29553 h 29552"/>
                <a:gd name="connsiteX11" fmla="*/ 13699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9" y="9893"/>
                  </a:lnTo>
                  <a:lnTo>
                    <a:pt x="13699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6" y="9893"/>
                  </a:lnTo>
                  <a:lnTo>
                    <a:pt x="41096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9" y="29553"/>
                  </a:lnTo>
                  <a:lnTo>
                    <a:pt x="13699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2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2" name="Freihandform: Form 581">
              <a:extLst>
                <a:ext uri="{FF2B5EF4-FFF2-40B4-BE49-F238E27FC236}">
                  <a16:creationId xmlns:a16="http://schemas.microsoft.com/office/drawing/2014/main" id="{0A2CABA9-1B94-1680-7463-48BF8F5E8304}"/>
                </a:ext>
              </a:extLst>
            </p:cNvPr>
            <p:cNvSpPr/>
            <p:nvPr/>
          </p:nvSpPr>
          <p:spPr>
            <a:xfrm>
              <a:off x="7103400" y="1699657"/>
              <a:ext cx="40968" cy="29553"/>
            </a:xfrm>
            <a:custGeom>
              <a:avLst/>
              <a:gdLst>
                <a:gd name="connsiteX0" fmla="*/ 0 w 40968"/>
                <a:gd name="connsiteY0" fmla="*/ 19787 h 29553"/>
                <a:gd name="connsiteX1" fmla="*/ 0 w 40968"/>
                <a:gd name="connsiteY1" fmla="*/ 9893 h 29553"/>
                <a:gd name="connsiteX2" fmla="*/ 13698 w 40968"/>
                <a:gd name="connsiteY2" fmla="*/ 9893 h 29553"/>
                <a:gd name="connsiteX3" fmla="*/ 13698 w 40968"/>
                <a:gd name="connsiteY3" fmla="*/ 0 h 29553"/>
                <a:gd name="connsiteX4" fmla="*/ 27270 w 40968"/>
                <a:gd name="connsiteY4" fmla="*/ 0 h 29553"/>
                <a:gd name="connsiteX5" fmla="*/ 27270 w 40968"/>
                <a:gd name="connsiteY5" fmla="*/ 9893 h 29553"/>
                <a:gd name="connsiteX6" fmla="*/ 40968 w 40968"/>
                <a:gd name="connsiteY6" fmla="*/ 9893 h 29553"/>
                <a:gd name="connsiteX7" fmla="*/ 40968 w 40968"/>
                <a:gd name="connsiteY7" fmla="*/ 19787 h 29553"/>
                <a:gd name="connsiteX8" fmla="*/ 27270 w 40968"/>
                <a:gd name="connsiteY8" fmla="*/ 19787 h 29553"/>
                <a:gd name="connsiteX9" fmla="*/ 27270 w 40968"/>
                <a:gd name="connsiteY9" fmla="*/ 29553 h 29553"/>
                <a:gd name="connsiteX10" fmla="*/ 13698 w 40968"/>
                <a:gd name="connsiteY10" fmla="*/ 29553 h 29553"/>
                <a:gd name="connsiteX11" fmla="*/ 13698 w 40968"/>
                <a:gd name="connsiteY11" fmla="*/ 19787 h 29553"/>
                <a:gd name="connsiteX12" fmla="*/ 0 w 40968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0968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270" y="0"/>
                  </a:lnTo>
                  <a:lnTo>
                    <a:pt x="27270" y="9893"/>
                  </a:lnTo>
                  <a:lnTo>
                    <a:pt x="40968" y="9893"/>
                  </a:lnTo>
                  <a:lnTo>
                    <a:pt x="40968" y="19787"/>
                  </a:lnTo>
                  <a:lnTo>
                    <a:pt x="27270" y="19787"/>
                  </a:lnTo>
                  <a:lnTo>
                    <a:pt x="27270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3" name="Freihandform: Form 582">
              <a:extLst>
                <a:ext uri="{FF2B5EF4-FFF2-40B4-BE49-F238E27FC236}">
                  <a16:creationId xmlns:a16="http://schemas.microsoft.com/office/drawing/2014/main" id="{4B621796-96CF-518D-654F-645E8CFD4D80}"/>
                </a:ext>
              </a:extLst>
            </p:cNvPr>
            <p:cNvSpPr/>
            <p:nvPr/>
          </p:nvSpPr>
          <p:spPr>
            <a:xfrm>
              <a:off x="7189015" y="1820279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4" name="Freihandform: Form 583">
              <a:extLst>
                <a:ext uri="{FF2B5EF4-FFF2-40B4-BE49-F238E27FC236}">
                  <a16:creationId xmlns:a16="http://schemas.microsoft.com/office/drawing/2014/main" id="{6710FDFE-1FFA-B179-D075-85A42F4AB6ED}"/>
                </a:ext>
              </a:extLst>
            </p:cNvPr>
            <p:cNvSpPr/>
            <p:nvPr/>
          </p:nvSpPr>
          <p:spPr>
            <a:xfrm>
              <a:off x="7199797" y="1845773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5" name="Freihandform: Form 584">
              <a:extLst>
                <a:ext uri="{FF2B5EF4-FFF2-40B4-BE49-F238E27FC236}">
                  <a16:creationId xmlns:a16="http://schemas.microsoft.com/office/drawing/2014/main" id="{0FCA4DFC-DFA1-091A-A1FE-613151A52832}"/>
                </a:ext>
              </a:extLst>
            </p:cNvPr>
            <p:cNvSpPr/>
            <p:nvPr/>
          </p:nvSpPr>
          <p:spPr>
            <a:xfrm>
              <a:off x="7217554" y="1880781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6" name="Freihandform: Form 585">
              <a:extLst>
                <a:ext uri="{FF2B5EF4-FFF2-40B4-BE49-F238E27FC236}">
                  <a16:creationId xmlns:a16="http://schemas.microsoft.com/office/drawing/2014/main" id="{93A10959-22B0-C8D5-42F3-B6EAF741CE9A}"/>
                </a:ext>
              </a:extLst>
            </p:cNvPr>
            <p:cNvSpPr/>
            <p:nvPr/>
          </p:nvSpPr>
          <p:spPr>
            <a:xfrm>
              <a:off x="7227067" y="1906402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7" name="Freihandform: Form 586">
              <a:extLst>
                <a:ext uri="{FF2B5EF4-FFF2-40B4-BE49-F238E27FC236}">
                  <a16:creationId xmlns:a16="http://schemas.microsoft.com/office/drawing/2014/main" id="{85F8F41F-9F4E-2830-B9BC-6DCAC37EA0B7}"/>
                </a:ext>
              </a:extLst>
            </p:cNvPr>
            <p:cNvSpPr/>
            <p:nvPr/>
          </p:nvSpPr>
          <p:spPr>
            <a:xfrm>
              <a:off x="7299110" y="2059748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6 h 29553"/>
                <a:gd name="connsiteX2" fmla="*/ 13698 w 41095"/>
                <a:gd name="connsiteY2" fmla="*/ 9766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6 h 29553"/>
                <a:gd name="connsiteX6" fmla="*/ 41095 w 41095"/>
                <a:gd name="connsiteY6" fmla="*/ 9766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8" name="Freihandform: Form 587">
              <a:extLst>
                <a:ext uri="{FF2B5EF4-FFF2-40B4-BE49-F238E27FC236}">
                  <a16:creationId xmlns:a16="http://schemas.microsoft.com/office/drawing/2014/main" id="{E9B94D14-49AB-B3EB-DAAC-75A7C49669BB}"/>
                </a:ext>
              </a:extLst>
            </p:cNvPr>
            <p:cNvSpPr/>
            <p:nvPr/>
          </p:nvSpPr>
          <p:spPr>
            <a:xfrm>
              <a:off x="7318136" y="2104521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9" name="Freihandform: Form 588">
              <a:extLst>
                <a:ext uri="{FF2B5EF4-FFF2-40B4-BE49-F238E27FC236}">
                  <a16:creationId xmlns:a16="http://schemas.microsoft.com/office/drawing/2014/main" id="{E8EB12F4-CDE7-8E54-162B-4561DBC35A2C}"/>
                </a:ext>
              </a:extLst>
            </p:cNvPr>
            <p:cNvSpPr/>
            <p:nvPr/>
          </p:nvSpPr>
          <p:spPr>
            <a:xfrm>
              <a:off x="7338430" y="2136611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0" name="Freihandform: Form 589">
              <a:extLst>
                <a:ext uri="{FF2B5EF4-FFF2-40B4-BE49-F238E27FC236}">
                  <a16:creationId xmlns:a16="http://schemas.microsoft.com/office/drawing/2014/main" id="{25D00AB2-62E9-DBBE-7BB3-B081BDAB57F5}"/>
                </a:ext>
              </a:extLst>
            </p:cNvPr>
            <p:cNvSpPr/>
            <p:nvPr/>
          </p:nvSpPr>
          <p:spPr>
            <a:xfrm>
              <a:off x="7371154" y="2171999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1" name="Freihandform: Form 590">
              <a:extLst>
                <a:ext uri="{FF2B5EF4-FFF2-40B4-BE49-F238E27FC236}">
                  <a16:creationId xmlns:a16="http://schemas.microsoft.com/office/drawing/2014/main" id="{144101E8-0D67-C164-2D8B-9D3A3BB581F1}"/>
                </a:ext>
              </a:extLst>
            </p:cNvPr>
            <p:cNvSpPr/>
            <p:nvPr/>
          </p:nvSpPr>
          <p:spPr>
            <a:xfrm>
              <a:off x="7371154" y="2171999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2" name="Freihandform: Form 591">
              <a:extLst>
                <a:ext uri="{FF2B5EF4-FFF2-40B4-BE49-F238E27FC236}">
                  <a16:creationId xmlns:a16="http://schemas.microsoft.com/office/drawing/2014/main" id="{3A5FCDC2-C250-051E-8BC2-25495FB63F7A}"/>
                </a:ext>
              </a:extLst>
            </p:cNvPr>
            <p:cNvSpPr/>
            <p:nvPr/>
          </p:nvSpPr>
          <p:spPr>
            <a:xfrm>
              <a:off x="7381935" y="2184936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3" name="Freihandform: Form 592">
              <a:extLst>
                <a:ext uri="{FF2B5EF4-FFF2-40B4-BE49-F238E27FC236}">
                  <a16:creationId xmlns:a16="http://schemas.microsoft.com/office/drawing/2014/main" id="{F60597D3-7B29-681E-E1C9-FA9A697B3534}"/>
                </a:ext>
              </a:extLst>
            </p:cNvPr>
            <p:cNvSpPr/>
            <p:nvPr/>
          </p:nvSpPr>
          <p:spPr>
            <a:xfrm>
              <a:off x="7381935" y="2184936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4" name="Freihandform: Form 593">
              <a:extLst>
                <a:ext uri="{FF2B5EF4-FFF2-40B4-BE49-F238E27FC236}">
                  <a16:creationId xmlns:a16="http://schemas.microsoft.com/office/drawing/2014/main" id="{6A4ABE36-3221-9FE3-29A0-E5D7E5554096}"/>
                </a:ext>
              </a:extLst>
            </p:cNvPr>
            <p:cNvSpPr/>
            <p:nvPr/>
          </p:nvSpPr>
          <p:spPr>
            <a:xfrm>
              <a:off x="7396902" y="2201044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5" name="Freihandform: Form 594">
              <a:extLst>
                <a:ext uri="{FF2B5EF4-FFF2-40B4-BE49-F238E27FC236}">
                  <a16:creationId xmlns:a16="http://schemas.microsoft.com/office/drawing/2014/main" id="{A168FFD0-6215-319C-B77D-4DC5553B68E1}"/>
                </a:ext>
              </a:extLst>
            </p:cNvPr>
            <p:cNvSpPr/>
            <p:nvPr/>
          </p:nvSpPr>
          <p:spPr>
            <a:xfrm>
              <a:off x="7447256" y="2301753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6" name="Freihandform: Form 595">
              <a:extLst>
                <a:ext uri="{FF2B5EF4-FFF2-40B4-BE49-F238E27FC236}">
                  <a16:creationId xmlns:a16="http://schemas.microsoft.com/office/drawing/2014/main" id="{8CB7BE63-8889-CB10-BCD0-5532FB5B7318}"/>
                </a:ext>
              </a:extLst>
            </p:cNvPr>
            <p:cNvSpPr/>
            <p:nvPr/>
          </p:nvSpPr>
          <p:spPr>
            <a:xfrm>
              <a:off x="7448651" y="2308349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6 h 29553"/>
                <a:gd name="connsiteX2" fmla="*/ 13698 w 41095"/>
                <a:gd name="connsiteY2" fmla="*/ 9766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6 h 29553"/>
                <a:gd name="connsiteX6" fmla="*/ 41095 w 41095"/>
                <a:gd name="connsiteY6" fmla="*/ 9766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7" name="Freihandform: Form 596">
              <a:extLst>
                <a:ext uri="{FF2B5EF4-FFF2-40B4-BE49-F238E27FC236}">
                  <a16:creationId xmlns:a16="http://schemas.microsoft.com/office/drawing/2014/main" id="{58417566-A23D-EF3C-DE83-FEA78B69EFE2}"/>
                </a:ext>
              </a:extLst>
            </p:cNvPr>
            <p:cNvSpPr/>
            <p:nvPr/>
          </p:nvSpPr>
          <p:spPr>
            <a:xfrm>
              <a:off x="7451315" y="2311520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8" name="Freihandform: Form 597">
              <a:extLst>
                <a:ext uri="{FF2B5EF4-FFF2-40B4-BE49-F238E27FC236}">
                  <a16:creationId xmlns:a16="http://schemas.microsoft.com/office/drawing/2014/main" id="{89727642-5D36-309E-A790-2E2113C36983}"/>
                </a:ext>
              </a:extLst>
            </p:cNvPr>
            <p:cNvSpPr/>
            <p:nvPr/>
          </p:nvSpPr>
          <p:spPr>
            <a:xfrm>
              <a:off x="7479853" y="2363777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9" name="Freihandform: Form 598">
              <a:extLst>
                <a:ext uri="{FF2B5EF4-FFF2-40B4-BE49-F238E27FC236}">
                  <a16:creationId xmlns:a16="http://schemas.microsoft.com/office/drawing/2014/main" id="{D62FA62E-F5D6-399F-C38A-BD67AFDDB87B}"/>
                </a:ext>
              </a:extLst>
            </p:cNvPr>
            <p:cNvSpPr/>
            <p:nvPr/>
          </p:nvSpPr>
          <p:spPr>
            <a:xfrm>
              <a:off x="7539720" y="2442543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6 h 29553"/>
                <a:gd name="connsiteX2" fmla="*/ 13698 w 41095"/>
                <a:gd name="connsiteY2" fmla="*/ 9766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6 h 29553"/>
                <a:gd name="connsiteX6" fmla="*/ 41095 w 41095"/>
                <a:gd name="connsiteY6" fmla="*/ 9766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0" name="Freihandform: Form 599">
              <a:extLst>
                <a:ext uri="{FF2B5EF4-FFF2-40B4-BE49-F238E27FC236}">
                  <a16:creationId xmlns:a16="http://schemas.microsoft.com/office/drawing/2014/main" id="{51AA834B-FF4C-2D9A-C41E-35FF8E74FFFA}"/>
                </a:ext>
              </a:extLst>
            </p:cNvPr>
            <p:cNvSpPr/>
            <p:nvPr/>
          </p:nvSpPr>
          <p:spPr>
            <a:xfrm>
              <a:off x="7553292" y="2468798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6 h 29553"/>
                <a:gd name="connsiteX2" fmla="*/ 13698 w 41095"/>
                <a:gd name="connsiteY2" fmla="*/ 9766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6 h 29553"/>
                <a:gd name="connsiteX6" fmla="*/ 41095 w 41095"/>
                <a:gd name="connsiteY6" fmla="*/ 9766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1" name="Freihandform: Form 600">
              <a:extLst>
                <a:ext uri="{FF2B5EF4-FFF2-40B4-BE49-F238E27FC236}">
                  <a16:creationId xmlns:a16="http://schemas.microsoft.com/office/drawing/2014/main" id="{7A8447F5-E085-DBE7-A3BE-04E75401C47C}"/>
                </a:ext>
              </a:extLst>
            </p:cNvPr>
            <p:cNvSpPr/>
            <p:nvPr/>
          </p:nvSpPr>
          <p:spPr>
            <a:xfrm>
              <a:off x="7560014" y="2478564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2" name="Freihandform: Form 601">
              <a:extLst>
                <a:ext uri="{FF2B5EF4-FFF2-40B4-BE49-F238E27FC236}">
                  <a16:creationId xmlns:a16="http://schemas.microsoft.com/office/drawing/2014/main" id="{AFF1D8C6-C6F7-49FC-B287-277D985F8839}"/>
                </a:ext>
              </a:extLst>
            </p:cNvPr>
            <p:cNvSpPr/>
            <p:nvPr/>
          </p:nvSpPr>
          <p:spPr>
            <a:xfrm>
              <a:off x="7568259" y="2485287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3" name="Freihandform: Form 602">
              <a:extLst>
                <a:ext uri="{FF2B5EF4-FFF2-40B4-BE49-F238E27FC236}">
                  <a16:creationId xmlns:a16="http://schemas.microsoft.com/office/drawing/2014/main" id="{CE270B25-487A-7E64-A164-46E26D3DA11C}"/>
                </a:ext>
              </a:extLst>
            </p:cNvPr>
            <p:cNvSpPr/>
            <p:nvPr/>
          </p:nvSpPr>
          <p:spPr>
            <a:xfrm>
              <a:off x="7598065" y="2514967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4" name="Freihandform: Form 603">
              <a:extLst>
                <a:ext uri="{FF2B5EF4-FFF2-40B4-BE49-F238E27FC236}">
                  <a16:creationId xmlns:a16="http://schemas.microsoft.com/office/drawing/2014/main" id="{CCF37C3B-D5CE-FFF8-C603-DEEB8C28CE95}"/>
                </a:ext>
              </a:extLst>
            </p:cNvPr>
            <p:cNvSpPr/>
            <p:nvPr/>
          </p:nvSpPr>
          <p:spPr>
            <a:xfrm>
              <a:off x="7602251" y="2518391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766 h 29552"/>
                <a:gd name="connsiteX2" fmla="*/ 13698 w 41095"/>
                <a:gd name="connsiteY2" fmla="*/ 9766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766 h 29552"/>
                <a:gd name="connsiteX6" fmla="*/ 41095 w 41095"/>
                <a:gd name="connsiteY6" fmla="*/ 9766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5" name="Freihandform: Form 604">
              <a:extLst>
                <a:ext uri="{FF2B5EF4-FFF2-40B4-BE49-F238E27FC236}">
                  <a16:creationId xmlns:a16="http://schemas.microsoft.com/office/drawing/2014/main" id="{004D6CEF-FAD5-C024-85BC-5F67473340F2}"/>
                </a:ext>
              </a:extLst>
            </p:cNvPr>
            <p:cNvSpPr/>
            <p:nvPr/>
          </p:nvSpPr>
          <p:spPr>
            <a:xfrm>
              <a:off x="7606310" y="2521689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7 h 29553"/>
                <a:gd name="connsiteX2" fmla="*/ 13698 w 41095"/>
                <a:gd name="connsiteY2" fmla="*/ 9767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7 h 29553"/>
                <a:gd name="connsiteX6" fmla="*/ 41095 w 41095"/>
                <a:gd name="connsiteY6" fmla="*/ 9767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6" name="Freihandform: Form 605">
              <a:extLst>
                <a:ext uri="{FF2B5EF4-FFF2-40B4-BE49-F238E27FC236}">
                  <a16:creationId xmlns:a16="http://schemas.microsoft.com/office/drawing/2014/main" id="{42AC9BB1-C49C-632B-F3AD-276F268BCCDA}"/>
                </a:ext>
              </a:extLst>
            </p:cNvPr>
            <p:cNvSpPr/>
            <p:nvPr/>
          </p:nvSpPr>
          <p:spPr>
            <a:xfrm>
              <a:off x="7606310" y="2521689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7 h 29553"/>
                <a:gd name="connsiteX2" fmla="*/ 13698 w 41095"/>
                <a:gd name="connsiteY2" fmla="*/ 9767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7 h 29553"/>
                <a:gd name="connsiteX6" fmla="*/ 41095 w 41095"/>
                <a:gd name="connsiteY6" fmla="*/ 9767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7" name="Freihandform: Form 606">
              <a:extLst>
                <a:ext uri="{FF2B5EF4-FFF2-40B4-BE49-F238E27FC236}">
                  <a16:creationId xmlns:a16="http://schemas.microsoft.com/office/drawing/2014/main" id="{8D570B00-22ED-419B-6B55-AF538970010F}"/>
                </a:ext>
              </a:extLst>
            </p:cNvPr>
            <p:cNvSpPr/>
            <p:nvPr/>
          </p:nvSpPr>
          <p:spPr>
            <a:xfrm>
              <a:off x="7613159" y="2535007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8" name="Freihandform: Form 607">
              <a:extLst>
                <a:ext uri="{FF2B5EF4-FFF2-40B4-BE49-F238E27FC236}">
                  <a16:creationId xmlns:a16="http://schemas.microsoft.com/office/drawing/2014/main" id="{159F38B6-CEE3-6C5D-CABA-4E2B7E600ECB}"/>
                </a:ext>
              </a:extLst>
            </p:cNvPr>
            <p:cNvSpPr/>
            <p:nvPr/>
          </p:nvSpPr>
          <p:spPr>
            <a:xfrm>
              <a:off x="7621277" y="2538431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7 h 29553"/>
                <a:gd name="connsiteX2" fmla="*/ 13698 w 41095"/>
                <a:gd name="connsiteY2" fmla="*/ 9767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7 h 29553"/>
                <a:gd name="connsiteX6" fmla="*/ 41095 w 41095"/>
                <a:gd name="connsiteY6" fmla="*/ 9767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9" name="Freihandform: Form 608">
              <a:extLst>
                <a:ext uri="{FF2B5EF4-FFF2-40B4-BE49-F238E27FC236}">
                  <a16:creationId xmlns:a16="http://schemas.microsoft.com/office/drawing/2014/main" id="{6E14561E-EE69-C1EA-A198-A8B7E896E63F}"/>
                </a:ext>
              </a:extLst>
            </p:cNvPr>
            <p:cNvSpPr/>
            <p:nvPr/>
          </p:nvSpPr>
          <p:spPr>
            <a:xfrm>
              <a:off x="7623940" y="2538431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7 h 29553"/>
                <a:gd name="connsiteX2" fmla="*/ 13698 w 41095"/>
                <a:gd name="connsiteY2" fmla="*/ 9767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7 h 29553"/>
                <a:gd name="connsiteX6" fmla="*/ 41095 w 41095"/>
                <a:gd name="connsiteY6" fmla="*/ 9767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0" name="Freihandform: Form 609">
              <a:extLst>
                <a:ext uri="{FF2B5EF4-FFF2-40B4-BE49-F238E27FC236}">
                  <a16:creationId xmlns:a16="http://schemas.microsoft.com/office/drawing/2014/main" id="{29BD3826-9B32-D172-FEF7-44679977575B}"/>
                </a:ext>
              </a:extLst>
            </p:cNvPr>
            <p:cNvSpPr/>
            <p:nvPr/>
          </p:nvSpPr>
          <p:spPr>
            <a:xfrm>
              <a:off x="7629394" y="2541856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1" name="Freihandform: Form 610">
              <a:extLst>
                <a:ext uri="{FF2B5EF4-FFF2-40B4-BE49-F238E27FC236}">
                  <a16:creationId xmlns:a16="http://schemas.microsoft.com/office/drawing/2014/main" id="{6BDC2821-2F05-C6F2-F74E-2A332F47CE6F}"/>
                </a:ext>
              </a:extLst>
            </p:cNvPr>
            <p:cNvSpPr/>
            <p:nvPr/>
          </p:nvSpPr>
          <p:spPr>
            <a:xfrm>
              <a:off x="7632058" y="2548578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6 h 29553"/>
                <a:gd name="connsiteX2" fmla="*/ 13698 w 41095"/>
                <a:gd name="connsiteY2" fmla="*/ 9766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6 h 29553"/>
                <a:gd name="connsiteX6" fmla="*/ 41095 w 41095"/>
                <a:gd name="connsiteY6" fmla="*/ 9766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2" name="Freihandform: Form 611">
              <a:extLst>
                <a:ext uri="{FF2B5EF4-FFF2-40B4-BE49-F238E27FC236}">
                  <a16:creationId xmlns:a16="http://schemas.microsoft.com/office/drawing/2014/main" id="{CFEA59EF-F0E4-456E-B814-7B253A78D996}"/>
                </a:ext>
              </a:extLst>
            </p:cNvPr>
            <p:cNvSpPr/>
            <p:nvPr/>
          </p:nvSpPr>
          <p:spPr>
            <a:xfrm>
              <a:off x="7634848" y="2551876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3" name="Freihandform: Form 612">
              <a:extLst>
                <a:ext uri="{FF2B5EF4-FFF2-40B4-BE49-F238E27FC236}">
                  <a16:creationId xmlns:a16="http://schemas.microsoft.com/office/drawing/2014/main" id="{B24958DA-DFB2-B81B-57AB-11D5DD62B611}"/>
                </a:ext>
              </a:extLst>
            </p:cNvPr>
            <p:cNvSpPr/>
            <p:nvPr/>
          </p:nvSpPr>
          <p:spPr>
            <a:xfrm>
              <a:off x="7634848" y="2551876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4" name="Freihandform: Form 613">
              <a:extLst>
                <a:ext uri="{FF2B5EF4-FFF2-40B4-BE49-F238E27FC236}">
                  <a16:creationId xmlns:a16="http://schemas.microsoft.com/office/drawing/2014/main" id="{8FEDCA18-8B7F-FBDC-BC39-ACCBD343CB1F}"/>
                </a:ext>
              </a:extLst>
            </p:cNvPr>
            <p:cNvSpPr/>
            <p:nvPr/>
          </p:nvSpPr>
          <p:spPr>
            <a:xfrm>
              <a:off x="7636243" y="2555301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5" name="Freihandform: Form 614">
              <a:extLst>
                <a:ext uri="{FF2B5EF4-FFF2-40B4-BE49-F238E27FC236}">
                  <a16:creationId xmlns:a16="http://schemas.microsoft.com/office/drawing/2014/main" id="{45E28951-A3A8-A955-18F8-B28F4C51D5CE}"/>
                </a:ext>
              </a:extLst>
            </p:cNvPr>
            <p:cNvSpPr/>
            <p:nvPr/>
          </p:nvSpPr>
          <p:spPr>
            <a:xfrm>
              <a:off x="7637639" y="2558852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7 h 29426"/>
                <a:gd name="connsiteX2" fmla="*/ 13698 w 41095"/>
                <a:gd name="connsiteY2" fmla="*/ 9767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7 h 29426"/>
                <a:gd name="connsiteX6" fmla="*/ 41095 w 41095"/>
                <a:gd name="connsiteY6" fmla="*/ 9767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6" name="Freihandform: Form 615">
              <a:extLst>
                <a:ext uri="{FF2B5EF4-FFF2-40B4-BE49-F238E27FC236}">
                  <a16:creationId xmlns:a16="http://schemas.microsoft.com/office/drawing/2014/main" id="{61299D75-2A32-E15C-1A99-ADFBE444CA60}"/>
                </a:ext>
              </a:extLst>
            </p:cNvPr>
            <p:cNvSpPr/>
            <p:nvPr/>
          </p:nvSpPr>
          <p:spPr>
            <a:xfrm>
              <a:off x="7644361" y="2565575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7" name="Freihandform: Form 616">
              <a:extLst>
                <a:ext uri="{FF2B5EF4-FFF2-40B4-BE49-F238E27FC236}">
                  <a16:creationId xmlns:a16="http://schemas.microsoft.com/office/drawing/2014/main" id="{3C5F9587-03A0-37E8-FCCF-D4871415ABDE}"/>
                </a:ext>
              </a:extLst>
            </p:cNvPr>
            <p:cNvSpPr/>
            <p:nvPr/>
          </p:nvSpPr>
          <p:spPr>
            <a:xfrm>
              <a:off x="7644361" y="2565575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8" name="Freihandform: Form 617">
              <a:extLst>
                <a:ext uri="{FF2B5EF4-FFF2-40B4-BE49-F238E27FC236}">
                  <a16:creationId xmlns:a16="http://schemas.microsoft.com/office/drawing/2014/main" id="{B3B671BA-3771-9D95-941A-997926BDD7AD}"/>
                </a:ext>
              </a:extLst>
            </p:cNvPr>
            <p:cNvSpPr/>
            <p:nvPr/>
          </p:nvSpPr>
          <p:spPr>
            <a:xfrm>
              <a:off x="7645756" y="2565575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9" name="Freihandform: Form 618">
              <a:extLst>
                <a:ext uri="{FF2B5EF4-FFF2-40B4-BE49-F238E27FC236}">
                  <a16:creationId xmlns:a16="http://schemas.microsoft.com/office/drawing/2014/main" id="{90A2648E-C421-3E0E-425A-D4D137237F18}"/>
                </a:ext>
              </a:extLst>
            </p:cNvPr>
            <p:cNvSpPr/>
            <p:nvPr/>
          </p:nvSpPr>
          <p:spPr>
            <a:xfrm>
              <a:off x="7648420" y="2572551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0" name="Freihandform: Form 619">
              <a:extLst>
                <a:ext uri="{FF2B5EF4-FFF2-40B4-BE49-F238E27FC236}">
                  <a16:creationId xmlns:a16="http://schemas.microsoft.com/office/drawing/2014/main" id="{E189709F-629C-3A7A-373C-C2437922BDAF}"/>
                </a:ext>
              </a:extLst>
            </p:cNvPr>
            <p:cNvSpPr/>
            <p:nvPr/>
          </p:nvSpPr>
          <p:spPr>
            <a:xfrm>
              <a:off x="7651083" y="2572551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1" name="Freihandform: Form 620">
              <a:extLst>
                <a:ext uri="{FF2B5EF4-FFF2-40B4-BE49-F238E27FC236}">
                  <a16:creationId xmlns:a16="http://schemas.microsoft.com/office/drawing/2014/main" id="{548CB0B0-B1D1-C6BC-4616-F10BB2CD1F5F}"/>
                </a:ext>
              </a:extLst>
            </p:cNvPr>
            <p:cNvSpPr/>
            <p:nvPr/>
          </p:nvSpPr>
          <p:spPr>
            <a:xfrm>
              <a:off x="7657933" y="2583078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2" name="Freihandform: Form 621">
              <a:extLst>
                <a:ext uri="{FF2B5EF4-FFF2-40B4-BE49-F238E27FC236}">
                  <a16:creationId xmlns:a16="http://schemas.microsoft.com/office/drawing/2014/main" id="{2913FC8E-2E47-C5B0-08C6-FDABE72FA9E5}"/>
                </a:ext>
              </a:extLst>
            </p:cNvPr>
            <p:cNvSpPr/>
            <p:nvPr/>
          </p:nvSpPr>
          <p:spPr>
            <a:xfrm>
              <a:off x="7657933" y="2583078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3" name="Freihandform: Form 622">
              <a:extLst>
                <a:ext uri="{FF2B5EF4-FFF2-40B4-BE49-F238E27FC236}">
                  <a16:creationId xmlns:a16="http://schemas.microsoft.com/office/drawing/2014/main" id="{B097AD5E-E20A-78B8-8E9D-64438D03F3B0}"/>
                </a:ext>
              </a:extLst>
            </p:cNvPr>
            <p:cNvSpPr/>
            <p:nvPr/>
          </p:nvSpPr>
          <p:spPr>
            <a:xfrm>
              <a:off x="7659328" y="2583078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4" name="Freihandform: Form 623">
              <a:extLst>
                <a:ext uri="{FF2B5EF4-FFF2-40B4-BE49-F238E27FC236}">
                  <a16:creationId xmlns:a16="http://schemas.microsoft.com/office/drawing/2014/main" id="{7198B832-2DB7-55D2-8C12-D391F89FF2C7}"/>
                </a:ext>
              </a:extLst>
            </p:cNvPr>
            <p:cNvSpPr/>
            <p:nvPr/>
          </p:nvSpPr>
          <p:spPr>
            <a:xfrm>
              <a:off x="7663387" y="2583078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5" name="Freihandform: Form 624">
              <a:extLst>
                <a:ext uri="{FF2B5EF4-FFF2-40B4-BE49-F238E27FC236}">
                  <a16:creationId xmlns:a16="http://schemas.microsoft.com/office/drawing/2014/main" id="{8719F028-0502-BC3A-A99C-B01E63A4BE22}"/>
                </a:ext>
              </a:extLst>
            </p:cNvPr>
            <p:cNvSpPr/>
            <p:nvPr/>
          </p:nvSpPr>
          <p:spPr>
            <a:xfrm>
              <a:off x="7668841" y="2586503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6" name="Freihandform: Form 625">
              <a:extLst>
                <a:ext uri="{FF2B5EF4-FFF2-40B4-BE49-F238E27FC236}">
                  <a16:creationId xmlns:a16="http://schemas.microsoft.com/office/drawing/2014/main" id="{B53A8579-1232-7810-10A6-9B62B578DA11}"/>
                </a:ext>
              </a:extLst>
            </p:cNvPr>
            <p:cNvSpPr/>
            <p:nvPr/>
          </p:nvSpPr>
          <p:spPr>
            <a:xfrm>
              <a:off x="7672899" y="2586503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7" name="Freihandform: Form 626">
              <a:extLst>
                <a:ext uri="{FF2B5EF4-FFF2-40B4-BE49-F238E27FC236}">
                  <a16:creationId xmlns:a16="http://schemas.microsoft.com/office/drawing/2014/main" id="{1EE81B9A-4168-6799-A66C-527B4FD97ECB}"/>
                </a:ext>
              </a:extLst>
            </p:cNvPr>
            <p:cNvSpPr/>
            <p:nvPr/>
          </p:nvSpPr>
          <p:spPr>
            <a:xfrm>
              <a:off x="7675563" y="2590054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7 h 29553"/>
                <a:gd name="connsiteX2" fmla="*/ 13698 w 41095"/>
                <a:gd name="connsiteY2" fmla="*/ 9767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7 h 29553"/>
                <a:gd name="connsiteX6" fmla="*/ 41095 w 41095"/>
                <a:gd name="connsiteY6" fmla="*/ 9767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8" name="Freihandform: Form 627">
              <a:extLst>
                <a:ext uri="{FF2B5EF4-FFF2-40B4-BE49-F238E27FC236}">
                  <a16:creationId xmlns:a16="http://schemas.microsoft.com/office/drawing/2014/main" id="{AAA64829-5299-A55E-5AE7-46E7FA12455C}"/>
                </a:ext>
              </a:extLst>
            </p:cNvPr>
            <p:cNvSpPr/>
            <p:nvPr/>
          </p:nvSpPr>
          <p:spPr>
            <a:xfrm>
              <a:off x="7689135" y="2614914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9" name="Freihandform: Form 628">
              <a:extLst>
                <a:ext uri="{FF2B5EF4-FFF2-40B4-BE49-F238E27FC236}">
                  <a16:creationId xmlns:a16="http://schemas.microsoft.com/office/drawing/2014/main" id="{037A9A5A-E2E2-9308-06BB-7A56A570832E}"/>
                </a:ext>
              </a:extLst>
            </p:cNvPr>
            <p:cNvSpPr/>
            <p:nvPr/>
          </p:nvSpPr>
          <p:spPr>
            <a:xfrm>
              <a:off x="7701438" y="2632798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6 h 29553"/>
                <a:gd name="connsiteX2" fmla="*/ 13698 w 41095"/>
                <a:gd name="connsiteY2" fmla="*/ 9766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6 h 29553"/>
                <a:gd name="connsiteX6" fmla="*/ 41095 w 41095"/>
                <a:gd name="connsiteY6" fmla="*/ 9766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30" name="Freihandform: Form 629">
              <a:extLst>
                <a:ext uri="{FF2B5EF4-FFF2-40B4-BE49-F238E27FC236}">
                  <a16:creationId xmlns:a16="http://schemas.microsoft.com/office/drawing/2014/main" id="{8C1C7D0A-7302-DB2D-62FB-F39C407B6DB6}"/>
                </a:ext>
              </a:extLst>
            </p:cNvPr>
            <p:cNvSpPr/>
            <p:nvPr/>
          </p:nvSpPr>
          <p:spPr>
            <a:xfrm>
              <a:off x="7705497" y="2632798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6 h 29553"/>
                <a:gd name="connsiteX2" fmla="*/ 13698 w 41095"/>
                <a:gd name="connsiteY2" fmla="*/ 9766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6 h 29553"/>
                <a:gd name="connsiteX6" fmla="*/ 41095 w 41095"/>
                <a:gd name="connsiteY6" fmla="*/ 9766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31" name="Freihandform: Form 630">
              <a:extLst>
                <a:ext uri="{FF2B5EF4-FFF2-40B4-BE49-F238E27FC236}">
                  <a16:creationId xmlns:a16="http://schemas.microsoft.com/office/drawing/2014/main" id="{D22BF82A-1535-7E72-78F2-DFD435ADBEEF}"/>
                </a:ext>
              </a:extLst>
            </p:cNvPr>
            <p:cNvSpPr/>
            <p:nvPr/>
          </p:nvSpPr>
          <p:spPr>
            <a:xfrm>
              <a:off x="7712219" y="2647004"/>
              <a:ext cx="41095" cy="29552"/>
            </a:xfrm>
            <a:custGeom>
              <a:avLst/>
              <a:gdLst>
                <a:gd name="connsiteX0" fmla="*/ 0 w 41095"/>
                <a:gd name="connsiteY0" fmla="*/ 19787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787 h 29552"/>
                <a:gd name="connsiteX8" fmla="*/ 27397 w 41095"/>
                <a:gd name="connsiteY8" fmla="*/ 19787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787 h 29552"/>
                <a:gd name="connsiteX12" fmla="*/ 0 w 41095"/>
                <a:gd name="connsiteY12" fmla="*/ 19787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32" name="Freihandform: Form 631">
              <a:extLst>
                <a:ext uri="{FF2B5EF4-FFF2-40B4-BE49-F238E27FC236}">
                  <a16:creationId xmlns:a16="http://schemas.microsoft.com/office/drawing/2014/main" id="{9C732A08-EAAC-75F5-8E42-A52ECE5E885C}"/>
                </a:ext>
              </a:extLst>
            </p:cNvPr>
            <p:cNvSpPr/>
            <p:nvPr/>
          </p:nvSpPr>
          <p:spPr>
            <a:xfrm>
              <a:off x="7719068" y="2657912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766 h 29552"/>
                <a:gd name="connsiteX2" fmla="*/ 13698 w 41095"/>
                <a:gd name="connsiteY2" fmla="*/ 9766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766 h 29552"/>
                <a:gd name="connsiteX6" fmla="*/ 41095 w 41095"/>
                <a:gd name="connsiteY6" fmla="*/ 9766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33" name="Freihandform: Form 632">
              <a:extLst>
                <a:ext uri="{FF2B5EF4-FFF2-40B4-BE49-F238E27FC236}">
                  <a16:creationId xmlns:a16="http://schemas.microsoft.com/office/drawing/2014/main" id="{7D7E97B1-8EA5-0DB2-633B-3CB240517FA2}"/>
                </a:ext>
              </a:extLst>
            </p:cNvPr>
            <p:cNvSpPr/>
            <p:nvPr/>
          </p:nvSpPr>
          <p:spPr>
            <a:xfrm>
              <a:off x="7720463" y="2661464"/>
              <a:ext cx="41095" cy="29552"/>
            </a:xfrm>
            <a:custGeom>
              <a:avLst/>
              <a:gdLst>
                <a:gd name="connsiteX0" fmla="*/ 0 w 41095"/>
                <a:gd name="connsiteY0" fmla="*/ 19787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787 h 29552"/>
                <a:gd name="connsiteX8" fmla="*/ 27397 w 41095"/>
                <a:gd name="connsiteY8" fmla="*/ 19787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787 h 29552"/>
                <a:gd name="connsiteX12" fmla="*/ 0 w 41095"/>
                <a:gd name="connsiteY12" fmla="*/ 19787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34" name="Freihandform: Form 633">
              <a:extLst>
                <a:ext uri="{FF2B5EF4-FFF2-40B4-BE49-F238E27FC236}">
                  <a16:creationId xmlns:a16="http://schemas.microsoft.com/office/drawing/2014/main" id="{8591971E-DF81-6C7E-A685-8921075346AB}"/>
                </a:ext>
              </a:extLst>
            </p:cNvPr>
            <p:cNvSpPr/>
            <p:nvPr/>
          </p:nvSpPr>
          <p:spPr>
            <a:xfrm>
              <a:off x="7724522" y="2668693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35" name="Freihandform: Form 634">
              <a:extLst>
                <a:ext uri="{FF2B5EF4-FFF2-40B4-BE49-F238E27FC236}">
                  <a16:creationId xmlns:a16="http://schemas.microsoft.com/office/drawing/2014/main" id="{EAE9C34B-C42B-582F-D51E-432495FBF3EB}"/>
                </a:ext>
              </a:extLst>
            </p:cNvPr>
            <p:cNvSpPr/>
            <p:nvPr/>
          </p:nvSpPr>
          <p:spPr>
            <a:xfrm>
              <a:off x="7746211" y="2683280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36" name="Freihandform: Form 635">
              <a:extLst>
                <a:ext uri="{FF2B5EF4-FFF2-40B4-BE49-F238E27FC236}">
                  <a16:creationId xmlns:a16="http://schemas.microsoft.com/office/drawing/2014/main" id="{4A954C03-C729-8EDE-2EA6-960F95E18193}"/>
                </a:ext>
              </a:extLst>
            </p:cNvPr>
            <p:cNvSpPr/>
            <p:nvPr/>
          </p:nvSpPr>
          <p:spPr>
            <a:xfrm>
              <a:off x="7746211" y="2683280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37" name="Freihandform: Form 636">
              <a:extLst>
                <a:ext uri="{FF2B5EF4-FFF2-40B4-BE49-F238E27FC236}">
                  <a16:creationId xmlns:a16="http://schemas.microsoft.com/office/drawing/2014/main" id="{A7451D49-16B7-DFBA-AA61-2E2F7781AEB7}"/>
                </a:ext>
              </a:extLst>
            </p:cNvPr>
            <p:cNvSpPr/>
            <p:nvPr/>
          </p:nvSpPr>
          <p:spPr>
            <a:xfrm>
              <a:off x="7751792" y="2686958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7 h 29426"/>
                <a:gd name="connsiteX2" fmla="*/ 13698 w 41095"/>
                <a:gd name="connsiteY2" fmla="*/ 9767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7 h 29426"/>
                <a:gd name="connsiteX6" fmla="*/ 41095 w 41095"/>
                <a:gd name="connsiteY6" fmla="*/ 9767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38" name="Freihandform: Form 637">
              <a:extLst>
                <a:ext uri="{FF2B5EF4-FFF2-40B4-BE49-F238E27FC236}">
                  <a16:creationId xmlns:a16="http://schemas.microsoft.com/office/drawing/2014/main" id="{58FF2DF6-A28D-467F-58AC-8A870814C737}"/>
                </a:ext>
              </a:extLst>
            </p:cNvPr>
            <p:cNvSpPr/>
            <p:nvPr/>
          </p:nvSpPr>
          <p:spPr>
            <a:xfrm>
              <a:off x="7759910" y="2694314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7 h 29426"/>
                <a:gd name="connsiteX2" fmla="*/ 13698 w 41095"/>
                <a:gd name="connsiteY2" fmla="*/ 9767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7 h 29426"/>
                <a:gd name="connsiteX6" fmla="*/ 41095 w 41095"/>
                <a:gd name="connsiteY6" fmla="*/ 9767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39" name="Freihandform: Form 638">
              <a:extLst>
                <a:ext uri="{FF2B5EF4-FFF2-40B4-BE49-F238E27FC236}">
                  <a16:creationId xmlns:a16="http://schemas.microsoft.com/office/drawing/2014/main" id="{0E35B3AA-1FFA-2F75-D50D-40BC482B6919}"/>
                </a:ext>
              </a:extLst>
            </p:cNvPr>
            <p:cNvSpPr/>
            <p:nvPr/>
          </p:nvSpPr>
          <p:spPr>
            <a:xfrm>
              <a:off x="7759910" y="2694314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7 h 29426"/>
                <a:gd name="connsiteX2" fmla="*/ 13698 w 41095"/>
                <a:gd name="connsiteY2" fmla="*/ 9767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7 h 29426"/>
                <a:gd name="connsiteX6" fmla="*/ 41095 w 41095"/>
                <a:gd name="connsiteY6" fmla="*/ 9767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0" name="Freihandform: Form 639">
              <a:extLst>
                <a:ext uri="{FF2B5EF4-FFF2-40B4-BE49-F238E27FC236}">
                  <a16:creationId xmlns:a16="http://schemas.microsoft.com/office/drawing/2014/main" id="{D87B52E6-9267-CE57-44B2-CD445E2E8CEB}"/>
                </a:ext>
              </a:extLst>
            </p:cNvPr>
            <p:cNvSpPr/>
            <p:nvPr/>
          </p:nvSpPr>
          <p:spPr>
            <a:xfrm>
              <a:off x="7777540" y="2705349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1" name="Freihandform: Form 640">
              <a:extLst>
                <a:ext uri="{FF2B5EF4-FFF2-40B4-BE49-F238E27FC236}">
                  <a16:creationId xmlns:a16="http://schemas.microsoft.com/office/drawing/2014/main" id="{683D84B1-CD71-DAAE-B383-8E5313EDB3EF}"/>
                </a:ext>
              </a:extLst>
            </p:cNvPr>
            <p:cNvSpPr/>
            <p:nvPr/>
          </p:nvSpPr>
          <p:spPr>
            <a:xfrm>
              <a:off x="7788448" y="2720189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7 h 29553"/>
                <a:gd name="connsiteX2" fmla="*/ 13698 w 41095"/>
                <a:gd name="connsiteY2" fmla="*/ 9767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7 h 29553"/>
                <a:gd name="connsiteX6" fmla="*/ 41095 w 41095"/>
                <a:gd name="connsiteY6" fmla="*/ 9767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2" name="Freihandform: Form 641">
              <a:extLst>
                <a:ext uri="{FF2B5EF4-FFF2-40B4-BE49-F238E27FC236}">
                  <a16:creationId xmlns:a16="http://schemas.microsoft.com/office/drawing/2014/main" id="{38AA8B7A-F385-4DBE-F363-F34BA0BDD440}"/>
                </a:ext>
              </a:extLst>
            </p:cNvPr>
            <p:cNvSpPr/>
            <p:nvPr/>
          </p:nvSpPr>
          <p:spPr>
            <a:xfrm>
              <a:off x="7799356" y="2723867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3" name="Freihandform: Form 642">
              <a:extLst>
                <a:ext uri="{FF2B5EF4-FFF2-40B4-BE49-F238E27FC236}">
                  <a16:creationId xmlns:a16="http://schemas.microsoft.com/office/drawing/2014/main" id="{AAF7905F-04C3-12FF-CA7A-F7BCB450F0AD}"/>
                </a:ext>
              </a:extLst>
            </p:cNvPr>
            <p:cNvSpPr/>
            <p:nvPr/>
          </p:nvSpPr>
          <p:spPr>
            <a:xfrm>
              <a:off x="7800624" y="2723867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4" name="Freihandform: Form 643">
              <a:extLst>
                <a:ext uri="{FF2B5EF4-FFF2-40B4-BE49-F238E27FC236}">
                  <a16:creationId xmlns:a16="http://schemas.microsoft.com/office/drawing/2014/main" id="{7D2D9419-E4D7-4E86-9E53-3D5C5EED3E35}"/>
                </a:ext>
              </a:extLst>
            </p:cNvPr>
            <p:cNvSpPr/>
            <p:nvPr/>
          </p:nvSpPr>
          <p:spPr>
            <a:xfrm>
              <a:off x="7802020" y="2727673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766 h 29552"/>
                <a:gd name="connsiteX2" fmla="*/ 13698 w 41095"/>
                <a:gd name="connsiteY2" fmla="*/ 9766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766 h 29552"/>
                <a:gd name="connsiteX6" fmla="*/ 41095 w 41095"/>
                <a:gd name="connsiteY6" fmla="*/ 9766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5" name="Freihandform: Form 644">
              <a:extLst>
                <a:ext uri="{FF2B5EF4-FFF2-40B4-BE49-F238E27FC236}">
                  <a16:creationId xmlns:a16="http://schemas.microsoft.com/office/drawing/2014/main" id="{6EFBE814-F8D3-B438-E197-7B46CAAAA181}"/>
                </a:ext>
              </a:extLst>
            </p:cNvPr>
            <p:cNvSpPr/>
            <p:nvPr/>
          </p:nvSpPr>
          <p:spPr>
            <a:xfrm>
              <a:off x="7808869" y="2731351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6" name="Freihandform: Form 645">
              <a:extLst>
                <a:ext uri="{FF2B5EF4-FFF2-40B4-BE49-F238E27FC236}">
                  <a16:creationId xmlns:a16="http://schemas.microsoft.com/office/drawing/2014/main" id="{04D555C1-7F1B-8C05-229D-59A5FCB118C6}"/>
                </a:ext>
              </a:extLst>
            </p:cNvPr>
            <p:cNvSpPr/>
            <p:nvPr/>
          </p:nvSpPr>
          <p:spPr>
            <a:xfrm>
              <a:off x="7814323" y="2738961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766 h 29552"/>
                <a:gd name="connsiteX2" fmla="*/ 13698 w 41095"/>
                <a:gd name="connsiteY2" fmla="*/ 9766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766 h 29552"/>
                <a:gd name="connsiteX6" fmla="*/ 41095 w 41095"/>
                <a:gd name="connsiteY6" fmla="*/ 9766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7" name="Freihandform: Form 646">
              <a:extLst>
                <a:ext uri="{FF2B5EF4-FFF2-40B4-BE49-F238E27FC236}">
                  <a16:creationId xmlns:a16="http://schemas.microsoft.com/office/drawing/2014/main" id="{E4727404-6B3B-6C1A-C719-9C7A91200C7E}"/>
                </a:ext>
              </a:extLst>
            </p:cNvPr>
            <p:cNvSpPr/>
            <p:nvPr/>
          </p:nvSpPr>
          <p:spPr>
            <a:xfrm>
              <a:off x="7829163" y="2761665"/>
              <a:ext cx="41095" cy="29552"/>
            </a:xfrm>
            <a:custGeom>
              <a:avLst/>
              <a:gdLst>
                <a:gd name="connsiteX0" fmla="*/ 0 w 41095"/>
                <a:gd name="connsiteY0" fmla="*/ 19787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787 h 29552"/>
                <a:gd name="connsiteX8" fmla="*/ 27397 w 41095"/>
                <a:gd name="connsiteY8" fmla="*/ 19787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787 h 29552"/>
                <a:gd name="connsiteX12" fmla="*/ 0 w 41095"/>
                <a:gd name="connsiteY12" fmla="*/ 19787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8" name="Freihandform: Form 647">
              <a:extLst>
                <a:ext uri="{FF2B5EF4-FFF2-40B4-BE49-F238E27FC236}">
                  <a16:creationId xmlns:a16="http://schemas.microsoft.com/office/drawing/2014/main" id="{4BF39B35-215E-F5B6-13D9-2D4009D1D724}"/>
                </a:ext>
              </a:extLst>
            </p:cNvPr>
            <p:cNvSpPr/>
            <p:nvPr/>
          </p:nvSpPr>
          <p:spPr>
            <a:xfrm>
              <a:off x="7838676" y="2769275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766 h 29552"/>
                <a:gd name="connsiteX2" fmla="*/ 13698 w 41095"/>
                <a:gd name="connsiteY2" fmla="*/ 9766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766 h 29552"/>
                <a:gd name="connsiteX6" fmla="*/ 41095 w 41095"/>
                <a:gd name="connsiteY6" fmla="*/ 9766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9" name="Freihandform: Form 648">
              <a:extLst>
                <a:ext uri="{FF2B5EF4-FFF2-40B4-BE49-F238E27FC236}">
                  <a16:creationId xmlns:a16="http://schemas.microsoft.com/office/drawing/2014/main" id="{162708DA-2D31-E83D-1DB0-B870F5FEAB8B}"/>
                </a:ext>
              </a:extLst>
            </p:cNvPr>
            <p:cNvSpPr/>
            <p:nvPr/>
          </p:nvSpPr>
          <p:spPr>
            <a:xfrm>
              <a:off x="7842734" y="2769275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766 h 29552"/>
                <a:gd name="connsiteX2" fmla="*/ 13698 w 41095"/>
                <a:gd name="connsiteY2" fmla="*/ 9766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766 h 29552"/>
                <a:gd name="connsiteX6" fmla="*/ 41095 w 41095"/>
                <a:gd name="connsiteY6" fmla="*/ 9766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50" name="Freihandform: Form 649">
              <a:extLst>
                <a:ext uri="{FF2B5EF4-FFF2-40B4-BE49-F238E27FC236}">
                  <a16:creationId xmlns:a16="http://schemas.microsoft.com/office/drawing/2014/main" id="{268D7E43-A4E0-3916-2468-909419085AA0}"/>
                </a:ext>
              </a:extLst>
            </p:cNvPr>
            <p:cNvSpPr/>
            <p:nvPr/>
          </p:nvSpPr>
          <p:spPr>
            <a:xfrm>
              <a:off x="7844130" y="2769275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766 h 29552"/>
                <a:gd name="connsiteX2" fmla="*/ 13698 w 41095"/>
                <a:gd name="connsiteY2" fmla="*/ 9766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766 h 29552"/>
                <a:gd name="connsiteX6" fmla="*/ 41095 w 41095"/>
                <a:gd name="connsiteY6" fmla="*/ 9766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51" name="Freihandform: Form 650">
              <a:extLst>
                <a:ext uri="{FF2B5EF4-FFF2-40B4-BE49-F238E27FC236}">
                  <a16:creationId xmlns:a16="http://schemas.microsoft.com/office/drawing/2014/main" id="{12AAAEEC-15DF-BC83-A7FD-B525E91BA826}"/>
                </a:ext>
              </a:extLst>
            </p:cNvPr>
            <p:cNvSpPr/>
            <p:nvPr/>
          </p:nvSpPr>
          <p:spPr>
            <a:xfrm>
              <a:off x="7846920" y="2769275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766 h 29552"/>
                <a:gd name="connsiteX2" fmla="*/ 13698 w 41095"/>
                <a:gd name="connsiteY2" fmla="*/ 9766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766 h 29552"/>
                <a:gd name="connsiteX6" fmla="*/ 41095 w 41095"/>
                <a:gd name="connsiteY6" fmla="*/ 9766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52" name="Freihandform: Form 651">
              <a:extLst>
                <a:ext uri="{FF2B5EF4-FFF2-40B4-BE49-F238E27FC236}">
                  <a16:creationId xmlns:a16="http://schemas.microsoft.com/office/drawing/2014/main" id="{9B8E7053-65E9-74CA-FF4C-87B290EF2BD5}"/>
                </a:ext>
              </a:extLst>
            </p:cNvPr>
            <p:cNvSpPr/>
            <p:nvPr/>
          </p:nvSpPr>
          <p:spPr>
            <a:xfrm>
              <a:off x="7871400" y="2784749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53" name="Freihandform: Form 652">
              <a:extLst>
                <a:ext uri="{FF2B5EF4-FFF2-40B4-BE49-F238E27FC236}">
                  <a16:creationId xmlns:a16="http://schemas.microsoft.com/office/drawing/2014/main" id="{333D14C6-94C6-2CA2-C885-0FD969FDC0A0}"/>
                </a:ext>
              </a:extLst>
            </p:cNvPr>
            <p:cNvSpPr/>
            <p:nvPr/>
          </p:nvSpPr>
          <p:spPr>
            <a:xfrm>
              <a:off x="7872795" y="2784749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54" name="Freihandform: Form 653">
              <a:extLst>
                <a:ext uri="{FF2B5EF4-FFF2-40B4-BE49-F238E27FC236}">
                  <a16:creationId xmlns:a16="http://schemas.microsoft.com/office/drawing/2014/main" id="{E972565A-D2F1-1AE8-715C-6E5369AB1AF5}"/>
                </a:ext>
              </a:extLst>
            </p:cNvPr>
            <p:cNvSpPr/>
            <p:nvPr/>
          </p:nvSpPr>
          <p:spPr>
            <a:xfrm>
              <a:off x="7874063" y="2784749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55" name="Freihandform: Form 654">
              <a:extLst>
                <a:ext uri="{FF2B5EF4-FFF2-40B4-BE49-F238E27FC236}">
                  <a16:creationId xmlns:a16="http://schemas.microsoft.com/office/drawing/2014/main" id="{3519EBF8-28F6-65F6-2E40-0BBA97B6B18B}"/>
                </a:ext>
              </a:extLst>
            </p:cNvPr>
            <p:cNvSpPr/>
            <p:nvPr/>
          </p:nvSpPr>
          <p:spPr>
            <a:xfrm>
              <a:off x="7878122" y="2788681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56" name="Freihandform: Form 655">
              <a:extLst>
                <a:ext uri="{FF2B5EF4-FFF2-40B4-BE49-F238E27FC236}">
                  <a16:creationId xmlns:a16="http://schemas.microsoft.com/office/drawing/2014/main" id="{65D18E47-ECF0-D7C1-C6DE-93D8DDA5AEC9}"/>
                </a:ext>
              </a:extLst>
            </p:cNvPr>
            <p:cNvSpPr/>
            <p:nvPr/>
          </p:nvSpPr>
          <p:spPr>
            <a:xfrm>
              <a:off x="7883576" y="2788681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57" name="Freihandform: Form 656">
              <a:extLst>
                <a:ext uri="{FF2B5EF4-FFF2-40B4-BE49-F238E27FC236}">
                  <a16:creationId xmlns:a16="http://schemas.microsoft.com/office/drawing/2014/main" id="{A19C165C-6487-B85D-39A6-460B2DA427FD}"/>
                </a:ext>
              </a:extLst>
            </p:cNvPr>
            <p:cNvSpPr/>
            <p:nvPr/>
          </p:nvSpPr>
          <p:spPr>
            <a:xfrm>
              <a:off x="7902602" y="2812273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58" name="Freihandform: Form 657">
              <a:extLst>
                <a:ext uri="{FF2B5EF4-FFF2-40B4-BE49-F238E27FC236}">
                  <a16:creationId xmlns:a16="http://schemas.microsoft.com/office/drawing/2014/main" id="{A5A9E8A0-6184-E829-EB76-75278EBBFD28}"/>
                </a:ext>
              </a:extLst>
            </p:cNvPr>
            <p:cNvSpPr/>
            <p:nvPr/>
          </p:nvSpPr>
          <p:spPr>
            <a:xfrm>
              <a:off x="7908056" y="2816205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59" name="Freihandform: Form 658">
              <a:extLst>
                <a:ext uri="{FF2B5EF4-FFF2-40B4-BE49-F238E27FC236}">
                  <a16:creationId xmlns:a16="http://schemas.microsoft.com/office/drawing/2014/main" id="{DA5BC6F7-AABC-01F9-13F9-D7A2CFDF3611}"/>
                </a:ext>
              </a:extLst>
            </p:cNvPr>
            <p:cNvSpPr/>
            <p:nvPr/>
          </p:nvSpPr>
          <p:spPr>
            <a:xfrm>
              <a:off x="7910719" y="2816205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60" name="Freihandform: Form 659">
              <a:extLst>
                <a:ext uri="{FF2B5EF4-FFF2-40B4-BE49-F238E27FC236}">
                  <a16:creationId xmlns:a16="http://schemas.microsoft.com/office/drawing/2014/main" id="{0C28BED4-FE5E-0821-92AC-6AD79FFA0A40}"/>
                </a:ext>
              </a:extLst>
            </p:cNvPr>
            <p:cNvSpPr/>
            <p:nvPr/>
          </p:nvSpPr>
          <p:spPr>
            <a:xfrm>
              <a:off x="7910719" y="2816205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61" name="Freihandform: Form 660">
              <a:extLst>
                <a:ext uri="{FF2B5EF4-FFF2-40B4-BE49-F238E27FC236}">
                  <a16:creationId xmlns:a16="http://schemas.microsoft.com/office/drawing/2014/main" id="{9407E7E4-A80D-77FC-E4B2-7E20F037E692}"/>
                </a:ext>
              </a:extLst>
            </p:cNvPr>
            <p:cNvSpPr/>
            <p:nvPr/>
          </p:nvSpPr>
          <p:spPr>
            <a:xfrm>
              <a:off x="7914778" y="2816205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62" name="Freihandform: Form 661">
              <a:extLst>
                <a:ext uri="{FF2B5EF4-FFF2-40B4-BE49-F238E27FC236}">
                  <a16:creationId xmlns:a16="http://schemas.microsoft.com/office/drawing/2014/main" id="{DF306297-173A-5963-5554-4A294482BA6C}"/>
                </a:ext>
              </a:extLst>
            </p:cNvPr>
            <p:cNvSpPr/>
            <p:nvPr/>
          </p:nvSpPr>
          <p:spPr>
            <a:xfrm>
              <a:off x="7920232" y="2828381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7 h 29426"/>
                <a:gd name="connsiteX2" fmla="*/ 13698 w 41095"/>
                <a:gd name="connsiteY2" fmla="*/ 9767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7 h 29426"/>
                <a:gd name="connsiteX6" fmla="*/ 41095 w 41095"/>
                <a:gd name="connsiteY6" fmla="*/ 9767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63" name="Freihandform: Form 662">
              <a:extLst>
                <a:ext uri="{FF2B5EF4-FFF2-40B4-BE49-F238E27FC236}">
                  <a16:creationId xmlns:a16="http://schemas.microsoft.com/office/drawing/2014/main" id="{36756014-92B6-7688-FF91-5A502C933983}"/>
                </a:ext>
              </a:extLst>
            </p:cNvPr>
            <p:cNvSpPr/>
            <p:nvPr/>
          </p:nvSpPr>
          <p:spPr>
            <a:xfrm>
              <a:off x="7921627" y="2828381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7 h 29426"/>
                <a:gd name="connsiteX2" fmla="*/ 13698 w 41095"/>
                <a:gd name="connsiteY2" fmla="*/ 9767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7 h 29426"/>
                <a:gd name="connsiteX6" fmla="*/ 41095 w 41095"/>
                <a:gd name="connsiteY6" fmla="*/ 9767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64" name="Freihandform: Form 663">
              <a:extLst>
                <a:ext uri="{FF2B5EF4-FFF2-40B4-BE49-F238E27FC236}">
                  <a16:creationId xmlns:a16="http://schemas.microsoft.com/office/drawing/2014/main" id="{2D9F99B1-17B0-805B-D713-0FFF9FC7DB0E}"/>
                </a:ext>
              </a:extLst>
            </p:cNvPr>
            <p:cNvSpPr/>
            <p:nvPr/>
          </p:nvSpPr>
          <p:spPr>
            <a:xfrm>
              <a:off x="7931140" y="2828381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7 h 29426"/>
                <a:gd name="connsiteX2" fmla="*/ 13698 w 41095"/>
                <a:gd name="connsiteY2" fmla="*/ 9767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7 h 29426"/>
                <a:gd name="connsiteX6" fmla="*/ 41095 w 41095"/>
                <a:gd name="connsiteY6" fmla="*/ 9767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65" name="Freihandform: Form 664">
              <a:extLst>
                <a:ext uri="{FF2B5EF4-FFF2-40B4-BE49-F238E27FC236}">
                  <a16:creationId xmlns:a16="http://schemas.microsoft.com/office/drawing/2014/main" id="{8461AAD0-5A8D-F51A-E4D3-2A703CD59DEA}"/>
                </a:ext>
              </a:extLst>
            </p:cNvPr>
            <p:cNvSpPr/>
            <p:nvPr/>
          </p:nvSpPr>
          <p:spPr>
            <a:xfrm>
              <a:off x="7931140" y="2828381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7 h 29426"/>
                <a:gd name="connsiteX2" fmla="*/ 13698 w 41095"/>
                <a:gd name="connsiteY2" fmla="*/ 9767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7 h 29426"/>
                <a:gd name="connsiteX6" fmla="*/ 41095 w 41095"/>
                <a:gd name="connsiteY6" fmla="*/ 9767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66" name="Freihandform: Form 665">
              <a:extLst>
                <a:ext uri="{FF2B5EF4-FFF2-40B4-BE49-F238E27FC236}">
                  <a16:creationId xmlns:a16="http://schemas.microsoft.com/office/drawing/2014/main" id="{698B50CC-3D25-7D10-E650-DB0BB6C1C3CE}"/>
                </a:ext>
              </a:extLst>
            </p:cNvPr>
            <p:cNvSpPr/>
            <p:nvPr/>
          </p:nvSpPr>
          <p:spPr>
            <a:xfrm>
              <a:off x="7961074" y="2848675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67" name="Freihandform: Form 666">
              <a:extLst>
                <a:ext uri="{FF2B5EF4-FFF2-40B4-BE49-F238E27FC236}">
                  <a16:creationId xmlns:a16="http://schemas.microsoft.com/office/drawing/2014/main" id="{77725984-DF4B-DF3E-77E2-5282C1BBD434}"/>
                </a:ext>
              </a:extLst>
            </p:cNvPr>
            <p:cNvSpPr/>
            <p:nvPr/>
          </p:nvSpPr>
          <p:spPr>
            <a:xfrm>
              <a:off x="7965132" y="2848675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68" name="Freihandform: Form 667">
              <a:extLst>
                <a:ext uri="{FF2B5EF4-FFF2-40B4-BE49-F238E27FC236}">
                  <a16:creationId xmlns:a16="http://schemas.microsoft.com/office/drawing/2014/main" id="{029A0DA7-C245-2067-8CE6-93FA7F593CE5}"/>
                </a:ext>
              </a:extLst>
            </p:cNvPr>
            <p:cNvSpPr/>
            <p:nvPr/>
          </p:nvSpPr>
          <p:spPr>
            <a:xfrm>
              <a:off x="7977436" y="2865291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6 h 29553"/>
                <a:gd name="connsiteX2" fmla="*/ 13698 w 41095"/>
                <a:gd name="connsiteY2" fmla="*/ 9766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6 h 29553"/>
                <a:gd name="connsiteX6" fmla="*/ 41095 w 41095"/>
                <a:gd name="connsiteY6" fmla="*/ 9766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69" name="Freihandform: Form 668">
              <a:extLst>
                <a:ext uri="{FF2B5EF4-FFF2-40B4-BE49-F238E27FC236}">
                  <a16:creationId xmlns:a16="http://schemas.microsoft.com/office/drawing/2014/main" id="{F437A9D6-4E7F-1539-BBBE-68F8FC164BC1}"/>
                </a:ext>
              </a:extLst>
            </p:cNvPr>
            <p:cNvSpPr/>
            <p:nvPr/>
          </p:nvSpPr>
          <p:spPr>
            <a:xfrm>
              <a:off x="7995066" y="2877721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70" name="Freihandform: Form 669">
              <a:extLst>
                <a:ext uri="{FF2B5EF4-FFF2-40B4-BE49-F238E27FC236}">
                  <a16:creationId xmlns:a16="http://schemas.microsoft.com/office/drawing/2014/main" id="{8DCD2EA8-B647-39D2-608C-3DE4F1987ACE}"/>
                </a:ext>
              </a:extLst>
            </p:cNvPr>
            <p:cNvSpPr/>
            <p:nvPr/>
          </p:nvSpPr>
          <p:spPr>
            <a:xfrm>
              <a:off x="8026268" y="2886092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6 h 29553"/>
                <a:gd name="connsiteX2" fmla="*/ 13698 w 41095"/>
                <a:gd name="connsiteY2" fmla="*/ 9766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6 h 29553"/>
                <a:gd name="connsiteX6" fmla="*/ 41095 w 41095"/>
                <a:gd name="connsiteY6" fmla="*/ 9766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71" name="Freihandform: Form 670">
              <a:extLst>
                <a:ext uri="{FF2B5EF4-FFF2-40B4-BE49-F238E27FC236}">
                  <a16:creationId xmlns:a16="http://schemas.microsoft.com/office/drawing/2014/main" id="{6660F61C-C4BA-1753-8064-754D8F034251}"/>
                </a:ext>
              </a:extLst>
            </p:cNvPr>
            <p:cNvSpPr/>
            <p:nvPr/>
          </p:nvSpPr>
          <p:spPr>
            <a:xfrm>
              <a:off x="8026268" y="2886092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6 h 29553"/>
                <a:gd name="connsiteX2" fmla="*/ 13698 w 41095"/>
                <a:gd name="connsiteY2" fmla="*/ 9766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6 h 29553"/>
                <a:gd name="connsiteX6" fmla="*/ 41095 w 41095"/>
                <a:gd name="connsiteY6" fmla="*/ 9766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72" name="Freihandform: Form 671">
              <a:extLst>
                <a:ext uri="{FF2B5EF4-FFF2-40B4-BE49-F238E27FC236}">
                  <a16:creationId xmlns:a16="http://schemas.microsoft.com/office/drawing/2014/main" id="{7DFF6A83-3C74-2C83-618E-574E34DE4604}"/>
                </a:ext>
              </a:extLst>
            </p:cNvPr>
            <p:cNvSpPr/>
            <p:nvPr/>
          </p:nvSpPr>
          <p:spPr>
            <a:xfrm>
              <a:off x="8042630" y="2890278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73" name="Freihandform: Form 672">
              <a:extLst>
                <a:ext uri="{FF2B5EF4-FFF2-40B4-BE49-F238E27FC236}">
                  <a16:creationId xmlns:a16="http://schemas.microsoft.com/office/drawing/2014/main" id="{5446829B-E701-A718-D85F-37485C476288}"/>
                </a:ext>
              </a:extLst>
            </p:cNvPr>
            <p:cNvSpPr/>
            <p:nvPr/>
          </p:nvSpPr>
          <p:spPr>
            <a:xfrm>
              <a:off x="8048084" y="2890278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74" name="Freihandform: Form 673">
              <a:extLst>
                <a:ext uri="{FF2B5EF4-FFF2-40B4-BE49-F238E27FC236}">
                  <a16:creationId xmlns:a16="http://schemas.microsoft.com/office/drawing/2014/main" id="{79650559-B1FB-D224-3429-1EC4ACA647C9}"/>
                </a:ext>
              </a:extLst>
            </p:cNvPr>
            <p:cNvSpPr/>
            <p:nvPr/>
          </p:nvSpPr>
          <p:spPr>
            <a:xfrm>
              <a:off x="8049352" y="2890278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75" name="Freihandform: Form 674">
              <a:extLst>
                <a:ext uri="{FF2B5EF4-FFF2-40B4-BE49-F238E27FC236}">
                  <a16:creationId xmlns:a16="http://schemas.microsoft.com/office/drawing/2014/main" id="{7514836E-84F0-0A71-B383-37E908F06288}"/>
                </a:ext>
              </a:extLst>
            </p:cNvPr>
            <p:cNvSpPr/>
            <p:nvPr/>
          </p:nvSpPr>
          <p:spPr>
            <a:xfrm>
              <a:off x="8058992" y="2894590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7 h 29426"/>
                <a:gd name="connsiteX2" fmla="*/ 13698 w 41095"/>
                <a:gd name="connsiteY2" fmla="*/ 9767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7 h 29426"/>
                <a:gd name="connsiteX6" fmla="*/ 41095 w 41095"/>
                <a:gd name="connsiteY6" fmla="*/ 9767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76" name="Freihandform: Form 675">
              <a:extLst>
                <a:ext uri="{FF2B5EF4-FFF2-40B4-BE49-F238E27FC236}">
                  <a16:creationId xmlns:a16="http://schemas.microsoft.com/office/drawing/2014/main" id="{4FFC2606-517D-4CF2-9B18-68EBE8FCBA6C}"/>
                </a:ext>
              </a:extLst>
            </p:cNvPr>
            <p:cNvSpPr/>
            <p:nvPr/>
          </p:nvSpPr>
          <p:spPr>
            <a:xfrm>
              <a:off x="8069773" y="2894590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7 h 29426"/>
                <a:gd name="connsiteX2" fmla="*/ 13698 w 41095"/>
                <a:gd name="connsiteY2" fmla="*/ 9767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7 h 29426"/>
                <a:gd name="connsiteX6" fmla="*/ 41095 w 41095"/>
                <a:gd name="connsiteY6" fmla="*/ 9767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77" name="Freihandform: Form 676">
              <a:extLst>
                <a:ext uri="{FF2B5EF4-FFF2-40B4-BE49-F238E27FC236}">
                  <a16:creationId xmlns:a16="http://schemas.microsoft.com/office/drawing/2014/main" id="{465FDBC3-B0EC-23E7-EACA-6AE0923CEF4E}"/>
                </a:ext>
              </a:extLst>
            </p:cNvPr>
            <p:cNvSpPr/>
            <p:nvPr/>
          </p:nvSpPr>
          <p:spPr>
            <a:xfrm>
              <a:off x="8075227" y="2894590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7 h 29426"/>
                <a:gd name="connsiteX2" fmla="*/ 13698 w 41095"/>
                <a:gd name="connsiteY2" fmla="*/ 9767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7 h 29426"/>
                <a:gd name="connsiteX6" fmla="*/ 41095 w 41095"/>
                <a:gd name="connsiteY6" fmla="*/ 9767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78" name="Freihandform: Form 677">
              <a:extLst>
                <a:ext uri="{FF2B5EF4-FFF2-40B4-BE49-F238E27FC236}">
                  <a16:creationId xmlns:a16="http://schemas.microsoft.com/office/drawing/2014/main" id="{62BB0284-AD7F-7F03-FD7B-FDFD9F7805A5}"/>
                </a:ext>
              </a:extLst>
            </p:cNvPr>
            <p:cNvSpPr/>
            <p:nvPr/>
          </p:nvSpPr>
          <p:spPr>
            <a:xfrm>
              <a:off x="8099707" y="2903215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79" name="Freihandform: Form 678">
              <a:extLst>
                <a:ext uri="{FF2B5EF4-FFF2-40B4-BE49-F238E27FC236}">
                  <a16:creationId xmlns:a16="http://schemas.microsoft.com/office/drawing/2014/main" id="{94E96302-353B-6969-FAB6-3E966CE11438}"/>
                </a:ext>
              </a:extLst>
            </p:cNvPr>
            <p:cNvSpPr/>
            <p:nvPr/>
          </p:nvSpPr>
          <p:spPr>
            <a:xfrm>
              <a:off x="8101102" y="2907528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80" name="Freihandform: Form 679">
              <a:extLst>
                <a:ext uri="{FF2B5EF4-FFF2-40B4-BE49-F238E27FC236}">
                  <a16:creationId xmlns:a16="http://schemas.microsoft.com/office/drawing/2014/main" id="{7F0B84E2-D5D2-1CB4-3528-34AEB56D00DB}"/>
                </a:ext>
              </a:extLst>
            </p:cNvPr>
            <p:cNvSpPr/>
            <p:nvPr/>
          </p:nvSpPr>
          <p:spPr>
            <a:xfrm>
              <a:off x="8103765" y="2907528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81" name="Freihandform: Form 680">
              <a:extLst>
                <a:ext uri="{FF2B5EF4-FFF2-40B4-BE49-F238E27FC236}">
                  <a16:creationId xmlns:a16="http://schemas.microsoft.com/office/drawing/2014/main" id="{DBACE226-0659-6E26-AC88-A91F051F4611}"/>
                </a:ext>
              </a:extLst>
            </p:cNvPr>
            <p:cNvSpPr/>
            <p:nvPr/>
          </p:nvSpPr>
          <p:spPr>
            <a:xfrm>
              <a:off x="8106556" y="2907528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82" name="Freihandform: Form 681">
              <a:extLst>
                <a:ext uri="{FF2B5EF4-FFF2-40B4-BE49-F238E27FC236}">
                  <a16:creationId xmlns:a16="http://schemas.microsoft.com/office/drawing/2014/main" id="{2E56CE9C-5E8F-E9D1-EAC2-1A992C3802BC}"/>
                </a:ext>
              </a:extLst>
            </p:cNvPr>
            <p:cNvSpPr/>
            <p:nvPr/>
          </p:nvSpPr>
          <p:spPr>
            <a:xfrm>
              <a:off x="8111883" y="2907528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83" name="Freihandform: Form 682">
              <a:extLst>
                <a:ext uri="{FF2B5EF4-FFF2-40B4-BE49-F238E27FC236}">
                  <a16:creationId xmlns:a16="http://schemas.microsoft.com/office/drawing/2014/main" id="{EE326D87-9159-B934-4978-783DAAA587A7}"/>
                </a:ext>
              </a:extLst>
            </p:cNvPr>
            <p:cNvSpPr/>
            <p:nvPr/>
          </p:nvSpPr>
          <p:spPr>
            <a:xfrm>
              <a:off x="8116069" y="2920846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84" name="Freihandform: Form 683">
              <a:extLst>
                <a:ext uri="{FF2B5EF4-FFF2-40B4-BE49-F238E27FC236}">
                  <a16:creationId xmlns:a16="http://schemas.microsoft.com/office/drawing/2014/main" id="{661760CD-A4E6-5A47-D5EF-4D140AAC717C}"/>
                </a:ext>
              </a:extLst>
            </p:cNvPr>
            <p:cNvSpPr/>
            <p:nvPr/>
          </p:nvSpPr>
          <p:spPr>
            <a:xfrm>
              <a:off x="8116069" y="2920846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85" name="Freihandform: Form 684">
              <a:extLst>
                <a:ext uri="{FF2B5EF4-FFF2-40B4-BE49-F238E27FC236}">
                  <a16:creationId xmlns:a16="http://schemas.microsoft.com/office/drawing/2014/main" id="{D63530F4-B955-FFDA-F3D8-91221C66601A}"/>
                </a:ext>
              </a:extLst>
            </p:cNvPr>
            <p:cNvSpPr/>
            <p:nvPr/>
          </p:nvSpPr>
          <p:spPr>
            <a:xfrm>
              <a:off x="8137758" y="2925412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6 h 29553"/>
                <a:gd name="connsiteX2" fmla="*/ 13698 w 41095"/>
                <a:gd name="connsiteY2" fmla="*/ 9766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6 h 29553"/>
                <a:gd name="connsiteX6" fmla="*/ 41095 w 41095"/>
                <a:gd name="connsiteY6" fmla="*/ 9766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86" name="Freihandform: Form 685">
              <a:extLst>
                <a:ext uri="{FF2B5EF4-FFF2-40B4-BE49-F238E27FC236}">
                  <a16:creationId xmlns:a16="http://schemas.microsoft.com/office/drawing/2014/main" id="{CB433CBA-BEEB-B140-CD65-AE6D4678B054}"/>
                </a:ext>
              </a:extLst>
            </p:cNvPr>
            <p:cNvSpPr/>
            <p:nvPr/>
          </p:nvSpPr>
          <p:spPr>
            <a:xfrm>
              <a:off x="8165028" y="2938857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87" name="Freihandform: Form 686">
              <a:extLst>
                <a:ext uri="{FF2B5EF4-FFF2-40B4-BE49-F238E27FC236}">
                  <a16:creationId xmlns:a16="http://schemas.microsoft.com/office/drawing/2014/main" id="{F6CDEF9B-3B3F-8359-B2CA-FFBA49D87EFD}"/>
                </a:ext>
              </a:extLst>
            </p:cNvPr>
            <p:cNvSpPr/>
            <p:nvPr/>
          </p:nvSpPr>
          <p:spPr>
            <a:xfrm>
              <a:off x="8183927" y="2952555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88" name="Freihandform: Form 687">
              <a:extLst>
                <a:ext uri="{FF2B5EF4-FFF2-40B4-BE49-F238E27FC236}">
                  <a16:creationId xmlns:a16="http://schemas.microsoft.com/office/drawing/2014/main" id="{2E4D6CD9-4F7C-29BE-09E6-14E06B2CAF66}"/>
                </a:ext>
              </a:extLst>
            </p:cNvPr>
            <p:cNvSpPr/>
            <p:nvPr/>
          </p:nvSpPr>
          <p:spPr>
            <a:xfrm>
              <a:off x="8200289" y="2957121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6 h 29553"/>
                <a:gd name="connsiteX2" fmla="*/ 13698 w 41095"/>
                <a:gd name="connsiteY2" fmla="*/ 9766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6 h 29553"/>
                <a:gd name="connsiteX6" fmla="*/ 41095 w 41095"/>
                <a:gd name="connsiteY6" fmla="*/ 9766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89" name="Freihandform: Form 688">
              <a:extLst>
                <a:ext uri="{FF2B5EF4-FFF2-40B4-BE49-F238E27FC236}">
                  <a16:creationId xmlns:a16="http://schemas.microsoft.com/office/drawing/2014/main" id="{61BDC36F-2DE4-CF9F-D3EC-B6B487D383C3}"/>
                </a:ext>
              </a:extLst>
            </p:cNvPr>
            <p:cNvSpPr/>
            <p:nvPr/>
          </p:nvSpPr>
          <p:spPr>
            <a:xfrm>
              <a:off x="8207011" y="2961687"/>
              <a:ext cx="41222" cy="29553"/>
            </a:xfrm>
            <a:custGeom>
              <a:avLst/>
              <a:gdLst>
                <a:gd name="connsiteX0" fmla="*/ 0 w 41222"/>
                <a:gd name="connsiteY0" fmla="*/ 19660 h 29553"/>
                <a:gd name="connsiteX1" fmla="*/ 0 w 41222"/>
                <a:gd name="connsiteY1" fmla="*/ 9893 h 29553"/>
                <a:gd name="connsiteX2" fmla="*/ 13825 w 41222"/>
                <a:gd name="connsiteY2" fmla="*/ 9893 h 29553"/>
                <a:gd name="connsiteX3" fmla="*/ 13825 w 41222"/>
                <a:gd name="connsiteY3" fmla="*/ 0 h 29553"/>
                <a:gd name="connsiteX4" fmla="*/ 27524 w 41222"/>
                <a:gd name="connsiteY4" fmla="*/ 0 h 29553"/>
                <a:gd name="connsiteX5" fmla="*/ 27524 w 41222"/>
                <a:gd name="connsiteY5" fmla="*/ 9893 h 29553"/>
                <a:gd name="connsiteX6" fmla="*/ 41222 w 41222"/>
                <a:gd name="connsiteY6" fmla="*/ 9893 h 29553"/>
                <a:gd name="connsiteX7" fmla="*/ 41222 w 41222"/>
                <a:gd name="connsiteY7" fmla="*/ 19660 h 29553"/>
                <a:gd name="connsiteX8" fmla="*/ 27524 w 41222"/>
                <a:gd name="connsiteY8" fmla="*/ 19660 h 29553"/>
                <a:gd name="connsiteX9" fmla="*/ 27524 w 41222"/>
                <a:gd name="connsiteY9" fmla="*/ 29553 h 29553"/>
                <a:gd name="connsiteX10" fmla="*/ 13825 w 41222"/>
                <a:gd name="connsiteY10" fmla="*/ 29553 h 29553"/>
                <a:gd name="connsiteX11" fmla="*/ 13825 w 41222"/>
                <a:gd name="connsiteY11" fmla="*/ 19660 h 29553"/>
                <a:gd name="connsiteX12" fmla="*/ 0 w 41222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222" h="29553">
                  <a:moveTo>
                    <a:pt x="0" y="19660"/>
                  </a:moveTo>
                  <a:lnTo>
                    <a:pt x="0" y="9893"/>
                  </a:lnTo>
                  <a:lnTo>
                    <a:pt x="13825" y="9893"/>
                  </a:lnTo>
                  <a:lnTo>
                    <a:pt x="13825" y="0"/>
                  </a:lnTo>
                  <a:lnTo>
                    <a:pt x="27524" y="0"/>
                  </a:lnTo>
                  <a:lnTo>
                    <a:pt x="27524" y="9893"/>
                  </a:lnTo>
                  <a:lnTo>
                    <a:pt x="41222" y="9893"/>
                  </a:lnTo>
                  <a:lnTo>
                    <a:pt x="41222" y="19660"/>
                  </a:lnTo>
                  <a:lnTo>
                    <a:pt x="27524" y="19660"/>
                  </a:lnTo>
                  <a:lnTo>
                    <a:pt x="27524" y="29553"/>
                  </a:lnTo>
                  <a:lnTo>
                    <a:pt x="13825" y="29553"/>
                  </a:lnTo>
                  <a:lnTo>
                    <a:pt x="13825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90" name="Freihandform: Form 689">
              <a:extLst>
                <a:ext uri="{FF2B5EF4-FFF2-40B4-BE49-F238E27FC236}">
                  <a16:creationId xmlns:a16="http://schemas.microsoft.com/office/drawing/2014/main" id="{01EFCBD7-D9EF-0E00-4169-D38D162132A9}"/>
                </a:ext>
              </a:extLst>
            </p:cNvPr>
            <p:cNvSpPr/>
            <p:nvPr/>
          </p:nvSpPr>
          <p:spPr>
            <a:xfrm>
              <a:off x="8216524" y="2975512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91" name="Freihandform: Form 690">
              <a:extLst>
                <a:ext uri="{FF2B5EF4-FFF2-40B4-BE49-F238E27FC236}">
                  <a16:creationId xmlns:a16="http://schemas.microsoft.com/office/drawing/2014/main" id="{4D8EEDA9-F24B-F00E-7549-ACE6D51487D5}"/>
                </a:ext>
              </a:extLst>
            </p:cNvPr>
            <p:cNvSpPr/>
            <p:nvPr/>
          </p:nvSpPr>
          <p:spPr>
            <a:xfrm>
              <a:off x="8220709" y="2975512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92" name="Freihandform: Form 691">
              <a:extLst>
                <a:ext uri="{FF2B5EF4-FFF2-40B4-BE49-F238E27FC236}">
                  <a16:creationId xmlns:a16="http://schemas.microsoft.com/office/drawing/2014/main" id="{F8A0B33E-CB7F-E877-7CB5-5A8C92364D09}"/>
                </a:ext>
              </a:extLst>
            </p:cNvPr>
            <p:cNvSpPr/>
            <p:nvPr/>
          </p:nvSpPr>
          <p:spPr>
            <a:xfrm>
              <a:off x="8246584" y="2994284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93" name="Freihandform: Form 692">
              <a:extLst>
                <a:ext uri="{FF2B5EF4-FFF2-40B4-BE49-F238E27FC236}">
                  <a16:creationId xmlns:a16="http://schemas.microsoft.com/office/drawing/2014/main" id="{8D164049-35D5-E0A9-9F33-7ED010DF8077}"/>
                </a:ext>
              </a:extLst>
            </p:cNvPr>
            <p:cNvSpPr/>
            <p:nvPr/>
          </p:nvSpPr>
          <p:spPr>
            <a:xfrm>
              <a:off x="8257365" y="2994284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94" name="Freihandform: Form 693">
              <a:extLst>
                <a:ext uri="{FF2B5EF4-FFF2-40B4-BE49-F238E27FC236}">
                  <a16:creationId xmlns:a16="http://schemas.microsoft.com/office/drawing/2014/main" id="{5904A66A-EBE6-9715-57E6-1086DA4B8CA6}"/>
                </a:ext>
              </a:extLst>
            </p:cNvPr>
            <p:cNvSpPr/>
            <p:nvPr/>
          </p:nvSpPr>
          <p:spPr>
            <a:xfrm>
              <a:off x="8260029" y="2994284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95" name="Freihandform: Form 694">
              <a:extLst>
                <a:ext uri="{FF2B5EF4-FFF2-40B4-BE49-F238E27FC236}">
                  <a16:creationId xmlns:a16="http://schemas.microsoft.com/office/drawing/2014/main" id="{1BABF3EF-52B5-0274-B201-CFB110A17F39}"/>
                </a:ext>
              </a:extLst>
            </p:cNvPr>
            <p:cNvSpPr/>
            <p:nvPr/>
          </p:nvSpPr>
          <p:spPr>
            <a:xfrm>
              <a:off x="8269669" y="3003797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96" name="Freihandform: Form 695">
              <a:extLst>
                <a:ext uri="{FF2B5EF4-FFF2-40B4-BE49-F238E27FC236}">
                  <a16:creationId xmlns:a16="http://schemas.microsoft.com/office/drawing/2014/main" id="{56314372-A908-DF91-67DD-99AAE7276788}"/>
                </a:ext>
              </a:extLst>
            </p:cNvPr>
            <p:cNvSpPr/>
            <p:nvPr/>
          </p:nvSpPr>
          <p:spPr>
            <a:xfrm>
              <a:off x="8277786" y="3003797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97" name="Freihandform: Form 696">
              <a:extLst>
                <a:ext uri="{FF2B5EF4-FFF2-40B4-BE49-F238E27FC236}">
                  <a16:creationId xmlns:a16="http://schemas.microsoft.com/office/drawing/2014/main" id="{FC27E299-1354-D473-EC4C-BBA254C4ABD9}"/>
                </a:ext>
              </a:extLst>
            </p:cNvPr>
            <p:cNvSpPr/>
            <p:nvPr/>
          </p:nvSpPr>
          <p:spPr>
            <a:xfrm>
              <a:off x="8280450" y="3008490"/>
              <a:ext cx="41095" cy="29552"/>
            </a:xfrm>
            <a:custGeom>
              <a:avLst/>
              <a:gdLst>
                <a:gd name="connsiteX0" fmla="*/ 0 w 41095"/>
                <a:gd name="connsiteY0" fmla="*/ 19787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787 h 29552"/>
                <a:gd name="connsiteX8" fmla="*/ 27397 w 41095"/>
                <a:gd name="connsiteY8" fmla="*/ 19787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787 h 29552"/>
                <a:gd name="connsiteX12" fmla="*/ 0 w 41095"/>
                <a:gd name="connsiteY12" fmla="*/ 19787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98" name="Freihandform: Form 697">
              <a:extLst>
                <a:ext uri="{FF2B5EF4-FFF2-40B4-BE49-F238E27FC236}">
                  <a16:creationId xmlns:a16="http://schemas.microsoft.com/office/drawing/2014/main" id="{02CDDF88-AD79-8D7C-FEC0-8BDE7044E3E8}"/>
                </a:ext>
              </a:extLst>
            </p:cNvPr>
            <p:cNvSpPr/>
            <p:nvPr/>
          </p:nvSpPr>
          <p:spPr>
            <a:xfrm>
              <a:off x="8285904" y="3008490"/>
              <a:ext cx="41095" cy="29552"/>
            </a:xfrm>
            <a:custGeom>
              <a:avLst/>
              <a:gdLst>
                <a:gd name="connsiteX0" fmla="*/ 0 w 41095"/>
                <a:gd name="connsiteY0" fmla="*/ 19787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787 h 29552"/>
                <a:gd name="connsiteX8" fmla="*/ 27397 w 41095"/>
                <a:gd name="connsiteY8" fmla="*/ 19787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787 h 29552"/>
                <a:gd name="connsiteX12" fmla="*/ 0 w 41095"/>
                <a:gd name="connsiteY12" fmla="*/ 19787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99" name="Freihandform: Form 698">
              <a:extLst>
                <a:ext uri="{FF2B5EF4-FFF2-40B4-BE49-F238E27FC236}">
                  <a16:creationId xmlns:a16="http://schemas.microsoft.com/office/drawing/2014/main" id="{A8113FAA-9E05-CC01-8D92-8AF1DB6EA7AC}"/>
                </a:ext>
              </a:extLst>
            </p:cNvPr>
            <p:cNvSpPr/>
            <p:nvPr/>
          </p:nvSpPr>
          <p:spPr>
            <a:xfrm>
              <a:off x="8299475" y="3008490"/>
              <a:ext cx="41095" cy="29552"/>
            </a:xfrm>
            <a:custGeom>
              <a:avLst/>
              <a:gdLst>
                <a:gd name="connsiteX0" fmla="*/ 0 w 41095"/>
                <a:gd name="connsiteY0" fmla="*/ 19787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787 h 29552"/>
                <a:gd name="connsiteX8" fmla="*/ 27397 w 41095"/>
                <a:gd name="connsiteY8" fmla="*/ 19787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787 h 29552"/>
                <a:gd name="connsiteX12" fmla="*/ 0 w 41095"/>
                <a:gd name="connsiteY12" fmla="*/ 19787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00" name="Freihandform: Form 699">
              <a:extLst>
                <a:ext uri="{FF2B5EF4-FFF2-40B4-BE49-F238E27FC236}">
                  <a16:creationId xmlns:a16="http://schemas.microsoft.com/office/drawing/2014/main" id="{CDAF05A1-986A-5D4A-A758-AC304D462B81}"/>
                </a:ext>
              </a:extLst>
            </p:cNvPr>
            <p:cNvSpPr/>
            <p:nvPr/>
          </p:nvSpPr>
          <p:spPr>
            <a:xfrm>
              <a:off x="8318501" y="3013437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01" name="Freihandform: Form 700">
              <a:extLst>
                <a:ext uri="{FF2B5EF4-FFF2-40B4-BE49-F238E27FC236}">
                  <a16:creationId xmlns:a16="http://schemas.microsoft.com/office/drawing/2014/main" id="{3B5CD990-DADD-1901-BBDA-864FA1F7B3F1}"/>
                </a:ext>
              </a:extLst>
            </p:cNvPr>
            <p:cNvSpPr/>
            <p:nvPr/>
          </p:nvSpPr>
          <p:spPr>
            <a:xfrm>
              <a:off x="8326745" y="3013437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02" name="Freihandform: Form 701">
              <a:extLst>
                <a:ext uri="{FF2B5EF4-FFF2-40B4-BE49-F238E27FC236}">
                  <a16:creationId xmlns:a16="http://schemas.microsoft.com/office/drawing/2014/main" id="{DF2404B3-B3D6-59A5-5032-1F3E2E9B7DBF}"/>
                </a:ext>
              </a:extLst>
            </p:cNvPr>
            <p:cNvSpPr/>
            <p:nvPr/>
          </p:nvSpPr>
          <p:spPr>
            <a:xfrm>
              <a:off x="8357947" y="3023457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766 h 29552"/>
                <a:gd name="connsiteX2" fmla="*/ 13698 w 41095"/>
                <a:gd name="connsiteY2" fmla="*/ 9766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766 h 29552"/>
                <a:gd name="connsiteX6" fmla="*/ 41095 w 41095"/>
                <a:gd name="connsiteY6" fmla="*/ 9766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03" name="Freihandform: Form 702">
              <a:extLst>
                <a:ext uri="{FF2B5EF4-FFF2-40B4-BE49-F238E27FC236}">
                  <a16:creationId xmlns:a16="http://schemas.microsoft.com/office/drawing/2014/main" id="{CAC7575D-8DBB-4803-17F7-10C91F963F71}"/>
                </a:ext>
              </a:extLst>
            </p:cNvPr>
            <p:cNvSpPr/>
            <p:nvPr/>
          </p:nvSpPr>
          <p:spPr>
            <a:xfrm>
              <a:off x="8368855" y="3028404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04" name="Freihandform: Form 703">
              <a:extLst>
                <a:ext uri="{FF2B5EF4-FFF2-40B4-BE49-F238E27FC236}">
                  <a16:creationId xmlns:a16="http://schemas.microsoft.com/office/drawing/2014/main" id="{84405A92-C3AE-236C-FD74-5BD35D4D31C8}"/>
                </a:ext>
              </a:extLst>
            </p:cNvPr>
            <p:cNvSpPr/>
            <p:nvPr/>
          </p:nvSpPr>
          <p:spPr>
            <a:xfrm>
              <a:off x="8374309" y="3028404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05" name="Freihandform: Form 704">
              <a:extLst>
                <a:ext uri="{FF2B5EF4-FFF2-40B4-BE49-F238E27FC236}">
                  <a16:creationId xmlns:a16="http://schemas.microsoft.com/office/drawing/2014/main" id="{E5280F20-A61D-0B06-AF93-D2391BE9A13D}"/>
                </a:ext>
              </a:extLst>
            </p:cNvPr>
            <p:cNvSpPr/>
            <p:nvPr/>
          </p:nvSpPr>
          <p:spPr>
            <a:xfrm>
              <a:off x="8375704" y="3028404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06" name="Freihandform: Form 705">
              <a:extLst>
                <a:ext uri="{FF2B5EF4-FFF2-40B4-BE49-F238E27FC236}">
                  <a16:creationId xmlns:a16="http://schemas.microsoft.com/office/drawing/2014/main" id="{6ED7A9DA-C987-1AAD-7EE2-DEFCC1037D50}"/>
                </a:ext>
              </a:extLst>
            </p:cNvPr>
            <p:cNvSpPr/>
            <p:nvPr/>
          </p:nvSpPr>
          <p:spPr>
            <a:xfrm>
              <a:off x="8383822" y="3028404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07" name="Freihandform: Form 706">
              <a:extLst>
                <a:ext uri="{FF2B5EF4-FFF2-40B4-BE49-F238E27FC236}">
                  <a16:creationId xmlns:a16="http://schemas.microsoft.com/office/drawing/2014/main" id="{45AEF44E-B13D-38FD-8FA8-3CE84C5FEE4B}"/>
                </a:ext>
              </a:extLst>
            </p:cNvPr>
            <p:cNvSpPr/>
            <p:nvPr/>
          </p:nvSpPr>
          <p:spPr>
            <a:xfrm>
              <a:off x="8395998" y="3033477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08" name="Freihandform: Form 707">
              <a:extLst>
                <a:ext uri="{FF2B5EF4-FFF2-40B4-BE49-F238E27FC236}">
                  <a16:creationId xmlns:a16="http://schemas.microsoft.com/office/drawing/2014/main" id="{E0DBA426-8142-912F-AAE1-03C617C26307}"/>
                </a:ext>
              </a:extLst>
            </p:cNvPr>
            <p:cNvSpPr/>
            <p:nvPr/>
          </p:nvSpPr>
          <p:spPr>
            <a:xfrm>
              <a:off x="8404116" y="3033477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09" name="Freihandform: Form 708">
              <a:extLst>
                <a:ext uri="{FF2B5EF4-FFF2-40B4-BE49-F238E27FC236}">
                  <a16:creationId xmlns:a16="http://schemas.microsoft.com/office/drawing/2014/main" id="{ED8965E6-D51B-7241-33DB-3ADF83D92DD7}"/>
                </a:ext>
              </a:extLst>
            </p:cNvPr>
            <p:cNvSpPr/>
            <p:nvPr/>
          </p:nvSpPr>
          <p:spPr>
            <a:xfrm>
              <a:off x="8405511" y="3033477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10" name="Freihandform: Form 709">
              <a:extLst>
                <a:ext uri="{FF2B5EF4-FFF2-40B4-BE49-F238E27FC236}">
                  <a16:creationId xmlns:a16="http://schemas.microsoft.com/office/drawing/2014/main" id="{740D900D-9D1D-9BEB-DC4B-0C6920F8DFD5}"/>
                </a:ext>
              </a:extLst>
            </p:cNvPr>
            <p:cNvSpPr/>
            <p:nvPr/>
          </p:nvSpPr>
          <p:spPr>
            <a:xfrm>
              <a:off x="8406906" y="3033477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11" name="Freihandform: Form 710">
              <a:extLst>
                <a:ext uri="{FF2B5EF4-FFF2-40B4-BE49-F238E27FC236}">
                  <a16:creationId xmlns:a16="http://schemas.microsoft.com/office/drawing/2014/main" id="{409BB2CC-4FA4-6C21-F3FD-026EB41111B2}"/>
                </a:ext>
              </a:extLst>
            </p:cNvPr>
            <p:cNvSpPr/>
            <p:nvPr/>
          </p:nvSpPr>
          <p:spPr>
            <a:xfrm>
              <a:off x="8409570" y="3033477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12" name="Freihandform: Form 711">
              <a:extLst>
                <a:ext uri="{FF2B5EF4-FFF2-40B4-BE49-F238E27FC236}">
                  <a16:creationId xmlns:a16="http://schemas.microsoft.com/office/drawing/2014/main" id="{35A3A51A-CC89-77F2-C096-9350CB6E04D1}"/>
                </a:ext>
              </a:extLst>
            </p:cNvPr>
            <p:cNvSpPr/>
            <p:nvPr/>
          </p:nvSpPr>
          <p:spPr>
            <a:xfrm>
              <a:off x="8415024" y="3033477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13" name="Freihandform: Form 712">
              <a:extLst>
                <a:ext uri="{FF2B5EF4-FFF2-40B4-BE49-F238E27FC236}">
                  <a16:creationId xmlns:a16="http://schemas.microsoft.com/office/drawing/2014/main" id="{D6B986EB-C30E-5A67-FDC3-EF1A89F44F8C}"/>
                </a:ext>
              </a:extLst>
            </p:cNvPr>
            <p:cNvSpPr/>
            <p:nvPr/>
          </p:nvSpPr>
          <p:spPr>
            <a:xfrm>
              <a:off x="8416419" y="3033477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14" name="Freihandform: Form 713">
              <a:extLst>
                <a:ext uri="{FF2B5EF4-FFF2-40B4-BE49-F238E27FC236}">
                  <a16:creationId xmlns:a16="http://schemas.microsoft.com/office/drawing/2014/main" id="{2C3199BA-A399-6423-8522-017A8955B634}"/>
                </a:ext>
              </a:extLst>
            </p:cNvPr>
            <p:cNvSpPr/>
            <p:nvPr/>
          </p:nvSpPr>
          <p:spPr>
            <a:xfrm>
              <a:off x="8416419" y="3033477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15" name="Freihandform: Form 714">
              <a:extLst>
                <a:ext uri="{FF2B5EF4-FFF2-40B4-BE49-F238E27FC236}">
                  <a16:creationId xmlns:a16="http://schemas.microsoft.com/office/drawing/2014/main" id="{474E4A49-2749-DE35-1138-2714A82BD920}"/>
                </a:ext>
              </a:extLst>
            </p:cNvPr>
            <p:cNvSpPr/>
            <p:nvPr/>
          </p:nvSpPr>
          <p:spPr>
            <a:xfrm>
              <a:off x="8421873" y="3033477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16" name="Freihandform: Form 715">
              <a:extLst>
                <a:ext uri="{FF2B5EF4-FFF2-40B4-BE49-F238E27FC236}">
                  <a16:creationId xmlns:a16="http://schemas.microsoft.com/office/drawing/2014/main" id="{3B5F67F0-E737-0208-05B7-30058DF38B0C}"/>
                </a:ext>
              </a:extLst>
            </p:cNvPr>
            <p:cNvSpPr/>
            <p:nvPr/>
          </p:nvSpPr>
          <p:spPr>
            <a:xfrm>
              <a:off x="8423142" y="3033477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17" name="Freihandform: Form 716">
              <a:extLst>
                <a:ext uri="{FF2B5EF4-FFF2-40B4-BE49-F238E27FC236}">
                  <a16:creationId xmlns:a16="http://schemas.microsoft.com/office/drawing/2014/main" id="{2BAA2660-4392-9A1C-74D3-909AA82F6873}"/>
                </a:ext>
              </a:extLst>
            </p:cNvPr>
            <p:cNvSpPr/>
            <p:nvPr/>
          </p:nvSpPr>
          <p:spPr>
            <a:xfrm>
              <a:off x="8434050" y="3033477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18" name="Freihandform: Form 717">
              <a:extLst>
                <a:ext uri="{FF2B5EF4-FFF2-40B4-BE49-F238E27FC236}">
                  <a16:creationId xmlns:a16="http://schemas.microsoft.com/office/drawing/2014/main" id="{88AE8776-391A-6EC6-6134-8B950EA81232}"/>
                </a:ext>
              </a:extLst>
            </p:cNvPr>
            <p:cNvSpPr/>
            <p:nvPr/>
          </p:nvSpPr>
          <p:spPr>
            <a:xfrm>
              <a:off x="8450412" y="3033477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19" name="Freihandform: Form 718">
              <a:extLst>
                <a:ext uri="{FF2B5EF4-FFF2-40B4-BE49-F238E27FC236}">
                  <a16:creationId xmlns:a16="http://schemas.microsoft.com/office/drawing/2014/main" id="{2F39A6B5-8636-E059-A0FD-BD912F90BFED}"/>
                </a:ext>
              </a:extLst>
            </p:cNvPr>
            <p:cNvSpPr/>
            <p:nvPr/>
          </p:nvSpPr>
          <p:spPr>
            <a:xfrm>
              <a:off x="8455866" y="3033477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20" name="Freihandform: Form 719">
              <a:extLst>
                <a:ext uri="{FF2B5EF4-FFF2-40B4-BE49-F238E27FC236}">
                  <a16:creationId xmlns:a16="http://schemas.microsoft.com/office/drawing/2014/main" id="{747F2AE1-959B-2C0A-0A94-7C49636626EB}"/>
                </a:ext>
              </a:extLst>
            </p:cNvPr>
            <p:cNvSpPr/>
            <p:nvPr/>
          </p:nvSpPr>
          <p:spPr>
            <a:xfrm>
              <a:off x="8570019" y="3061889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21" name="Freihandform: Form 720">
              <a:extLst>
                <a:ext uri="{FF2B5EF4-FFF2-40B4-BE49-F238E27FC236}">
                  <a16:creationId xmlns:a16="http://schemas.microsoft.com/office/drawing/2014/main" id="{051748A4-29AE-45F0-6342-C57AA1B3962D}"/>
                </a:ext>
              </a:extLst>
            </p:cNvPr>
            <p:cNvSpPr/>
            <p:nvPr/>
          </p:nvSpPr>
          <p:spPr>
            <a:xfrm>
              <a:off x="8593104" y="3073304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22" name="Freihandform: Form 721">
              <a:extLst>
                <a:ext uri="{FF2B5EF4-FFF2-40B4-BE49-F238E27FC236}">
                  <a16:creationId xmlns:a16="http://schemas.microsoft.com/office/drawing/2014/main" id="{8BE700C5-E0A3-D5B4-A336-CF128D899641}"/>
                </a:ext>
              </a:extLst>
            </p:cNvPr>
            <p:cNvSpPr/>
            <p:nvPr/>
          </p:nvSpPr>
          <p:spPr>
            <a:xfrm>
              <a:off x="8610734" y="3073304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23" name="Freihandform: Form 722">
              <a:extLst>
                <a:ext uri="{FF2B5EF4-FFF2-40B4-BE49-F238E27FC236}">
                  <a16:creationId xmlns:a16="http://schemas.microsoft.com/office/drawing/2014/main" id="{E44584A0-9AE6-19CD-8378-0991FDF6AC9B}"/>
                </a:ext>
              </a:extLst>
            </p:cNvPr>
            <p:cNvSpPr/>
            <p:nvPr/>
          </p:nvSpPr>
          <p:spPr>
            <a:xfrm>
              <a:off x="8665147" y="3084846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24" name="Freihandform: Form 723">
              <a:extLst>
                <a:ext uri="{FF2B5EF4-FFF2-40B4-BE49-F238E27FC236}">
                  <a16:creationId xmlns:a16="http://schemas.microsoft.com/office/drawing/2014/main" id="{286E9958-BEC1-389E-ACA5-9C03CBC40B9C}"/>
                </a:ext>
              </a:extLst>
            </p:cNvPr>
            <p:cNvSpPr/>
            <p:nvPr/>
          </p:nvSpPr>
          <p:spPr>
            <a:xfrm>
              <a:off x="8681382" y="3090808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25" name="Freihandform: Form 724">
              <a:extLst>
                <a:ext uri="{FF2B5EF4-FFF2-40B4-BE49-F238E27FC236}">
                  <a16:creationId xmlns:a16="http://schemas.microsoft.com/office/drawing/2014/main" id="{1F8309C9-D1F9-223E-F0F8-59991D4BD5D9}"/>
                </a:ext>
              </a:extLst>
            </p:cNvPr>
            <p:cNvSpPr/>
            <p:nvPr/>
          </p:nvSpPr>
          <p:spPr>
            <a:xfrm>
              <a:off x="8693685" y="3090808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26" name="Freihandform: Form 725">
              <a:extLst>
                <a:ext uri="{FF2B5EF4-FFF2-40B4-BE49-F238E27FC236}">
                  <a16:creationId xmlns:a16="http://schemas.microsoft.com/office/drawing/2014/main" id="{71D2425D-C576-6835-B2C4-D9143F4478E8}"/>
                </a:ext>
              </a:extLst>
            </p:cNvPr>
            <p:cNvSpPr/>
            <p:nvPr/>
          </p:nvSpPr>
          <p:spPr>
            <a:xfrm>
              <a:off x="8693685" y="3090808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27" name="Freihandform: Form 726">
              <a:extLst>
                <a:ext uri="{FF2B5EF4-FFF2-40B4-BE49-F238E27FC236}">
                  <a16:creationId xmlns:a16="http://schemas.microsoft.com/office/drawing/2014/main" id="{2A55B16A-4F8A-FD62-EBB2-61FAAFA41FEB}"/>
                </a:ext>
              </a:extLst>
            </p:cNvPr>
            <p:cNvSpPr/>
            <p:nvPr/>
          </p:nvSpPr>
          <p:spPr>
            <a:xfrm>
              <a:off x="8696349" y="3090808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28" name="Freihandform: Form 727">
              <a:extLst>
                <a:ext uri="{FF2B5EF4-FFF2-40B4-BE49-F238E27FC236}">
                  <a16:creationId xmlns:a16="http://schemas.microsoft.com/office/drawing/2014/main" id="{0CCB92F6-FAFD-B5F8-7FBF-AF36AE1A2A73}"/>
                </a:ext>
              </a:extLst>
            </p:cNvPr>
            <p:cNvSpPr/>
            <p:nvPr/>
          </p:nvSpPr>
          <p:spPr>
            <a:xfrm>
              <a:off x="8704467" y="3096769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29" name="Freihandform: Form 728">
              <a:extLst>
                <a:ext uri="{FF2B5EF4-FFF2-40B4-BE49-F238E27FC236}">
                  <a16:creationId xmlns:a16="http://schemas.microsoft.com/office/drawing/2014/main" id="{A12C29BA-176F-E25A-8190-1199A2A88CB2}"/>
                </a:ext>
              </a:extLst>
            </p:cNvPr>
            <p:cNvSpPr/>
            <p:nvPr/>
          </p:nvSpPr>
          <p:spPr>
            <a:xfrm>
              <a:off x="8720829" y="3102857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0" name="Freihandform: Form 729">
              <a:extLst>
                <a:ext uri="{FF2B5EF4-FFF2-40B4-BE49-F238E27FC236}">
                  <a16:creationId xmlns:a16="http://schemas.microsoft.com/office/drawing/2014/main" id="{4C0AD6D3-CD12-411B-B433-107796FCD03D}"/>
                </a:ext>
              </a:extLst>
            </p:cNvPr>
            <p:cNvSpPr/>
            <p:nvPr/>
          </p:nvSpPr>
          <p:spPr>
            <a:xfrm>
              <a:off x="8726283" y="3102857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524 w 41095"/>
                <a:gd name="connsiteY4" fmla="*/ 0 h 29553"/>
                <a:gd name="connsiteX5" fmla="*/ 27524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524 w 41095"/>
                <a:gd name="connsiteY8" fmla="*/ 19787 h 29553"/>
                <a:gd name="connsiteX9" fmla="*/ 27524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524" y="0"/>
                  </a:lnTo>
                  <a:lnTo>
                    <a:pt x="27524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524" y="19787"/>
                  </a:lnTo>
                  <a:lnTo>
                    <a:pt x="27524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1" name="Freihandform: Form 730">
              <a:extLst>
                <a:ext uri="{FF2B5EF4-FFF2-40B4-BE49-F238E27FC236}">
                  <a16:creationId xmlns:a16="http://schemas.microsoft.com/office/drawing/2014/main" id="{A4585395-B635-8853-967B-69B80A7D16B0}"/>
                </a:ext>
              </a:extLst>
            </p:cNvPr>
            <p:cNvSpPr/>
            <p:nvPr/>
          </p:nvSpPr>
          <p:spPr>
            <a:xfrm>
              <a:off x="8734527" y="3102857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2" name="Freihandform: Form 731">
              <a:extLst>
                <a:ext uri="{FF2B5EF4-FFF2-40B4-BE49-F238E27FC236}">
                  <a16:creationId xmlns:a16="http://schemas.microsoft.com/office/drawing/2014/main" id="{33AB7142-B830-242B-B7F8-9BB994268A1E}"/>
                </a:ext>
              </a:extLst>
            </p:cNvPr>
            <p:cNvSpPr/>
            <p:nvPr/>
          </p:nvSpPr>
          <p:spPr>
            <a:xfrm>
              <a:off x="8737190" y="3102857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3" name="Freihandform: Form 732">
              <a:extLst>
                <a:ext uri="{FF2B5EF4-FFF2-40B4-BE49-F238E27FC236}">
                  <a16:creationId xmlns:a16="http://schemas.microsoft.com/office/drawing/2014/main" id="{2E19C798-85A6-6B59-0485-CC4AE2DE2400}"/>
                </a:ext>
              </a:extLst>
            </p:cNvPr>
            <p:cNvSpPr/>
            <p:nvPr/>
          </p:nvSpPr>
          <p:spPr>
            <a:xfrm>
              <a:off x="8742645" y="3109326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4" name="Freihandform: Form 733">
              <a:extLst>
                <a:ext uri="{FF2B5EF4-FFF2-40B4-BE49-F238E27FC236}">
                  <a16:creationId xmlns:a16="http://schemas.microsoft.com/office/drawing/2014/main" id="{40CA905E-7DA6-4194-F378-5931AB0ECB64}"/>
                </a:ext>
              </a:extLst>
            </p:cNvPr>
            <p:cNvSpPr/>
            <p:nvPr/>
          </p:nvSpPr>
          <p:spPr>
            <a:xfrm>
              <a:off x="8748098" y="3109326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5" name="Freihandform: Form 734">
              <a:extLst>
                <a:ext uri="{FF2B5EF4-FFF2-40B4-BE49-F238E27FC236}">
                  <a16:creationId xmlns:a16="http://schemas.microsoft.com/office/drawing/2014/main" id="{9122762C-E953-D9F4-FE80-3A15AFBF5498}"/>
                </a:ext>
              </a:extLst>
            </p:cNvPr>
            <p:cNvSpPr/>
            <p:nvPr/>
          </p:nvSpPr>
          <p:spPr>
            <a:xfrm>
              <a:off x="8780696" y="3128732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7 h 29553"/>
                <a:gd name="connsiteX2" fmla="*/ 13698 w 41095"/>
                <a:gd name="connsiteY2" fmla="*/ 9767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7 h 29553"/>
                <a:gd name="connsiteX6" fmla="*/ 41095 w 41095"/>
                <a:gd name="connsiteY6" fmla="*/ 9767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6" name="Freihandform: Form 735">
              <a:extLst>
                <a:ext uri="{FF2B5EF4-FFF2-40B4-BE49-F238E27FC236}">
                  <a16:creationId xmlns:a16="http://schemas.microsoft.com/office/drawing/2014/main" id="{A6AF7395-CF58-DA8A-96D4-6B218735D555}"/>
                </a:ext>
              </a:extLst>
            </p:cNvPr>
            <p:cNvSpPr/>
            <p:nvPr/>
          </p:nvSpPr>
          <p:spPr>
            <a:xfrm>
              <a:off x="8795662" y="3128732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7 h 29553"/>
                <a:gd name="connsiteX2" fmla="*/ 13698 w 41095"/>
                <a:gd name="connsiteY2" fmla="*/ 9767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7 h 29553"/>
                <a:gd name="connsiteX6" fmla="*/ 41095 w 41095"/>
                <a:gd name="connsiteY6" fmla="*/ 9767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7" name="Freihandform: Form 736">
              <a:extLst>
                <a:ext uri="{FF2B5EF4-FFF2-40B4-BE49-F238E27FC236}">
                  <a16:creationId xmlns:a16="http://schemas.microsoft.com/office/drawing/2014/main" id="{FBAE0BE0-BFD3-0EFD-0E39-0961A0DFA6E2}"/>
                </a:ext>
              </a:extLst>
            </p:cNvPr>
            <p:cNvSpPr/>
            <p:nvPr/>
          </p:nvSpPr>
          <p:spPr>
            <a:xfrm>
              <a:off x="8803780" y="3128732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7 h 29553"/>
                <a:gd name="connsiteX2" fmla="*/ 13698 w 41095"/>
                <a:gd name="connsiteY2" fmla="*/ 9767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7 h 29553"/>
                <a:gd name="connsiteX6" fmla="*/ 41095 w 41095"/>
                <a:gd name="connsiteY6" fmla="*/ 9767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8" name="Freihandform: Form 737">
              <a:extLst>
                <a:ext uri="{FF2B5EF4-FFF2-40B4-BE49-F238E27FC236}">
                  <a16:creationId xmlns:a16="http://schemas.microsoft.com/office/drawing/2014/main" id="{B430B4A2-1398-0710-D4AB-1F0937973F61}"/>
                </a:ext>
              </a:extLst>
            </p:cNvPr>
            <p:cNvSpPr/>
            <p:nvPr/>
          </p:nvSpPr>
          <p:spPr>
            <a:xfrm>
              <a:off x="8806570" y="3128732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7 h 29553"/>
                <a:gd name="connsiteX2" fmla="*/ 13698 w 41095"/>
                <a:gd name="connsiteY2" fmla="*/ 9767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7 h 29553"/>
                <a:gd name="connsiteX6" fmla="*/ 41095 w 41095"/>
                <a:gd name="connsiteY6" fmla="*/ 9767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9" name="Freihandform: Form 738">
              <a:extLst>
                <a:ext uri="{FF2B5EF4-FFF2-40B4-BE49-F238E27FC236}">
                  <a16:creationId xmlns:a16="http://schemas.microsoft.com/office/drawing/2014/main" id="{E94B2F99-9D80-CB81-873F-BCCF912ABFD1}"/>
                </a:ext>
              </a:extLst>
            </p:cNvPr>
            <p:cNvSpPr/>
            <p:nvPr/>
          </p:nvSpPr>
          <p:spPr>
            <a:xfrm>
              <a:off x="8818747" y="3135454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0" name="Freihandform: Form 739">
              <a:extLst>
                <a:ext uri="{FF2B5EF4-FFF2-40B4-BE49-F238E27FC236}">
                  <a16:creationId xmlns:a16="http://schemas.microsoft.com/office/drawing/2014/main" id="{99CEA4A3-ABBC-132A-8391-16AF0BAF68D6}"/>
                </a:ext>
              </a:extLst>
            </p:cNvPr>
            <p:cNvSpPr/>
            <p:nvPr/>
          </p:nvSpPr>
          <p:spPr>
            <a:xfrm>
              <a:off x="8824201" y="3135454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1" name="Freihandform: Form 740">
              <a:extLst>
                <a:ext uri="{FF2B5EF4-FFF2-40B4-BE49-F238E27FC236}">
                  <a16:creationId xmlns:a16="http://schemas.microsoft.com/office/drawing/2014/main" id="{24200AB1-7BD9-BAB6-E7C5-EFEEDF2ABE00}"/>
                </a:ext>
              </a:extLst>
            </p:cNvPr>
            <p:cNvSpPr/>
            <p:nvPr/>
          </p:nvSpPr>
          <p:spPr>
            <a:xfrm>
              <a:off x="8832318" y="3142303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2" name="Freihandform: Form 741">
              <a:extLst>
                <a:ext uri="{FF2B5EF4-FFF2-40B4-BE49-F238E27FC236}">
                  <a16:creationId xmlns:a16="http://schemas.microsoft.com/office/drawing/2014/main" id="{152207D4-9FFB-425E-E110-854B3F58871D}"/>
                </a:ext>
              </a:extLst>
            </p:cNvPr>
            <p:cNvSpPr/>
            <p:nvPr/>
          </p:nvSpPr>
          <p:spPr>
            <a:xfrm>
              <a:off x="8839168" y="3142303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3" name="Freihandform: Form 742">
              <a:extLst>
                <a:ext uri="{FF2B5EF4-FFF2-40B4-BE49-F238E27FC236}">
                  <a16:creationId xmlns:a16="http://schemas.microsoft.com/office/drawing/2014/main" id="{43737CE8-51AC-B281-57BC-3D7D6BB8B05C}"/>
                </a:ext>
              </a:extLst>
            </p:cNvPr>
            <p:cNvSpPr/>
            <p:nvPr/>
          </p:nvSpPr>
          <p:spPr>
            <a:xfrm>
              <a:off x="8879882" y="3149406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4" name="Freihandform: Form 743">
              <a:extLst>
                <a:ext uri="{FF2B5EF4-FFF2-40B4-BE49-F238E27FC236}">
                  <a16:creationId xmlns:a16="http://schemas.microsoft.com/office/drawing/2014/main" id="{58E236D7-7B08-F899-324B-A75A6310C96D}"/>
                </a:ext>
              </a:extLst>
            </p:cNvPr>
            <p:cNvSpPr/>
            <p:nvPr/>
          </p:nvSpPr>
          <p:spPr>
            <a:xfrm>
              <a:off x="8897640" y="3149406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5" name="Freihandform: Form 744">
              <a:extLst>
                <a:ext uri="{FF2B5EF4-FFF2-40B4-BE49-F238E27FC236}">
                  <a16:creationId xmlns:a16="http://schemas.microsoft.com/office/drawing/2014/main" id="{FBBF11F1-1801-E06F-2087-128F2BFB816D}"/>
                </a:ext>
              </a:extLst>
            </p:cNvPr>
            <p:cNvSpPr/>
            <p:nvPr/>
          </p:nvSpPr>
          <p:spPr>
            <a:xfrm>
              <a:off x="8920724" y="3149406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6" name="Freihandform: Form 745">
              <a:extLst>
                <a:ext uri="{FF2B5EF4-FFF2-40B4-BE49-F238E27FC236}">
                  <a16:creationId xmlns:a16="http://schemas.microsoft.com/office/drawing/2014/main" id="{6DE37352-0FA1-6B3D-ABA9-07D9CBB223D6}"/>
                </a:ext>
              </a:extLst>
            </p:cNvPr>
            <p:cNvSpPr/>
            <p:nvPr/>
          </p:nvSpPr>
          <p:spPr>
            <a:xfrm>
              <a:off x="8926178" y="3149406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7" name="Freihandform: Form 746">
              <a:extLst>
                <a:ext uri="{FF2B5EF4-FFF2-40B4-BE49-F238E27FC236}">
                  <a16:creationId xmlns:a16="http://schemas.microsoft.com/office/drawing/2014/main" id="{AAE05CF5-5D17-B43D-748D-6FFA10303862}"/>
                </a:ext>
              </a:extLst>
            </p:cNvPr>
            <p:cNvSpPr/>
            <p:nvPr/>
          </p:nvSpPr>
          <p:spPr>
            <a:xfrm>
              <a:off x="8939623" y="3156763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7 h 29426"/>
                <a:gd name="connsiteX2" fmla="*/ 13698 w 41095"/>
                <a:gd name="connsiteY2" fmla="*/ 9767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7 h 29426"/>
                <a:gd name="connsiteX6" fmla="*/ 41095 w 41095"/>
                <a:gd name="connsiteY6" fmla="*/ 9767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8" name="Freihandform: Form 747">
              <a:extLst>
                <a:ext uri="{FF2B5EF4-FFF2-40B4-BE49-F238E27FC236}">
                  <a16:creationId xmlns:a16="http://schemas.microsoft.com/office/drawing/2014/main" id="{F97A6AB0-6778-770C-3CB1-080E45B0DF77}"/>
                </a:ext>
              </a:extLst>
            </p:cNvPr>
            <p:cNvSpPr/>
            <p:nvPr/>
          </p:nvSpPr>
          <p:spPr>
            <a:xfrm>
              <a:off x="8957380" y="3164246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9" name="Freihandform: Form 748">
              <a:extLst>
                <a:ext uri="{FF2B5EF4-FFF2-40B4-BE49-F238E27FC236}">
                  <a16:creationId xmlns:a16="http://schemas.microsoft.com/office/drawing/2014/main" id="{713C3975-2357-B2A9-32D7-AAFB657DCE47}"/>
                </a:ext>
              </a:extLst>
            </p:cNvPr>
            <p:cNvSpPr/>
            <p:nvPr/>
          </p:nvSpPr>
          <p:spPr>
            <a:xfrm>
              <a:off x="8961439" y="3171857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0" name="Freihandform: Form 749">
              <a:extLst>
                <a:ext uri="{FF2B5EF4-FFF2-40B4-BE49-F238E27FC236}">
                  <a16:creationId xmlns:a16="http://schemas.microsoft.com/office/drawing/2014/main" id="{BA882330-0432-08BB-4350-F3C916DC58F3}"/>
                </a:ext>
              </a:extLst>
            </p:cNvPr>
            <p:cNvSpPr/>
            <p:nvPr/>
          </p:nvSpPr>
          <p:spPr>
            <a:xfrm>
              <a:off x="8965497" y="3171857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1" name="Freihandform: Form 750">
              <a:extLst>
                <a:ext uri="{FF2B5EF4-FFF2-40B4-BE49-F238E27FC236}">
                  <a16:creationId xmlns:a16="http://schemas.microsoft.com/office/drawing/2014/main" id="{811D1A4C-3369-CD48-16A2-B9A59E740922}"/>
                </a:ext>
              </a:extLst>
            </p:cNvPr>
            <p:cNvSpPr/>
            <p:nvPr/>
          </p:nvSpPr>
          <p:spPr>
            <a:xfrm>
              <a:off x="8973615" y="3179594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2" name="Freihandform: Form 751">
              <a:extLst>
                <a:ext uri="{FF2B5EF4-FFF2-40B4-BE49-F238E27FC236}">
                  <a16:creationId xmlns:a16="http://schemas.microsoft.com/office/drawing/2014/main" id="{B9C0523B-F534-7963-BF58-DEB28110978B}"/>
                </a:ext>
              </a:extLst>
            </p:cNvPr>
            <p:cNvSpPr/>
            <p:nvPr/>
          </p:nvSpPr>
          <p:spPr>
            <a:xfrm>
              <a:off x="8983255" y="3187458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766 h 29552"/>
                <a:gd name="connsiteX2" fmla="*/ 13698 w 41095"/>
                <a:gd name="connsiteY2" fmla="*/ 9766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766 h 29552"/>
                <a:gd name="connsiteX6" fmla="*/ 41095 w 41095"/>
                <a:gd name="connsiteY6" fmla="*/ 9766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3" name="Freihandform: Form 752">
              <a:extLst>
                <a:ext uri="{FF2B5EF4-FFF2-40B4-BE49-F238E27FC236}">
                  <a16:creationId xmlns:a16="http://schemas.microsoft.com/office/drawing/2014/main" id="{5EBB87B4-C478-7F36-FE68-26470F839ED3}"/>
                </a:ext>
              </a:extLst>
            </p:cNvPr>
            <p:cNvSpPr/>
            <p:nvPr/>
          </p:nvSpPr>
          <p:spPr>
            <a:xfrm>
              <a:off x="8984650" y="3187458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766 h 29552"/>
                <a:gd name="connsiteX2" fmla="*/ 13698 w 41095"/>
                <a:gd name="connsiteY2" fmla="*/ 9766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766 h 29552"/>
                <a:gd name="connsiteX6" fmla="*/ 41095 w 41095"/>
                <a:gd name="connsiteY6" fmla="*/ 9766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4" name="Freihandform: Form 753">
              <a:extLst>
                <a:ext uri="{FF2B5EF4-FFF2-40B4-BE49-F238E27FC236}">
                  <a16:creationId xmlns:a16="http://schemas.microsoft.com/office/drawing/2014/main" id="{00EF2237-6E16-99F2-F1D8-28CBD2EAF4B4}"/>
                </a:ext>
              </a:extLst>
            </p:cNvPr>
            <p:cNvSpPr/>
            <p:nvPr/>
          </p:nvSpPr>
          <p:spPr>
            <a:xfrm>
              <a:off x="8994163" y="3187458"/>
              <a:ext cx="41095" cy="29552"/>
            </a:xfrm>
            <a:custGeom>
              <a:avLst/>
              <a:gdLst>
                <a:gd name="connsiteX0" fmla="*/ 0 w 41095"/>
                <a:gd name="connsiteY0" fmla="*/ 19660 h 29552"/>
                <a:gd name="connsiteX1" fmla="*/ 0 w 41095"/>
                <a:gd name="connsiteY1" fmla="*/ 9766 h 29552"/>
                <a:gd name="connsiteX2" fmla="*/ 13698 w 41095"/>
                <a:gd name="connsiteY2" fmla="*/ 9766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766 h 29552"/>
                <a:gd name="connsiteX6" fmla="*/ 41095 w 41095"/>
                <a:gd name="connsiteY6" fmla="*/ 9766 h 29552"/>
                <a:gd name="connsiteX7" fmla="*/ 41095 w 41095"/>
                <a:gd name="connsiteY7" fmla="*/ 19660 h 29552"/>
                <a:gd name="connsiteX8" fmla="*/ 27397 w 41095"/>
                <a:gd name="connsiteY8" fmla="*/ 19660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660 h 29552"/>
                <a:gd name="connsiteX12" fmla="*/ 0 w 41095"/>
                <a:gd name="connsiteY12" fmla="*/ 19660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5" name="Freihandform: Form 754">
              <a:extLst>
                <a:ext uri="{FF2B5EF4-FFF2-40B4-BE49-F238E27FC236}">
                  <a16:creationId xmlns:a16="http://schemas.microsoft.com/office/drawing/2014/main" id="{31372ED7-A07F-E8F3-6D79-0D9B6EAE1345}"/>
                </a:ext>
              </a:extLst>
            </p:cNvPr>
            <p:cNvSpPr/>
            <p:nvPr/>
          </p:nvSpPr>
          <p:spPr>
            <a:xfrm>
              <a:off x="9015852" y="3195575"/>
              <a:ext cx="41095" cy="29552"/>
            </a:xfrm>
            <a:custGeom>
              <a:avLst/>
              <a:gdLst>
                <a:gd name="connsiteX0" fmla="*/ 0 w 41095"/>
                <a:gd name="connsiteY0" fmla="*/ 19787 h 29552"/>
                <a:gd name="connsiteX1" fmla="*/ 0 w 41095"/>
                <a:gd name="connsiteY1" fmla="*/ 9893 h 29552"/>
                <a:gd name="connsiteX2" fmla="*/ 13698 w 41095"/>
                <a:gd name="connsiteY2" fmla="*/ 9893 h 29552"/>
                <a:gd name="connsiteX3" fmla="*/ 13698 w 41095"/>
                <a:gd name="connsiteY3" fmla="*/ 0 h 29552"/>
                <a:gd name="connsiteX4" fmla="*/ 27397 w 41095"/>
                <a:gd name="connsiteY4" fmla="*/ 0 h 29552"/>
                <a:gd name="connsiteX5" fmla="*/ 27397 w 41095"/>
                <a:gd name="connsiteY5" fmla="*/ 9893 h 29552"/>
                <a:gd name="connsiteX6" fmla="*/ 41095 w 41095"/>
                <a:gd name="connsiteY6" fmla="*/ 9893 h 29552"/>
                <a:gd name="connsiteX7" fmla="*/ 41095 w 41095"/>
                <a:gd name="connsiteY7" fmla="*/ 19787 h 29552"/>
                <a:gd name="connsiteX8" fmla="*/ 27397 w 41095"/>
                <a:gd name="connsiteY8" fmla="*/ 19787 h 29552"/>
                <a:gd name="connsiteX9" fmla="*/ 27397 w 41095"/>
                <a:gd name="connsiteY9" fmla="*/ 29553 h 29552"/>
                <a:gd name="connsiteX10" fmla="*/ 13698 w 41095"/>
                <a:gd name="connsiteY10" fmla="*/ 29553 h 29552"/>
                <a:gd name="connsiteX11" fmla="*/ 13698 w 41095"/>
                <a:gd name="connsiteY11" fmla="*/ 19787 h 29552"/>
                <a:gd name="connsiteX12" fmla="*/ 0 w 41095"/>
                <a:gd name="connsiteY12" fmla="*/ 19787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2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6" name="Freihandform: Form 755">
              <a:extLst>
                <a:ext uri="{FF2B5EF4-FFF2-40B4-BE49-F238E27FC236}">
                  <a16:creationId xmlns:a16="http://schemas.microsoft.com/office/drawing/2014/main" id="{ABECAB16-6D51-CEA5-937B-3D621A36F01F}"/>
                </a:ext>
              </a:extLst>
            </p:cNvPr>
            <p:cNvSpPr/>
            <p:nvPr/>
          </p:nvSpPr>
          <p:spPr>
            <a:xfrm>
              <a:off x="9049844" y="3203946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7 h 29426"/>
                <a:gd name="connsiteX2" fmla="*/ 13698 w 41095"/>
                <a:gd name="connsiteY2" fmla="*/ 9767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7 h 29426"/>
                <a:gd name="connsiteX6" fmla="*/ 41095 w 41095"/>
                <a:gd name="connsiteY6" fmla="*/ 9767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7" name="Freihandform: Form 756">
              <a:extLst>
                <a:ext uri="{FF2B5EF4-FFF2-40B4-BE49-F238E27FC236}">
                  <a16:creationId xmlns:a16="http://schemas.microsoft.com/office/drawing/2014/main" id="{9C1AA0CF-B530-DEC1-383F-52C8D29141DA}"/>
                </a:ext>
              </a:extLst>
            </p:cNvPr>
            <p:cNvSpPr/>
            <p:nvPr/>
          </p:nvSpPr>
          <p:spPr>
            <a:xfrm>
              <a:off x="9072929" y="3203946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7 h 29426"/>
                <a:gd name="connsiteX2" fmla="*/ 13698 w 41095"/>
                <a:gd name="connsiteY2" fmla="*/ 9767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7 h 29426"/>
                <a:gd name="connsiteX6" fmla="*/ 41095 w 41095"/>
                <a:gd name="connsiteY6" fmla="*/ 9767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8" name="Freihandform: Form 757">
              <a:extLst>
                <a:ext uri="{FF2B5EF4-FFF2-40B4-BE49-F238E27FC236}">
                  <a16:creationId xmlns:a16="http://schemas.microsoft.com/office/drawing/2014/main" id="{0ADD4335-5511-A486-B50A-FF82A9A31031}"/>
                </a:ext>
              </a:extLst>
            </p:cNvPr>
            <p:cNvSpPr/>
            <p:nvPr/>
          </p:nvSpPr>
          <p:spPr>
            <a:xfrm>
              <a:off x="9072929" y="3203946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7 h 29426"/>
                <a:gd name="connsiteX2" fmla="*/ 13698 w 41095"/>
                <a:gd name="connsiteY2" fmla="*/ 9767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7 h 29426"/>
                <a:gd name="connsiteX6" fmla="*/ 41095 w 41095"/>
                <a:gd name="connsiteY6" fmla="*/ 9767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9" name="Freihandform: Form 758">
              <a:extLst>
                <a:ext uri="{FF2B5EF4-FFF2-40B4-BE49-F238E27FC236}">
                  <a16:creationId xmlns:a16="http://schemas.microsoft.com/office/drawing/2014/main" id="{E61CB0DD-51E5-E864-61DF-CB5366055FA1}"/>
                </a:ext>
              </a:extLst>
            </p:cNvPr>
            <p:cNvSpPr/>
            <p:nvPr/>
          </p:nvSpPr>
          <p:spPr>
            <a:xfrm>
              <a:off x="9093223" y="3212571"/>
              <a:ext cx="41222" cy="29553"/>
            </a:xfrm>
            <a:custGeom>
              <a:avLst/>
              <a:gdLst>
                <a:gd name="connsiteX0" fmla="*/ 0 w 41222"/>
                <a:gd name="connsiteY0" fmla="*/ 19787 h 29553"/>
                <a:gd name="connsiteX1" fmla="*/ 0 w 41222"/>
                <a:gd name="connsiteY1" fmla="*/ 9893 h 29553"/>
                <a:gd name="connsiteX2" fmla="*/ 13698 w 41222"/>
                <a:gd name="connsiteY2" fmla="*/ 9893 h 29553"/>
                <a:gd name="connsiteX3" fmla="*/ 13698 w 41222"/>
                <a:gd name="connsiteY3" fmla="*/ 0 h 29553"/>
                <a:gd name="connsiteX4" fmla="*/ 27397 w 41222"/>
                <a:gd name="connsiteY4" fmla="*/ 0 h 29553"/>
                <a:gd name="connsiteX5" fmla="*/ 27397 w 41222"/>
                <a:gd name="connsiteY5" fmla="*/ 9893 h 29553"/>
                <a:gd name="connsiteX6" fmla="*/ 41222 w 41222"/>
                <a:gd name="connsiteY6" fmla="*/ 9893 h 29553"/>
                <a:gd name="connsiteX7" fmla="*/ 41222 w 41222"/>
                <a:gd name="connsiteY7" fmla="*/ 19787 h 29553"/>
                <a:gd name="connsiteX8" fmla="*/ 27397 w 41222"/>
                <a:gd name="connsiteY8" fmla="*/ 19787 h 29553"/>
                <a:gd name="connsiteX9" fmla="*/ 27397 w 41222"/>
                <a:gd name="connsiteY9" fmla="*/ 29553 h 29553"/>
                <a:gd name="connsiteX10" fmla="*/ 13698 w 41222"/>
                <a:gd name="connsiteY10" fmla="*/ 29553 h 29553"/>
                <a:gd name="connsiteX11" fmla="*/ 13698 w 41222"/>
                <a:gd name="connsiteY11" fmla="*/ 19787 h 29553"/>
                <a:gd name="connsiteX12" fmla="*/ 0 w 41222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222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222" y="9893"/>
                  </a:lnTo>
                  <a:lnTo>
                    <a:pt x="41222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0" name="Freihandform: Form 759">
              <a:extLst>
                <a:ext uri="{FF2B5EF4-FFF2-40B4-BE49-F238E27FC236}">
                  <a16:creationId xmlns:a16="http://schemas.microsoft.com/office/drawing/2014/main" id="{BBEDAD0B-5286-5D59-32B5-1ED018B4ECE1}"/>
                </a:ext>
              </a:extLst>
            </p:cNvPr>
            <p:cNvSpPr/>
            <p:nvPr/>
          </p:nvSpPr>
          <p:spPr>
            <a:xfrm>
              <a:off x="9100199" y="3212571"/>
              <a:ext cx="40968" cy="29553"/>
            </a:xfrm>
            <a:custGeom>
              <a:avLst/>
              <a:gdLst>
                <a:gd name="connsiteX0" fmla="*/ 0 w 40968"/>
                <a:gd name="connsiteY0" fmla="*/ 19787 h 29553"/>
                <a:gd name="connsiteX1" fmla="*/ 0 w 40968"/>
                <a:gd name="connsiteY1" fmla="*/ 9893 h 29553"/>
                <a:gd name="connsiteX2" fmla="*/ 13698 w 40968"/>
                <a:gd name="connsiteY2" fmla="*/ 9893 h 29553"/>
                <a:gd name="connsiteX3" fmla="*/ 13698 w 40968"/>
                <a:gd name="connsiteY3" fmla="*/ 0 h 29553"/>
                <a:gd name="connsiteX4" fmla="*/ 27397 w 40968"/>
                <a:gd name="connsiteY4" fmla="*/ 0 h 29553"/>
                <a:gd name="connsiteX5" fmla="*/ 27397 w 40968"/>
                <a:gd name="connsiteY5" fmla="*/ 9893 h 29553"/>
                <a:gd name="connsiteX6" fmla="*/ 40968 w 40968"/>
                <a:gd name="connsiteY6" fmla="*/ 9893 h 29553"/>
                <a:gd name="connsiteX7" fmla="*/ 40968 w 40968"/>
                <a:gd name="connsiteY7" fmla="*/ 19787 h 29553"/>
                <a:gd name="connsiteX8" fmla="*/ 27397 w 40968"/>
                <a:gd name="connsiteY8" fmla="*/ 19787 h 29553"/>
                <a:gd name="connsiteX9" fmla="*/ 27397 w 40968"/>
                <a:gd name="connsiteY9" fmla="*/ 29553 h 29553"/>
                <a:gd name="connsiteX10" fmla="*/ 13698 w 40968"/>
                <a:gd name="connsiteY10" fmla="*/ 29553 h 29553"/>
                <a:gd name="connsiteX11" fmla="*/ 13698 w 40968"/>
                <a:gd name="connsiteY11" fmla="*/ 19787 h 29553"/>
                <a:gd name="connsiteX12" fmla="*/ 0 w 40968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0968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0968" y="9893"/>
                  </a:lnTo>
                  <a:lnTo>
                    <a:pt x="40968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1" name="Freihandform: Form 760">
              <a:extLst>
                <a:ext uri="{FF2B5EF4-FFF2-40B4-BE49-F238E27FC236}">
                  <a16:creationId xmlns:a16="http://schemas.microsoft.com/office/drawing/2014/main" id="{3A4062AF-0472-8152-4C0A-E74F0C3A5DC8}"/>
                </a:ext>
              </a:extLst>
            </p:cNvPr>
            <p:cNvSpPr/>
            <p:nvPr/>
          </p:nvSpPr>
          <p:spPr>
            <a:xfrm>
              <a:off x="9109585" y="3212571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2" name="Freihandform: Form 761">
              <a:extLst>
                <a:ext uri="{FF2B5EF4-FFF2-40B4-BE49-F238E27FC236}">
                  <a16:creationId xmlns:a16="http://schemas.microsoft.com/office/drawing/2014/main" id="{0D694AA6-D243-6842-916A-664F157CA1D7}"/>
                </a:ext>
              </a:extLst>
            </p:cNvPr>
            <p:cNvSpPr/>
            <p:nvPr/>
          </p:nvSpPr>
          <p:spPr>
            <a:xfrm>
              <a:off x="9170847" y="3221704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3" name="Freihandform: Form 762">
              <a:extLst>
                <a:ext uri="{FF2B5EF4-FFF2-40B4-BE49-F238E27FC236}">
                  <a16:creationId xmlns:a16="http://schemas.microsoft.com/office/drawing/2014/main" id="{465F2461-6D8A-33A4-2AF4-779973A37DC7}"/>
                </a:ext>
              </a:extLst>
            </p:cNvPr>
            <p:cNvSpPr/>
            <p:nvPr/>
          </p:nvSpPr>
          <p:spPr>
            <a:xfrm>
              <a:off x="9173511" y="3221704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4" name="Freihandform: Form 763">
              <a:extLst>
                <a:ext uri="{FF2B5EF4-FFF2-40B4-BE49-F238E27FC236}">
                  <a16:creationId xmlns:a16="http://schemas.microsoft.com/office/drawing/2014/main" id="{57505B61-DA82-A737-BBC3-4A8DD270688A}"/>
                </a:ext>
              </a:extLst>
            </p:cNvPr>
            <p:cNvSpPr/>
            <p:nvPr/>
          </p:nvSpPr>
          <p:spPr>
            <a:xfrm>
              <a:off x="9264580" y="3221704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5" name="Freihandform: Form 764">
              <a:extLst>
                <a:ext uri="{FF2B5EF4-FFF2-40B4-BE49-F238E27FC236}">
                  <a16:creationId xmlns:a16="http://schemas.microsoft.com/office/drawing/2014/main" id="{B3A604AA-C185-B33C-163A-F737D3FC89CA}"/>
                </a:ext>
              </a:extLst>
            </p:cNvPr>
            <p:cNvSpPr/>
            <p:nvPr/>
          </p:nvSpPr>
          <p:spPr>
            <a:xfrm>
              <a:off x="9271429" y="3221704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6" name="Freihandform: Form 765">
              <a:extLst>
                <a:ext uri="{FF2B5EF4-FFF2-40B4-BE49-F238E27FC236}">
                  <a16:creationId xmlns:a16="http://schemas.microsoft.com/office/drawing/2014/main" id="{AE8A6A8F-2C1F-C738-FB12-3C2759702D1B}"/>
                </a:ext>
              </a:extLst>
            </p:cNvPr>
            <p:cNvSpPr/>
            <p:nvPr/>
          </p:nvSpPr>
          <p:spPr>
            <a:xfrm>
              <a:off x="9290328" y="3221704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7" name="Freihandform: Form 766">
              <a:extLst>
                <a:ext uri="{FF2B5EF4-FFF2-40B4-BE49-F238E27FC236}">
                  <a16:creationId xmlns:a16="http://schemas.microsoft.com/office/drawing/2014/main" id="{A286C513-BE5D-FEFB-3C8E-13D675D67AE9}"/>
                </a:ext>
              </a:extLst>
            </p:cNvPr>
            <p:cNvSpPr/>
            <p:nvPr/>
          </p:nvSpPr>
          <p:spPr>
            <a:xfrm>
              <a:off x="9340682" y="3221704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8" name="Freihandform: Form 767">
              <a:extLst>
                <a:ext uri="{FF2B5EF4-FFF2-40B4-BE49-F238E27FC236}">
                  <a16:creationId xmlns:a16="http://schemas.microsoft.com/office/drawing/2014/main" id="{D415F645-23B8-425F-2054-C3C30A7321B5}"/>
                </a:ext>
              </a:extLst>
            </p:cNvPr>
            <p:cNvSpPr/>
            <p:nvPr/>
          </p:nvSpPr>
          <p:spPr>
            <a:xfrm>
              <a:off x="9366557" y="3241997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9" name="Freihandform: Form 768">
              <a:extLst>
                <a:ext uri="{FF2B5EF4-FFF2-40B4-BE49-F238E27FC236}">
                  <a16:creationId xmlns:a16="http://schemas.microsoft.com/office/drawing/2014/main" id="{16656CAC-E105-D1E0-DC20-23853D468CE8}"/>
                </a:ext>
              </a:extLst>
            </p:cNvPr>
            <p:cNvSpPr/>
            <p:nvPr/>
          </p:nvSpPr>
          <p:spPr>
            <a:xfrm>
              <a:off x="9367952" y="3241997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70" name="Freihandform: Form 769">
              <a:extLst>
                <a:ext uri="{FF2B5EF4-FFF2-40B4-BE49-F238E27FC236}">
                  <a16:creationId xmlns:a16="http://schemas.microsoft.com/office/drawing/2014/main" id="{0150C8BE-C977-E6DD-C30F-E1719BC2B266}"/>
                </a:ext>
              </a:extLst>
            </p:cNvPr>
            <p:cNvSpPr/>
            <p:nvPr/>
          </p:nvSpPr>
          <p:spPr>
            <a:xfrm>
              <a:off x="9425029" y="3263179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7 h 29553"/>
                <a:gd name="connsiteX2" fmla="*/ 13698 w 41095"/>
                <a:gd name="connsiteY2" fmla="*/ 9767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7 h 29553"/>
                <a:gd name="connsiteX6" fmla="*/ 41095 w 41095"/>
                <a:gd name="connsiteY6" fmla="*/ 9767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71" name="Freihandform: Form 770">
              <a:extLst>
                <a:ext uri="{FF2B5EF4-FFF2-40B4-BE49-F238E27FC236}">
                  <a16:creationId xmlns:a16="http://schemas.microsoft.com/office/drawing/2014/main" id="{E23B4BB9-1B8B-5BD4-AB48-AF4140B4B539}"/>
                </a:ext>
              </a:extLst>
            </p:cNvPr>
            <p:cNvSpPr/>
            <p:nvPr/>
          </p:nvSpPr>
          <p:spPr>
            <a:xfrm>
              <a:off x="9443927" y="3263179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7 h 29553"/>
                <a:gd name="connsiteX2" fmla="*/ 13698 w 41095"/>
                <a:gd name="connsiteY2" fmla="*/ 9767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7 h 29553"/>
                <a:gd name="connsiteX6" fmla="*/ 41095 w 41095"/>
                <a:gd name="connsiteY6" fmla="*/ 9767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72" name="Freihandform: Form 771">
              <a:extLst>
                <a:ext uri="{FF2B5EF4-FFF2-40B4-BE49-F238E27FC236}">
                  <a16:creationId xmlns:a16="http://schemas.microsoft.com/office/drawing/2014/main" id="{4352D279-F537-0FBD-9904-766F70B777B1}"/>
                </a:ext>
              </a:extLst>
            </p:cNvPr>
            <p:cNvSpPr/>
            <p:nvPr/>
          </p:nvSpPr>
          <p:spPr>
            <a:xfrm>
              <a:off x="9456231" y="3263179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767 h 29553"/>
                <a:gd name="connsiteX2" fmla="*/ 13698 w 41095"/>
                <a:gd name="connsiteY2" fmla="*/ 9767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767 h 29553"/>
                <a:gd name="connsiteX6" fmla="*/ 41095 w 41095"/>
                <a:gd name="connsiteY6" fmla="*/ 9767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767"/>
                  </a:lnTo>
                  <a:lnTo>
                    <a:pt x="13698" y="9767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7"/>
                  </a:lnTo>
                  <a:lnTo>
                    <a:pt x="41095" y="9767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73" name="Freihandform: Form 772">
              <a:extLst>
                <a:ext uri="{FF2B5EF4-FFF2-40B4-BE49-F238E27FC236}">
                  <a16:creationId xmlns:a16="http://schemas.microsoft.com/office/drawing/2014/main" id="{6509E970-8D7E-97B7-47EF-407A09D5211B}"/>
                </a:ext>
              </a:extLst>
            </p:cNvPr>
            <p:cNvSpPr/>
            <p:nvPr/>
          </p:nvSpPr>
          <p:spPr>
            <a:xfrm>
              <a:off x="9461685" y="3274341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74" name="Freihandform: Form 773">
              <a:extLst>
                <a:ext uri="{FF2B5EF4-FFF2-40B4-BE49-F238E27FC236}">
                  <a16:creationId xmlns:a16="http://schemas.microsoft.com/office/drawing/2014/main" id="{86A24A08-94F8-312B-1B94-413791140A75}"/>
                </a:ext>
              </a:extLst>
            </p:cNvPr>
            <p:cNvSpPr/>
            <p:nvPr/>
          </p:nvSpPr>
          <p:spPr>
            <a:xfrm>
              <a:off x="9461685" y="3274341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75" name="Freihandform: Form 774">
              <a:extLst>
                <a:ext uri="{FF2B5EF4-FFF2-40B4-BE49-F238E27FC236}">
                  <a16:creationId xmlns:a16="http://schemas.microsoft.com/office/drawing/2014/main" id="{E1820374-A069-7136-FD13-ABB31A3290F8}"/>
                </a:ext>
              </a:extLst>
            </p:cNvPr>
            <p:cNvSpPr/>
            <p:nvPr/>
          </p:nvSpPr>
          <p:spPr>
            <a:xfrm>
              <a:off x="9556813" y="3274341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76" name="Freihandform: Form 775">
              <a:extLst>
                <a:ext uri="{FF2B5EF4-FFF2-40B4-BE49-F238E27FC236}">
                  <a16:creationId xmlns:a16="http://schemas.microsoft.com/office/drawing/2014/main" id="{60F42349-7610-2EE2-1618-4037EB0EF756}"/>
                </a:ext>
              </a:extLst>
            </p:cNvPr>
            <p:cNvSpPr/>
            <p:nvPr/>
          </p:nvSpPr>
          <p:spPr>
            <a:xfrm>
              <a:off x="9566326" y="3274341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77" name="Freihandform: Form 776">
              <a:extLst>
                <a:ext uri="{FF2B5EF4-FFF2-40B4-BE49-F238E27FC236}">
                  <a16:creationId xmlns:a16="http://schemas.microsoft.com/office/drawing/2014/main" id="{EEC71ADA-D946-E98B-6FD0-F9B83A96FB26}"/>
                </a:ext>
              </a:extLst>
            </p:cNvPr>
            <p:cNvSpPr/>
            <p:nvPr/>
          </p:nvSpPr>
          <p:spPr>
            <a:xfrm>
              <a:off x="9569116" y="3274341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78" name="Freihandform: Form 777">
              <a:extLst>
                <a:ext uri="{FF2B5EF4-FFF2-40B4-BE49-F238E27FC236}">
                  <a16:creationId xmlns:a16="http://schemas.microsoft.com/office/drawing/2014/main" id="{F93F1DF9-9C4C-50A2-5B8A-A9098ACDFF28}"/>
                </a:ext>
              </a:extLst>
            </p:cNvPr>
            <p:cNvSpPr/>
            <p:nvPr/>
          </p:nvSpPr>
          <p:spPr>
            <a:xfrm>
              <a:off x="9575838" y="3274341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79" name="Freihandform: Form 778">
              <a:extLst>
                <a:ext uri="{FF2B5EF4-FFF2-40B4-BE49-F238E27FC236}">
                  <a16:creationId xmlns:a16="http://schemas.microsoft.com/office/drawing/2014/main" id="{D825B941-B646-9C94-7D6B-D2290214BA49}"/>
                </a:ext>
              </a:extLst>
            </p:cNvPr>
            <p:cNvSpPr/>
            <p:nvPr/>
          </p:nvSpPr>
          <p:spPr>
            <a:xfrm>
              <a:off x="9577234" y="3274341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0" name="Freihandform: Form 779">
              <a:extLst>
                <a:ext uri="{FF2B5EF4-FFF2-40B4-BE49-F238E27FC236}">
                  <a16:creationId xmlns:a16="http://schemas.microsoft.com/office/drawing/2014/main" id="{586A045C-6A4E-6A6D-0120-E6DA41F66CCA}"/>
                </a:ext>
              </a:extLst>
            </p:cNvPr>
            <p:cNvSpPr/>
            <p:nvPr/>
          </p:nvSpPr>
          <p:spPr>
            <a:xfrm>
              <a:off x="9581292" y="3274341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1" name="Freihandform: Form 780">
              <a:extLst>
                <a:ext uri="{FF2B5EF4-FFF2-40B4-BE49-F238E27FC236}">
                  <a16:creationId xmlns:a16="http://schemas.microsoft.com/office/drawing/2014/main" id="{ABA01E62-B544-B954-4169-202D86189E42}"/>
                </a:ext>
              </a:extLst>
            </p:cNvPr>
            <p:cNvSpPr/>
            <p:nvPr/>
          </p:nvSpPr>
          <p:spPr>
            <a:xfrm>
              <a:off x="9605645" y="3274341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2" name="Freihandform: Form 781">
              <a:extLst>
                <a:ext uri="{FF2B5EF4-FFF2-40B4-BE49-F238E27FC236}">
                  <a16:creationId xmlns:a16="http://schemas.microsoft.com/office/drawing/2014/main" id="{553B0EAB-F203-4B3B-6E28-7318F1BF5706}"/>
                </a:ext>
              </a:extLst>
            </p:cNvPr>
            <p:cNvSpPr/>
            <p:nvPr/>
          </p:nvSpPr>
          <p:spPr>
            <a:xfrm>
              <a:off x="9617948" y="3288547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3" name="Freihandform: Form 782">
              <a:extLst>
                <a:ext uri="{FF2B5EF4-FFF2-40B4-BE49-F238E27FC236}">
                  <a16:creationId xmlns:a16="http://schemas.microsoft.com/office/drawing/2014/main" id="{EE2400FB-0B68-314B-AD20-153B08C2CD9C}"/>
                </a:ext>
              </a:extLst>
            </p:cNvPr>
            <p:cNvSpPr/>
            <p:nvPr/>
          </p:nvSpPr>
          <p:spPr>
            <a:xfrm>
              <a:off x="9622007" y="3288547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4" name="Freihandform: Form 783">
              <a:extLst>
                <a:ext uri="{FF2B5EF4-FFF2-40B4-BE49-F238E27FC236}">
                  <a16:creationId xmlns:a16="http://schemas.microsoft.com/office/drawing/2014/main" id="{C953B8C9-AACA-B50E-5761-8519E2B4E05A}"/>
                </a:ext>
              </a:extLst>
            </p:cNvPr>
            <p:cNvSpPr/>
            <p:nvPr/>
          </p:nvSpPr>
          <p:spPr>
            <a:xfrm>
              <a:off x="9642428" y="3288547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5" name="Freihandform: Form 784">
              <a:extLst>
                <a:ext uri="{FF2B5EF4-FFF2-40B4-BE49-F238E27FC236}">
                  <a16:creationId xmlns:a16="http://schemas.microsoft.com/office/drawing/2014/main" id="{F4BDF966-76C8-44B7-3654-926FE3EAEBA7}"/>
                </a:ext>
              </a:extLst>
            </p:cNvPr>
            <p:cNvSpPr/>
            <p:nvPr/>
          </p:nvSpPr>
          <p:spPr>
            <a:xfrm>
              <a:off x="9660185" y="3288547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6" name="Freihandform: Form 785">
              <a:extLst>
                <a:ext uri="{FF2B5EF4-FFF2-40B4-BE49-F238E27FC236}">
                  <a16:creationId xmlns:a16="http://schemas.microsoft.com/office/drawing/2014/main" id="{B102D2EB-F362-92FC-BCC8-CDCC3BF0DE3E}"/>
                </a:ext>
              </a:extLst>
            </p:cNvPr>
            <p:cNvSpPr/>
            <p:nvPr/>
          </p:nvSpPr>
          <p:spPr>
            <a:xfrm>
              <a:off x="9672361" y="3288547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7" name="Freihandform: Form 786">
              <a:extLst>
                <a:ext uri="{FF2B5EF4-FFF2-40B4-BE49-F238E27FC236}">
                  <a16:creationId xmlns:a16="http://schemas.microsoft.com/office/drawing/2014/main" id="{74042972-B241-5CC5-D5D1-7DB7A4475B7E}"/>
                </a:ext>
              </a:extLst>
            </p:cNvPr>
            <p:cNvSpPr/>
            <p:nvPr/>
          </p:nvSpPr>
          <p:spPr>
            <a:xfrm>
              <a:off x="9699505" y="3288547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8" name="Freihandform: Form 787">
              <a:extLst>
                <a:ext uri="{FF2B5EF4-FFF2-40B4-BE49-F238E27FC236}">
                  <a16:creationId xmlns:a16="http://schemas.microsoft.com/office/drawing/2014/main" id="{94C05C4A-CE96-4906-BEA4-8FE4BE22460B}"/>
                </a:ext>
              </a:extLst>
            </p:cNvPr>
            <p:cNvSpPr/>
            <p:nvPr/>
          </p:nvSpPr>
          <p:spPr>
            <a:xfrm>
              <a:off x="9736161" y="3288547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9" name="Freihandform: Form 788">
              <a:extLst>
                <a:ext uri="{FF2B5EF4-FFF2-40B4-BE49-F238E27FC236}">
                  <a16:creationId xmlns:a16="http://schemas.microsoft.com/office/drawing/2014/main" id="{1BA1A277-A33A-76CC-8865-BE67873E2E45}"/>
                </a:ext>
              </a:extLst>
            </p:cNvPr>
            <p:cNvSpPr/>
            <p:nvPr/>
          </p:nvSpPr>
          <p:spPr>
            <a:xfrm>
              <a:off x="9815053" y="3288547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0" name="Freihandform: Form 789">
              <a:extLst>
                <a:ext uri="{FF2B5EF4-FFF2-40B4-BE49-F238E27FC236}">
                  <a16:creationId xmlns:a16="http://schemas.microsoft.com/office/drawing/2014/main" id="{44FD9D65-AD13-C4F1-0AE0-DCA027BE9476}"/>
                </a:ext>
              </a:extLst>
            </p:cNvPr>
            <p:cNvSpPr/>
            <p:nvPr/>
          </p:nvSpPr>
          <p:spPr>
            <a:xfrm>
              <a:off x="9862617" y="3307065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1" name="Freihandform: Form 790">
              <a:extLst>
                <a:ext uri="{FF2B5EF4-FFF2-40B4-BE49-F238E27FC236}">
                  <a16:creationId xmlns:a16="http://schemas.microsoft.com/office/drawing/2014/main" id="{59CEF9A5-015F-7AA9-FDC6-9907923B1E00}"/>
                </a:ext>
              </a:extLst>
            </p:cNvPr>
            <p:cNvSpPr/>
            <p:nvPr/>
          </p:nvSpPr>
          <p:spPr>
            <a:xfrm>
              <a:off x="9870862" y="3307065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2" name="Freihandform: Form 791">
              <a:extLst>
                <a:ext uri="{FF2B5EF4-FFF2-40B4-BE49-F238E27FC236}">
                  <a16:creationId xmlns:a16="http://schemas.microsoft.com/office/drawing/2014/main" id="{E6E28B08-57EA-6617-C9AC-804E4D2EC097}"/>
                </a:ext>
              </a:extLst>
            </p:cNvPr>
            <p:cNvSpPr/>
            <p:nvPr/>
          </p:nvSpPr>
          <p:spPr>
            <a:xfrm>
              <a:off x="9874794" y="3307065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3" name="Freihandform: Form 792">
              <a:extLst>
                <a:ext uri="{FF2B5EF4-FFF2-40B4-BE49-F238E27FC236}">
                  <a16:creationId xmlns:a16="http://schemas.microsoft.com/office/drawing/2014/main" id="{5B821CF4-1A06-318F-E80F-6435C085258A}"/>
                </a:ext>
              </a:extLst>
            </p:cNvPr>
            <p:cNvSpPr/>
            <p:nvPr/>
          </p:nvSpPr>
          <p:spPr>
            <a:xfrm>
              <a:off x="9912972" y="3328120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4" name="Freihandform: Form 793">
              <a:extLst>
                <a:ext uri="{FF2B5EF4-FFF2-40B4-BE49-F238E27FC236}">
                  <a16:creationId xmlns:a16="http://schemas.microsoft.com/office/drawing/2014/main" id="{BAFEE821-2DCA-1CEE-9298-0E475FE0EFBD}"/>
                </a:ext>
              </a:extLst>
            </p:cNvPr>
            <p:cNvSpPr/>
            <p:nvPr/>
          </p:nvSpPr>
          <p:spPr>
            <a:xfrm>
              <a:off x="9918426" y="3328120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5" name="Freihandform: Form 794">
              <a:extLst>
                <a:ext uri="{FF2B5EF4-FFF2-40B4-BE49-F238E27FC236}">
                  <a16:creationId xmlns:a16="http://schemas.microsoft.com/office/drawing/2014/main" id="{1A56FCC6-39A3-9FBA-12D5-3EDB2AEC3C39}"/>
                </a:ext>
              </a:extLst>
            </p:cNvPr>
            <p:cNvSpPr/>
            <p:nvPr/>
          </p:nvSpPr>
          <p:spPr>
            <a:xfrm>
              <a:off x="9927938" y="3328120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6" name="Freihandform: Form 795">
              <a:extLst>
                <a:ext uri="{FF2B5EF4-FFF2-40B4-BE49-F238E27FC236}">
                  <a16:creationId xmlns:a16="http://schemas.microsoft.com/office/drawing/2014/main" id="{BFF3C64E-F1CC-9430-056F-2280A6596C87}"/>
                </a:ext>
              </a:extLst>
            </p:cNvPr>
            <p:cNvSpPr/>
            <p:nvPr/>
          </p:nvSpPr>
          <p:spPr>
            <a:xfrm>
              <a:off x="9934661" y="3328120"/>
              <a:ext cx="41095" cy="29426"/>
            </a:xfrm>
            <a:custGeom>
              <a:avLst/>
              <a:gdLst>
                <a:gd name="connsiteX0" fmla="*/ 0 w 41095"/>
                <a:gd name="connsiteY0" fmla="*/ 19660 h 29426"/>
                <a:gd name="connsiteX1" fmla="*/ 0 w 41095"/>
                <a:gd name="connsiteY1" fmla="*/ 9766 h 29426"/>
                <a:gd name="connsiteX2" fmla="*/ 13698 w 41095"/>
                <a:gd name="connsiteY2" fmla="*/ 9766 h 29426"/>
                <a:gd name="connsiteX3" fmla="*/ 13698 w 41095"/>
                <a:gd name="connsiteY3" fmla="*/ 0 h 29426"/>
                <a:gd name="connsiteX4" fmla="*/ 27397 w 41095"/>
                <a:gd name="connsiteY4" fmla="*/ 0 h 29426"/>
                <a:gd name="connsiteX5" fmla="*/ 27397 w 41095"/>
                <a:gd name="connsiteY5" fmla="*/ 9766 h 29426"/>
                <a:gd name="connsiteX6" fmla="*/ 41095 w 41095"/>
                <a:gd name="connsiteY6" fmla="*/ 9766 h 29426"/>
                <a:gd name="connsiteX7" fmla="*/ 41095 w 41095"/>
                <a:gd name="connsiteY7" fmla="*/ 19660 h 29426"/>
                <a:gd name="connsiteX8" fmla="*/ 27397 w 41095"/>
                <a:gd name="connsiteY8" fmla="*/ 19660 h 29426"/>
                <a:gd name="connsiteX9" fmla="*/ 27397 w 41095"/>
                <a:gd name="connsiteY9" fmla="*/ 29426 h 29426"/>
                <a:gd name="connsiteX10" fmla="*/ 13698 w 41095"/>
                <a:gd name="connsiteY10" fmla="*/ 29426 h 29426"/>
                <a:gd name="connsiteX11" fmla="*/ 13698 w 41095"/>
                <a:gd name="connsiteY11" fmla="*/ 19660 h 29426"/>
                <a:gd name="connsiteX12" fmla="*/ 0 w 41095"/>
                <a:gd name="connsiteY12" fmla="*/ 1966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426">
                  <a:moveTo>
                    <a:pt x="0" y="19660"/>
                  </a:moveTo>
                  <a:lnTo>
                    <a:pt x="0" y="9766"/>
                  </a:lnTo>
                  <a:lnTo>
                    <a:pt x="13698" y="9766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766"/>
                  </a:lnTo>
                  <a:lnTo>
                    <a:pt x="41095" y="9766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426"/>
                  </a:lnTo>
                  <a:lnTo>
                    <a:pt x="13698" y="29426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7" name="Freihandform: Form 796">
              <a:extLst>
                <a:ext uri="{FF2B5EF4-FFF2-40B4-BE49-F238E27FC236}">
                  <a16:creationId xmlns:a16="http://schemas.microsoft.com/office/drawing/2014/main" id="{7A9FD237-6C88-27BC-0361-9007A70ACF38}"/>
                </a:ext>
              </a:extLst>
            </p:cNvPr>
            <p:cNvSpPr/>
            <p:nvPr/>
          </p:nvSpPr>
          <p:spPr>
            <a:xfrm>
              <a:off x="9994528" y="3353995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8" name="Freihandform: Form 797">
              <a:extLst>
                <a:ext uri="{FF2B5EF4-FFF2-40B4-BE49-F238E27FC236}">
                  <a16:creationId xmlns:a16="http://schemas.microsoft.com/office/drawing/2014/main" id="{DFE1E775-F7CF-B13B-6EA3-DDA65585C171}"/>
                </a:ext>
              </a:extLst>
            </p:cNvPr>
            <p:cNvSpPr/>
            <p:nvPr/>
          </p:nvSpPr>
          <p:spPr>
            <a:xfrm>
              <a:off x="9998587" y="3353995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9" name="Freihandform: Form 798">
              <a:extLst>
                <a:ext uri="{FF2B5EF4-FFF2-40B4-BE49-F238E27FC236}">
                  <a16:creationId xmlns:a16="http://schemas.microsoft.com/office/drawing/2014/main" id="{D2205083-F3CB-6AAB-B74A-2CE473D0DCE9}"/>
                </a:ext>
              </a:extLst>
            </p:cNvPr>
            <p:cNvSpPr/>
            <p:nvPr/>
          </p:nvSpPr>
          <p:spPr>
            <a:xfrm>
              <a:off x="10002645" y="3353995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0" name="Freihandform: Form 799">
              <a:extLst>
                <a:ext uri="{FF2B5EF4-FFF2-40B4-BE49-F238E27FC236}">
                  <a16:creationId xmlns:a16="http://schemas.microsoft.com/office/drawing/2014/main" id="{F664E2E9-D779-833C-4BF6-EDD4945981E4}"/>
                </a:ext>
              </a:extLst>
            </p:cNvPr>
            <p:cNvSpPr/>
            <p:nvPr/>
          </p:nvSpPr>
          <p:spPr>
            <a:xfrm>
              <a:off x="10135825" y="3353995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1" name="Freihandform: Form 800">
              <a:extLst>
                <a:ext uri="{FF2B5EF4-FFF2-40B4-BE49-F238E27FC236}">
                  <a16:creationId xmlns:a16="http://schemas.microsoft.com/office/drawing/2014/main" id="{36068CE0-0C90-7626-AE3D-B4EE8834CF7D}"/>
                </a:ext>
              </a:extLst>
            </p:cNvPr>
            <p:cNvSpPr/>
            <p:nvPr/>
          </p:nvSpPr>
          <p:spPr>
            <a:xfrm>
              <a:off x="10146733" y="3353995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2" name="Freihandform: Form 801">
              <a:extLst>
                <a:ext uri="{FF2B5EF4-FFF2-40B4-BE49-F238E27FC236}">
                  <a16:creationId xmlns:a16="http://schemas.microsoft.com/office/drawing/2014/main" id="{BA13F808-1A0A-0193-5539-5C68BCB5488D}"/>
                </a:ext>
              </a:extLst>
            </p:cNvPr>
            <p:cNvSpPr/>
            <p:nvPr/>
          </p:nvSpPr>
          <p:spPr>
            <a:xfrm>
              <a:off x="10183389" y="3353995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3" name="Freihandform: Form 802">
              <a:extLst>
                <a:ext uri="{FF2B5EF4-FFF2-40B4-BE49-F238E27FC236}">
                  <a16:creationId xmlns:a16="http://schemas.microsoft.com/office/drawing/2014/main" id="{F6211A3D-A1A5-5392-780B-EF8E82D2A949}"/>
                </a:ext>
              </a:extLst>
            </p:cNvPr>
            <p:cNvSpPr/>
            <p:nvPr/>
          </p:nvSpPr>
          <p:spPr>
            <a:xfrm>
              <a:off x="10187574" y="3353995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4" name="Freihandform: Form 803">
              <a:extLst>
                <a:ext uri="{FF2B5EF4-FFF2-40B4-BE49-F238E27FC236}">
                  <a16:creationId xmlns:a16="http://schemas.microsoft.com/office/drawing/2014/main" id="{76DDE905-5765-58C1-D01B-5E363AA7BD31}"/>
                </a:ext>
              </a:extLst>
            </p:cNvPr>
            <p:cNvSpPr/>
            <p:nvPr/>
          </p:nvSpPr>
          <p:spPr>
            <a:xfrm>
              <a:off x="10214718" y="3353995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5" name="Freihandform: Form 804">
              <a:extLst>
                <a:ext uri="{FF2B5EF4-FFF2-40B4-BE49-F238E27FC236}">
                  <a16:creationId xmlns:a16="http://schemas.microsoft.com/office/drawing/2014/main" id="{C1698E8A-3406-46F8-5D1F-06884B160683}"/>
                </a:ext>
              </a:extLst>
            </p:cNvPr>
            <p:cNvSpPr/>
            <p:nvPr/>
          </p:nvSpPr>
          <p:spPr>
            <a:xfrm>
              <a:off x="10214718" y="3353995"/>
              <a:ext cx="41095" cy="29553"/>
            </a:xfrm>
            <a:custGeom>
              <a:avLst/>
              <a:gdLst>
                <a:gd name="connsiteX0" fmla="*/ 0 w 41095"/>
                <a:gd name="connsiteY0" fmla="*/ 19787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787 h 29553"/>
                <a:gd name="connsiteX8" fmla="*/ 27397 w 41095"/>
                <a:gd name="connsiteY8" fmla="*/ 19787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787 h 29553"/>
                <a:gd name="connsiteX12" fmla="*/ 0 w 41095"/>
                <a:gd name="connsiteY12" fmla="*/ 19787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787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787"/>
                  </a:lnTo>
                  <a:lnTo>
                    <a:pt x="27397" y="19787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787"/>
                  </a:lnTo>
                  <a:lnTo>
                    <a:pt x="0" y="19787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6" name="Freihandform: Form 805">
              <a:extLst>
                <a:ext uri="{FF2B5EF4-FFF2-40B4-BE49-F238E27FC236}">
                  <a16:creationId xmlns:a16="http://schemas.microsoft.com/office/drawing/2014/main" id="{F4C5289D-2E4A-14F6-496C-4AAC9B6E850A}"/>
                </a:ext>
              </a:extLst>
            </p:cNvPr>
            <p:cNvSpPr/>
            <p:nvPr/>
          </p:nvSpPr>
          <p:spPr>
            <a:xfrm>
              <a:off x="10292215" y="3413354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7" name="Freihandform: Form 806">
              <a:extLst>
                <a:ext uri="{FF2B5EF4-FFF2-40B4-BE49-F238E27FC236}">
                  <a16:creationId xmlns:a16="http://schemas.microsoft.com/office/drawing/2014/main" id="{C934136F-608C-35E7-3C8A-99ECD489F43F}"/>
                </a:ext>
              </a:extLst>
            </p:cNvPr>
            <p:cNvSpPr/>
            <p:nvPr/>
          </p:nvSpPr>
          <p:spPr>
            <a:xfrm>
              <a:off x="10396856" y="3413354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8" name="Freihandform: Form 807">
              <a:extLst>
                <a:ext uri="{FF2B5EF4-FFF2-40B4-BE49-F238E27FC236}">
                  <a16:creationId xmlns:a16="http://schemas.microsoft.com/office/drawing/2014/main" id="{8C582370-F8F7-9713-668E-C130EEAF7E11}"/>
                </a:ext>
              </a:extLst>
            </p:cNvPr>
            <p:cNvSpPr/>
            <p:nvPr/>
          </p:nvSpPr>
          <p:spPr>
            <a:xfrm>
              <a:off x="10642920" y="3413354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9 w 41095"/>
                <a:gd name="connsiteY2" fmla="*/ 9893 h 29553"/>
                <a:gd name="connsiteX3" fmla="*/ 13699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6 w 41095"/>
                <a:gd name="connsiteY6" fmla="*/ 9893 h 29553"/>
                <a:gd name="connsiteX7" fmla="*/ 41096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9 w 41095"/>
                <a:gd name="connsiteY10" fmla="*/ 29553 h 29553"/>
                <a:gd name="connsiteX11" fmla="*/ 13699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9" y="9893"/>
                  </a:lnTo>
                  <a:lnTo>
                    <a:pt x="13699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6" y="9893"/>
                  </a:lnTo>
                  <a:lnTo>
                    <a:pt x="41096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9" y="29553"/>
                  </a:lnTo>
                  <a:lnTo>
                    <a:pt x="13699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9" name="Freihandform: Form 808">
              <a:extLst>
                <a:ext uri="{FF2B5EF4-FFF2-40B4-BE49-F238E27FC236}">
                  <a16:creationId xmlns:a16="http://schemas.microsoft.com/office/drawing/2014/main" id="{8C647A68-B898-155E-1208-C4D5ED68E86A}"/>
                </a:ext>
              </a:extLst>
            </p:cNvPr>
            <p:cNvSpPr/>
            <p:nvPr/>
          </p:nvSpPr>
          <p:spPr>
            <a:xfrm>
              <a:off x="10808696" y="3413354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8 w 41095"/>
                <a:gd name="connsiteY2" fmla="*/ 9893 h 29553"/>
                <a:gd name="connsiteX3" fmla="*/ 13698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5 w 41095"/>
                <a:gd name="connsiteY6" fmla="*/ 9893 h 29553"/>
                <a:gd name="connsiteX7" fmla="*/ 41095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8 w 41095"/>
                <a:gd name="connsiteY10" fmla="*/ 29553 h 29553"/>
                <a:gd name="connsiteX11" fmla="*/ 13698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8" y="9893"/>
                  </a:lnTo>
                  <a:lnTo>
                    <a:pt x="13698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5" y="9893"/>
                  </a:lnTo>
                  <a:lnTo>
                    <a:pt x="41095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8" y="29553"/>
                  </a:lnTo>
                  <a:lnTo>
                    <a:pt x="13698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10" name="Freihandform: Form 809">
              <a:extLst>
                <a:ext uri="{FF2B5EF4-FFF2-40B4-BE49-F238E27FC236}">
                  <a16:creationId xmlns:a16="http://schemas.microsoft.com/office/drawing/2014/main" id="{832F97CF-9C87-CBCF-7A37-19771EA2CBF0}"/>
                </a:ext>
              </a:extLst>
            </p:cNvPr>
            <p:cNvSpPr/>
            <p:nvPr/>
          </p:nvSpPr>
          <p:spPr>
            <a:xfrm>
              <a:off x="10833176" y="3413354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9 w 41095"/>
                <a:gd name="connsiteY2" fmla="*/ 9893 h 29553"/>
                <a:gd name="connsiteX3" fmla="*/ 13699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6 w 41095"/>
                <a:gd name="connsiteY6" fmla="*/ 9893 h 29553"/>
                <a:gd name="connsiteX7" fmla="*/ 41096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9 w 41095"/>
                <a:gd name="connsiteY10" fmla="*/ 29553 h 29553"/>
                <a:gd name="connsiteX11" fmla="*/ 13699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9" y="9893"/>
                  </a:lnTo>
                  <a:lnTo>
                    <a:pt x="13699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6" y="9893"/>
                  </a:lnTo>
                  <a:lnTo>
                    <a:pt x="41096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9" y="29553"/>
                  </a:lnTo>
                  <a:lnTo>
                    <a:pt x="13699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11" name="Freihandform: Form 810">
              <a:extLst>
                <a:ext uri="{FF2B5EF4-FFF2-40B4-BE49-F238E27FC236}">
                  <a16:creationId xmlns:a16="http://schemas.microsoft.com/office/drawing/2014/main" id="{A13C9C00-567C-E052-448C-5D9512957DB1}"/>
                </a:ext>
              </a:extLst>
            </p:cNvPr>
            <p:cNvSpPr/>
            <p:nvPr/>
          </p:nvSpPr>
          <p:spPr>
            <a:xfrm>
              <a:off x="10914732" y="3413354"/>
              <a:ext cx="41095" cy="29553"/>
            </a:xfrm>
            <a:custGeom>
              <a:avLst/>
              <a:gdLst>
                <a:gd name="connsiteX0" fmla="*/ 0 w 41095"/>
                <a:gd name="connsiteY0" fmla="*/ 19660 h 29553"/>
                <a:gd name="connsiteX1" fmla="*/ 0 w 41095"/>
                <a:gd name="connsiteY1" fmla="*/ 9893 h 29553"/>
                <a:gd name="connsiteX2" fmla="*/ 13699 w 41095"/>
                <a:gd name="connsiteY2" fmla="*/ 9893 h 29553"/>
                <a:gd name="connsiteX3" fmla="*/ 13699 w 41095"/>
                <a:gd name="connsiteY3" fmla="*/ 0 h 29553"/>
                <a:gd name="connsiteX4" fmla="*/ 27397 w 41095"/>
                <a:gd name="connsiteY4" fmla="*/ 0 h 29553"/>
                <a:gd name="connsiteX5" fmla="*/ 27397 w 41095"/>
                <a:gd name="connsiteY5" fmla="*/ 9893 h 29553"/>
                <a:gd name="connsiteX6" fmla="*/ 41096 w 41095"/>
                <a:gd name="connsiteY6" fmla="*/ 9893 h 29553"/>
                <a:gd name="connsiteX7" fmla="*/ 41096 w 41095"/>
                <a:gd name="connsiteY7" fmla="*/ 19660 h 29553"/>
                <a:gd name="connsiteX8" fmla="*/ 27397 w 41095"/>
                <a:gd name="connsiteY8" fmla="*/ 19660 h 29553"/>
                <a:gd name="connsiteX9" fmla="*/ 27397 w 41095"/>
                <a:gd name="connsiteY9" fmla="*/ 29553 h 29553"/>
                <a:gd name="connsiteX10" fmla="*/ 13699 w 41095"/>
                <a:gd name="connsiteY10" fmla="*/ 29553 h 29553"/>
                <a:gd name="connsiteX11" fmla="*/ 13699 w 41095"/>
                <a:gd name="connsiteY11" fmla="*/ 19660 h 29553"/>
                <a:gd name="connsiteX12" fmla="*/ 0 w 41095"/>
                <a:gd name="connsiteY12" fmla="*/ 19660 h 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095" h="29553">
                  <a:moveTo>
                    <a:pt x="0" y="19660"/>
                  </a:moveTo>
                  <a:lnTo>
                    <a:pt x="0" y="9893"/>
                  </a:lnTo>
                  <a:lnTo>
                    <a:pt x="13699" y="9893"/>
                  </a:lnTo>
                  <a:lnTo>
                    <a:pt x="13699" y="0"/>
                  </a:lnTo>
                  <a:lnTo>
                    <a:pt x="27397" y="0"/>
                  </a:lnTo>
                  <a:lnTo>
                    <a:pt x="27397" y="9893"/>
                  </a:lnTo>
                  <a:lnTo>
                    <a:pt x="41096" y="9893"/>
                  </a:lnTo>
                  <a:lnTo>
                    <a:pt x="41096" y="19660"/>
                  </a:lnTo>
                  <a:lnTo>
                    <a:pt x="27397" y="19660"/>
                  </a:lnTo>
                  <a:lnTo>
                    <a:pt x="27397" y="29553"/>
                  </a:lnTo>
                  <a:lnTo>
                    <a:pt x="13699" y="29553"/>
                  </a:lnTo>
                  <a:lnTo>
                    <a:pt x="13699" y="19660"/>
                  </a:lnTo>
                  <a:lnTo>
                    <a:pt x="0" y="19660"/>
                  </a:lnTo>
                  <a:close/>
                </a:path>
              </a:pathLst>
            </a:custGeom>
            <a:solidFill>
              <a:schemeClr val="accent6"/>
            </a:solidFill>
            <a:ln w="126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812" name="Grafik 331">
            <a:extLst>
              <a:ext uri="{FF2B5EF4-FFF2-40B4-BE49-F238E27FC236}">
                <a16:creationId xmlns:a16="http://schemas.microsoft.com/office/drawing/2014/main" id="{6FEAA482-5994-B02A-D106-FC2BF65CD4FC}"/>
              </a:ext>
            </a:extLst>
          </p:cNvPr>
          <p:cNvGrpSpPr/>
          <p:nvPr/>
        </p:nvGrpSpPr>
        <p:grpSpPr>
          <a:xfrm>
            <a:off x="6952845" y="1541381"/>
            <a:ext cx="4340750" cy="2179190"/>
            <a:chOff x="6952845" y="1672007"/>
            <a:chExt cx="4340750" cy="2179190"/>
          </a:xfrm>
        </p:grpSpPr>
        <p:sp>
          <p:nvSpPr>
            <p:cNvPr id="813" name="Freihandform: Form 812">
              <a:extLst>
                <a:ext uri="{FF2B5EF4-FFF2-40B4-BE49-F238E27FC236}">
                  <a16:creationId xmlns:a16="http://schemas.microsoft.com/office/drawing/2014/main" id="{B6597F02-94DE-2E87-409C-C6945DC7C09B}"/>
                </a:ext>
              </a:extLst>
            </p:cNvPr>
            <p:cNvSpPr/>
            <p:nvPr/>
          </p:nvSpPr>
          <p:spPr>
            <a:xfrm>
              <a:off x="6991276" y="3823546"/>
              <a:ext cx="4302318" cy="12683"/>
            </a:xfrm>
            <a:custGeom>
              <a:avLst/>
              <a:gdLst>
                <a:gd name="connsiteX0" fmla="*/ 0 w 4302318"/>
                <a:gd name="connsiteY0" fmla="*/ 0 h 12683"/>
                <a:gd name="connsiteX1" fmla="*/ 4302319 w 4302318"/>
                <a:gd name="connsiteY1" fmla="*/ 0 h 12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02318" h="12683">
                  <a:moveTo>
                    <a:pt x="0" y="0"/>
                  </a:moveTo>
                  <a:lnTo>
                    <a:pt x="4302319" y="0"/>
                  </a:lnTo>
                </a:path>
              </a:pathLst>
            </a:custGeom>
            <a:ln w="10138" cap="flat">
              <a:solidFill>
                <a:srgbClr val="A7A8AA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14" name="Freihandform: Form 813">
              <a:extLst>
                <a:ext uri="{FF2B5EF4-FFF2-40B4-BE49-F238E27FC236}">
                  <a16:creationId xmlns:a16="http://schemas.microsoft.com/office/drawing/2014/main" id="{45BA0DC7-216E-6F30-9E16-AAF895356136}"/>
                </a:ext>
              </a:extLst>
            </p:cNvPr>
            <p:cNvSpPr/>
            <p:nvPr/>
          </p:nvSpPr>
          <p:spPr>
            <a:xfrm>
              <a:off x="7121284" y="3823546"/>
              <a:ext cx="12683" cy="27523"/>
            </a:xfrm>
            <a:custGeom>
              <a:avLst/>
              <a:gdLst>
                <a:gd name="connsiteX0" fmla="*/ 0 w 12683"/>
                <a:gd name="connsiteY0" fmla="*/ 0 h 27523"/>
                <a:gd name="connsiteX1" fmla="*/ 0 w 12683"/>
                <a:gd name="connsiteY1" fmla="*/ 27524 h 27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83" h="27523">
                  <a:moveTo>
                    <a:pt x="0" y="0"/>
                  </a:moveTo>
                  <a:lnTo>
                    <a:pt x="0" y="27524"/>
                  </a:lnTo>
                </a:path>
              </a:pathLst>
            </a:custGeom>
            <a:ln w="10138" cap="flat">
              <a:solidFill>
                <a:srgbClr val="A7A8AA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15" name="Freihandform: Form 814">
              <a:extLst>
                <a:ext uri="{FF2B5EF4-FFF2-40B4-BE49-F238E27FC236}">
                  <a16:creationId xmlns:a16="http://schemas.microsoft.com/office/drawing/2014/main" id="{EA018FCA-3493-AEFF-AD52-CB904B0AB7A7}"/>
                </a:ext>
              </a:extLst>
            </p:cNvPr>
            <p:cNvSpPr/>
            <p:nvPr/>
          </p:nvSpPr>
          <p:spPr>
            <a:xfrm>
              <a:off x="7369124" y="3823546"/>
              <a:ext cx="12683" cy="27523"/>
            </a:xfrm>
            <a:custGeom>
              <a:avLst/>
              <a:gdLst>
                <a:gd name="connsiteX0" fmla="*/ 0 w 12683"/>
                <a:gd name="connsiteY0" fmla="*/ 0 h 27523"/>
                <a:gd name="connsiteX1" fmla="*/ 0 w 12683"/>
                <a:gd name="connsiteY1" fmla="*/ 27524 h 27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83" h="27523">
                  <a:moveTo>
                    <a:pt x="0" y="0"/>
                  </a:moveTo>
                  <a:lnTo>
                    <a:pt x="0" y="27524"/>
                  </a:lnTo>
                </a:path>
              </a:pathLst>
            </a:custGeom>
            <a:ln w="10138" cap="flat">
              <a:solidFill>
                <a:srgbClr val="A7A8AA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16" name="Freihandform: Form 815">
              <a:extLst>
                <a:ext uri="{FF2B5EF4-FFF2-40B4-BE49-F238E27FC236}">
                  <a16:creationId xmlns:a16="http://schemas.microsoft.com/office/drawing/2014/main" id="{77E40FD3-D3C2-0CF6-3812-6E2B5A76CAE6}"/>
                </a:ext>
              </a:extLst>
            </p:cNvPr>
            <p:cNvSpPr/>
            <p:nvPr/>
          </p:nvSpPr>
          <p:spPr>
            <a:xfrm>
              <a:off x="7617091" y="3823546"/>
              <a:ext cx="12683" cy="27523"/>
            </a:xfrm>
            <a:custGeom>
              <a:avLst/>
              <a:gdLst>
                <a:gd name="connsiteX0" fmla="*/ 0 w 12683"/>
                <a:gd name="connsiteY0" fmla="*/ 0 h 27523"/>
                <a:gd name="connsiteX1" fmla="*/ 0 w 12683"/>
                <a:gd name="connsiteY1" fmla="*/ 27524 h 27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83" h="27523">
                  <a:moveTo>
                    <a:pt x="0" y="0"/>
                  </a:moveTo>
                  <a:lnTo>
                    <a:pt x="0" y="27524"/>
                  </a:lnTo>
                </a:path>
              </a:pathLst>
            </a:custGeom>
            <a:ln w="10138" cap="flat">
              <a:solidFill>
                <a:srgbClr val="A7A8AA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17" name="Freihandform: Form 816">
              <a:extLst>
                <a:ext uri="{FF2B5EF4-FFF2-40B4-BE49-F238E27FC236}">
                  <a16:creationId xmlns:a16="http://schemas.microsoft.com/office/drawing/2014/main" id="{087587E6-6C94-EE97-401C-591DBDCE74D2}"/>
                </a:ext>
              </a:extLst>
            </p:cNvPr>
            <p:cNvSpPr/>
            <p:nvPr/>
          </p:nvSpPr>
          <p:spPr>
            <a:xfrm>
              <a:off x="7864931" y="3823546"/>
              <a:ext cx="12683" cy="27523"/>
            </a:xfrm>
            <a:custGeom>
              <a:avLst/>
              <a:gdLst>
                <a:gd name="connsiteX0" fmla="*/ 0 w 12683"/>
                <a:gd name="connsiteY0" fmla="*/ 0 h 27523"/>
                <a:gd name="connsiteX1" fmla="*/ 0 w 12683"/>
                <a:gd name="connsiteY1" fmla="*/ 27524 h 27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83" h="27523">
                  <a:moveTo>
                    <a:pt x="0" y="0"/>
                  </a:moveTo>
                  <a:lnTo>
                    <a:pt x="0" y="27524"/>
                  </a:lnTo>
                </a:path>
              </a:pathLst>
            </a:custGeom>
            <a:ln w="10138" cap="flat">
              <a:solidFill>
                <a:srgbClr val="A7A8AA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18" name="Freihandform: Form 817">
              <a:extLst>
                <a:ext uri="{FF2B5EF4-FFF2-40B4-BE49-F238E27FC236}">
                  <a16:creationId xmlns:a16="http://schemas.microsoft.com/office/drawing/2014/main" id="{B2606EA6-5445-4D20-46FC-63E57BC25A14}"/>
                </a:ext>
              </a:extLst>
            </p:cNvPr>
            <p:cNvSpPr/>
            <p:nvPr/>
          </p:nvSpPr>
          <p:spPr>
            <a:xfrm>
              <a:off x="8112898" y="3823546"/>
              <a:ext cx="12683" cy="27523"/>
            </a:xfrm>
            <a:custGeom>
              <a:avLst/>
              <a:gdLst>
                <a:gd name="connsiteX0" fmla="*/ 0 w 12683"/>
                <a:gd name="connsiteY0" fmla="*/ 0 h 27523"/>
                <a:gd name="connsiteX1" fmla="*/ 0 w 12683"/>
                <a:gd name="connsiteY1" fmla="*/ 27524 h 27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83" h="27523">
                  <a:moveTo>
                    <a:pt x="0" y="0"/>
                  </a:moveTo>
                  <a:lnTo>
                    <a:pt x="0" y="27524"/>
                  </a:lnTo>
                </a:path>
              </a:pathLst>
            </a:custGeom>
            <a:ln w="10138" cap="flat">
              <a:solidFill>
                <a:srgbClr val="A7A8AA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19" name="Freihandform: Form 818">
              <a:extLst>
                <a:ext uri="{FF2B5EF4-FFF2-40B4-BE49-F238E27FC236}">
                  <a16:creationId xmlns:a16="http://schemas.microsoft.com/office/drawing/2014/main" id="{E05EF0AA-B9C0-4310-C692-9D8E14C80A79}"/>
                </a:ext>
              </a:extLst>
            </p:cNvPr>
            <p:cNvSpPr/>
            <p:nvPr/>
          </p:nvSpPr>
          <p:spPr>
            <a:xfrm>
              <a:off x="8360865" y="3823546"/>
              <a:ext cx="12683" cy="27523"/>
            </a:xfrm>
            <a:custGeom>
              <a:avLst/>
              <a:gdLst>
                <a:gd name="connsiteX0" fmla="*/ 0 w 12683"/>
                <a:gd name="connsiteY0" fmla="*/ 0 h 27523"/>
                <a:gd name="connsiteX1" fmla="*/ 0 w 12683"/>
                <a:gd name="connsiteY1" fmla="*/ 27524 h 27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83" h="27523">
                  <a:moveTo>
                    <a:pt x="0" y="0"/>
                  </a:moveTo>
                  <a:lnTo>
                    <a:pt x="0" y="27524"/>
                  </a:lnTo>
                </a:path>
              </a:pathLst>
            </a:custGeom>
            <a:ln w="10138" cap="flat">
              <a:solidFill>
                <a:srgbClr val="A7A8AA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20" name="Freihandform: Form 819">
              <a:extLst>
                <a:ext uri="{FF2B5EF4-FFF2-40B4-BE49-F238E27FC236}">
                  <a16:creationId xmlns:a16="http://schemas.microsoft.com/office/drawing/2014/main" id="{0BDC4270-67A7-4585-6DB1-7A63E4CCCA3B}"/>
                </a:ext>
              </a:extLst>
            </p:cNvPr>
            <p:cNvSpPr/>
            <p:nvPr/>
          </p:nvSpPr>
          <p:spPr>
            <a:xfrm>
              <a:off x="8608704" y="3823546"/>
              <a:ext cx="12683" cy="27523"/>
            </a:xfrm>
            <a:custGeom>
              <a:avLst/>
              <a:gdLst>
                <a:gd name="connsiteX0" fmla="*/ 0 w 12683"/>
                <a:gd name="connsiteY0" fmla="*/ 0 h 27523"/>
                <a:gd name="connsiteX1" fmla="*/ 0 w 12683"/>
                <a:gd name="connsiteY1" fmla="*/ 27524 h 27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83" h="27523">
                  <a:moveTo>
                    <a:pt x="0" y="0"/>
                  </a:moveTo>
                  <a:lnTo>
                    <a:pt x="0" y="27524"/>
                  </a:lnTo>
                </a:path>
              </a:pathLst>
            </a:custGeom>
            <a:ln w="10138" cap="flat">
              <a:solidFill>
                <a:srgbClr val="A7A8AA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21" name="Freihandform: Form 820">
              <a:extLst>
                <a:ext uri="{FF2B5EF4-FFF2-40B4-BE49-F238E27FC236}">
                  <a16:creationId xmlns:a16="http://schemas.microsoft.com/office/drawing/2014/main" id="{2BB5657C-C422-D238-24F9-FF66DD52365D}"/>
                </a:ext>
              </a:extLst>
            </p:cNvPr>
            <p:cNvSpPr/>
            <p:nvPr/>
          </p:nvSpPr>
          <p:spPr>
            <a:xfrm>
              <a:off x="8856671" y="3823546"/>
              <a:ext cx="12683" cy="27523"/>
            </a:xfrm>
            <a:custGeom>
              <a:avLst/>
              <a:gdLst>
                <a:gd name="connsiteX0" fmla="*/ 0 w 12683"/>
                <a:gd name="connsiteY0" fmla="*/ 0 h 27523"/>
                <a:gd name="connsiteX1" fmla="*/ 0 w 12683"/>
                <a:gd name="connsiteY1" fmla="*/ 27524 h 27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83" h="27523">
                  <a:moveTo>
                    <a:pt x="0" y="0"/>
                  </a:moveTo>
                  <a:lnTo>
                    <a:pt x="0" y="27524"/>
                  </a:lnTo>
                </a:path>
              </a:pathLst>
            </a:custGeom>
            <a:ln w="10138" cap="flat">
              <a:solidFill>
                <a:srgbClr val="A7A8AA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22" name="Freihandform: Form 821">
              <a:extLst>
                <a:ext uri="{FF2B5EF4-FFF2-40B4-BE49-F238E27FC236}">
                  <a16:creationId xmlns:a16="http://schemas.microsoft.com/office/drawing/2014/main" id="{E9CBEA8E-226C-1D1B-11F7-B060F1DD191D}"/>
                </a:ext>
              </a:extLst>
            </p:cNvPr>
            <p:cNvSpPr/>
            <p:nvPr/>
          </p:nvSpPr>
          <p:spPr>
            <a:xfrm>
              <a:off x="9104638" y="3823546"/>
              <a:ext cx="12683" cy="27523"/>
            </a:xfrm>
            <a:custGeom>
              <a:avLst/>
              <a:gdLst>
                <a:gd name="connsiteX0" fmla="*/ 0 w 12683"/>
                <a:gd name="connsiteY0" fmla="*/ 0 h 27523"/>
                <a:gd name="connsiteX1" fmla="*/ 0 w 12683"/>
                <a:gd name="connsiteY1" fmla="*/ 27524 h 27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83" h="27523">
                  <a:moveTo>
                    <a:pt x="0" y="0"/>
                  </a:moveTo>
                  <a:lnTo>
                    <a:pt x="0" y="27524"/>
                  </a:lnTo>
                </a:path>
              </a:pathLst>
            </a:custGeom>
            <a:ln w="10138" cap="flat">
              <a:solidFill>
                <a:srgbClr val="A7A8AA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23" name="Freihandform: Form 822">
              <a:extLst>
                <a:ext uri="{FF2B5EF4-FFF2-40B4-BE49-F238E27FC236}">
                  <a16:creationId xmlns:a16="http://schemas.microsoft.com/office/drawing/2014/main" id="{5F726F4D-5DE6-034E-CAE3-1DF9667A8569}"/>
                </a:ext>
              </a:extLst>
            </p:cNvPr>
            <p:cNvSpPr/>
            <p:nvPr/>
          </p:nvSpPr>
          <p:spPr>
            <a:xfrm>
              <a:off x="9352605" y="3823546"/>
              <a:ext cx="12683" cy="27523"/>
            </a:xfrm>
            <a:custGeom>
              <a:avLst/>
              <a:gdLst>
                <a:gd name="connsiteX0" fmla="*/ 0 w 12683"/>
                <a:gd name="connsiteY0" fmla="*/ 0 h 27523"/>
                <a:gd name="connsiteX1" fmla="*/ 0 w 12683"/>
                <a:gd name="connsiteY1" fmla="*/ 27524 h 27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83" h="27523">
                  <a:moveTo>
                    <a:pt x="0" y="0"/>
                  </a:moveTo>
                  <a:lnTo>
                    <a:pt x="0" y="27524"/>
                  </a:lnTo>
                </a:path>
              </a:pathLst>
            </a:custGeom>
            <a:ln w="10138" cap="flat">
              <a:solidFill>
                <a:srgbClr val="A7A8AA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24" name="Freihandform: Form 823">
              <a:extLst>
                <a:ext uri="{FF2B5EF4-FFF2-40B4-BE49-F238E27FC236}">
                  <a16:creationId xmlns:a16="http://schemas.microsoft.com/office/drawing/2014/main" id="{5DE5165A-2C8D-F21C-6290-4789362D7127}"/>
                </a:ext>
              </a:extLst>
            </p:cNvPr>
            <p:cNvSpPr/>
            <p:nvPr/>
          </p:nvSpPr>
          <p:spPr>
            <a:xfrm>
              <a:off x="9600445" y="3823546"/>
              <a:ext cx="12683" cy="27523"/>
            </a:xfrm>
            <a:custGeom>
              <a:avLst/>
              <a:gdLst>
                <a:gd name="connsiteX0" fmla="*/ 0 w 12683"/>
                <a:gd name="connsiteY0" fmla="*/ 0 h 27523"/>
                <a:gd name="connsiteX1" fmla="*/ 0 w 12683"/>
                <a:gd name="connsiteY1" fmla="*/ 27524 h 27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83" h="27523">
                  <a:moveTo>
                    <a:pt x="0" y="0"/>
                  </a:moveTo>
                  <a:lnTo>
                    <a:pt x="0" y="27524"/>
                  </a:lnTo>
                </a:path>
              </a:pathLst>
            </a:custGeom>
            <a:ln w="10138" cap="flat">
              <a:solidFill>
                <a:srgbClr val="A7A8AA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25" name="Freihandform: Form 824">
              <a:extLst>
                <a:ext uri="{FF2B5EF4-FFF2-40B4-BE49-F238E27FC236}">
                  <a16:creationId xmlns:a16="http://schemas.microsoft.com/office/drawing/2014/main" id="{F35C0D23-0F94-AC0D-D17E-71CA86472F55}"/>
                </a:ext>
              </a:extLst>
            </p:cNvPr>
            <p:cNvSpPr/>
            <p:nvPr/>
          </p:nvSpPr>
          <p:spPr>
            <a:xfrm>
              <a:off x="9848411" y="3823546"/>
              <a:ext cx="12683" cy="27523"/>
            </a:xfrm>
            <a:custGeom>
              <a:avLst/>
              <a:gdLst>
                <a:gd name="connsiteX0" fmla="*/ 0 w 12683"/>
                <a:gd name="connsiteY0" fmla="*/ 0 h 27523"/>
                <a:gd name="connsiteX1" fmla="*/ 0 w 12683"/>
                <a:gd name="connsiteY1" fmla="*/ 27524 h 27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83" h="27523">
                  <a:moveTo>
                    <a:pt x="0" y="0"/>
                  </a:moveTo>
                  <a:lnTo>
                    <a:pt x="0" y="27524"/>
                  </a:lnTo>
                </a:path>
              </a:pathLst>
            </a:custGeom>
            <a:ln w="10138" cap="flat">
              <a:solidFill>
                <a:srgbClr val="A7A8AA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26" name="Freihandform: Form 825">
              <a:extLst>
                <a:ext uri="{FF2B5EF4-FFF2-40B4-BE49-F238E27FC236}">
                  <a16:creationId xmlns:a16="http://schemas.microsoft.com/office/drawing/2014/main" id="{27499030-6E8B-F7E5-E8F3-7ECCA39F001A}"/>
                </a:ext>
              </a:extLst>
            </p:cNvPr>
            <p:cNvSpPr/>
            <p:nvPr/>
          </p:nvSpPr>
          <p:spPr>
            <a:xfrm>
              <a:off x="10096251" y="3823546"/>
              <a:ext cx="12683" cy="27523"/>
            </a:xfrm>
            <a:custGeom>
              <a:avLst/>
              <a:gdLst>
                <a:gd name="connsiteX0" fmla="*/ 0 w 12683"/>
                <a:gd name="connsiteY0" fmla="*/ 0 h 27523"/>
                <a:gd name="connsiteX1" fmla="*/ 0 w 12683"/>
                <a:gd name="connsiteY1" fmla="*/ 27524 h 27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83" h="27523">
                  <a:moveTo>
                    <a:pt x="0" y="0"/>
                  </a:moveTo>
                  <a:lnTo>
                    <a:pt x="0" y="27524"/>
                  </a:lnTo>
                </a:path>
              </a:pathLst>
            </a:custGeom>
            <a:ln w="10138" cap="flat">
              <a:solidFill>
                <a:srgbClr val="A7A8AA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27" name="Freihandform: Form 826">
              <a:extLst>
                <a:ext uri="{FF2B5EF4-FFF2-40B4-BE49-F238E27FC236}">
                  <a16:creationId xmlns:a16="http://schemas.microsoft.com/office/drawing/2014/main" id="{32C209DD-D3FC-96E3-968C-0F73C54741E3}"/>
                </a:ext>
              </a:extLst>
            </p:cNvPr>
            <p:cNvSpPr/>
            <p:nvPr/>
          </p:nvSpPr>
          <p:spPr>
            <a:xfrm>
              <a:off x="10344218" y="3823546"/>
              <a:ext cx="12683" cy="27523"/>
            </a:xfrm>
            <a:custGeom>
              <a:avLst/>
              <a:gdLst>
                <a:gd name="connsiteX0" fmla="*/ 0 w 12683"/>
                <a:gd name="connsiteY0" fmla="*/ 0 h 27523"/>
                <a:gd name="connsiteX1" fmla="*/ 0 w 12683"/>
                <a:gd name="connsiteY1" fmla="*/ 27524 h 27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83" h="27523">
                  <a:moveTo>
                    <a:pt x="0" y="0"/>
                  </a:moveTo>
                  <a:lnTo>
                    <a:pt x="0" y="27524"/>
                  </a:lnTo>
                </a:path>
              </a:pathLst>
            </a:custGeom>
            <a:ln w="10138" cap="flat">
              <a:solidFill>
                <a:srgbClr val="A7A8AA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28" name="Freihandform: Form 827">
              <a:extLst>
                <a:ext uri="{FF2B5EF4-FFF2-40B4-BE49-F238E27FC236}">
                  <a16:creationId xmlns:a16="http://schemas.microsoft.com/office/drawing/2014/main" id="{B915F1FD-F65A-3C44-FC82-12BBC2DD775E}"/>
                </a:ext>
              </a:extLst>
            </p:cNvPr>
            <p:cNvSpPr/>
            <p:nvPr/>
          </p:nvSpPr>
          <p:spPr>
            <a:xfrm>
              <a:off x="10592185" y="3823546"/>
              <a:ext cx="12683" cy="27523"/>
            </a:xfrm>
            <a:custGeom>
              <a:avLst/>
              <a:gdLst>
                <a:gd name="connsiteX0" fmla="*/ 0 w 12683"/>
                <a:gd name="connsiteY0" fmla="*/ 0 h 27523"/>
                <a:gd name="connsiteX1" fmla="*/ 0 w 12683"/>
                <a:gd name="connsiteY1" fmla="*/ 27524 h 27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83" h="27523">
                  <a:moveTo>
                    <a:pt x="0" y="0"/>
                  </a:moveTo>
                  <a:lnTo>
                    <a:pt x="0" y="27524"/>
                  </a:lnTo>
                </a:path>
              </a:pathLst>
            </a:custGeom>
            <a:ln w="10138" cap="flat">
              <a:solidFill>
                <a:srgbClr val="A7A8AA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29" name="Freihandform: Form 828">
              <a:extLst>
                <a:ext uri="{FF2B5EF4-FFF2-40B4-BE49-F238E27FC236}">
                  <a16:creationId xmlns:a16="http://schemas.microsoft.com/office/drawing/2014/main" id="{77949C81-97BA-016A-7402-6D1092299C6B}"/>
                </a:ext>
              </a:extLst>
            </p:cNvPr>
            <p:cNvSpPr/>
            <p:nvPr/>
          </p:nvSpPr>
          <p:spPr>
            <a:xfrm>
              <a:off x="10840152" y="3823546"/>
              <a:ext cx="12683" cy="27650"/>
            </a:xfrm>
            <a:custGeom>
              <a:avLst/>
              <a:gdLst>
                <a:gd name="connsiteX0" fmla="*/ 0 w 12683"/>
                <a:gd name="connsiteY0" fmla="*/ 0 h 27650"/>
                <a:gd name="connsiteX1" fmla="*/ 0 w 12683"/>
                <a:gd name="connsiteY1" fmla="*/ 27650 h 2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83" h="27650">
                  <a:moveTo>
                    <a:pt x="0" y="0"/>
                  </a:moveTo>
                  <a:lnTo>
                    <a:pt x="0" y="27650"/>
                  </a:lnTo>
                </a:path>
              </a:pathLst>
            </a:custGeom>
            <a:ln w="10138" cap="flat">
              <a:solidFill>
                <a:srgbClr val="A7A8AA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30" name="Freihandform: Form 829">
              <a:extLst>
                <a:ext uri="{FF2B5EF4-FFF2-40B4-BE49-F238E27FC236}">
                  <a16:creationId xmlns:a16="http://schemas.microsoft.com/office/drawing/2014/main" id="{FE7DE89D-9B48-ED13-B57C-D26681B510DB}"/>
                </a:ext>
              </a:extLst>
            </p:cNvPr>
            <p:cNvSpPr/>
            <p:nvPr/>
          </p:nvSpPr>
          <p:spPr>
            <a:xfrm>
              <a:off x="11088118" y="3823546"/>
              <a:ext cx="12683" cy="27650"/>
            </a:xfrm>
            <a:custGeom>
              <a:avLst/>
              <a:gdLst>
                <a:gd name="connsiteX0" fmla="*/ 0 w 12683"/>
                <a:gd name="connsiteY0" fmla="*/ 0 h 27650"/>
                <a:gd name="connsiteX1" fmla="*/ 0 w 12683"/>
                <a:gd name="connsiteY1" fmla="*/ 27650 h 2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83" h="27650">
                  <a:moveTo>
                    <a:pt x="0" y="0"/>
                  </a:moveTo>
                  <a:lnTo>
                    <a:pt x="0" y="27650"/>
                  </a:lnTo>
                </a:path>
              </a:pathLst>
            </a:custGeom>
            <a:ln w="10138" cap="flat">
              <a:solidFill>
                <a:srgbClr val="A7A8AA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31" name="Freihandform: Form 830">
              <a:extLst>
                <a:ext uri="{FF2B5EF4-FFF2-40B4-BE49-F238E27FC236}">
                  <a16:creationId xmlns:a16="http://schemas.microsoft.com/office/drawing/2014/main" id="{CE6D8A19-5A46-6601-7456-BDD7108FC9EE}"/>
                </a:ext>
              </a:extLst>
            </p:cNvPr>
            <p:cNvSpPr/>
            <p:nvPr/>
          </p:nvSpPr>
          <p:spPr>
            <a:xfrm>
              <a:off x="6991276" y="1672007"/>
              <a:ext cx="12683" cy="2151539"/>
            </a:xfrm>
            <a:custGeom>
              <a:avLst/>
              <a:gdLst>
                <a:gd name="connsiteX0" fmla="*/ 0 w 12683"/>
                <a:gd name="connsiteY0" fmla="*/ 2151540 h 2151539"/>
                <a:gd name="connsiteX1" fmla="*/ 0 w 12683"/>
                <a:gd name="connsiteY1" fmla="*/ 0 h 2151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83" h="2151539">
                  <a:moveTo>
                    <a:pt x="0" y="2151540"/>
                  </a:moveTo>
                  <a:lnTo>
                    <a:pt x="0" y="0"/>
                  </a:lnTo>
                </a:path>
              </a:pathLst>
            </a:custGeom>
            <a:ln w="10138" cap="flat">
              <a:solidFill>
                <a:srgbClr val="A7A8AA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32" name="Freihandform: Form 831">
              <a:extLst>
                <a:ext uri="{FF2B5EF4-FFF2-40B4-BE49-F238E27FC236}">
                  <a16:creationId xmlns:a16="http://schemas.microsoft.com/office/drawing/2014/main" id="{FCE6B1A2-082F-2A39-A1C9-0C5AC842EF35}"/>
                </a:ext>
              </a:extLst>
            </p:cNvPr>
            <p:cNvSpPr/>
            <p:nvPr/>
          </p:nvSpPr>
          <p:spPr>
            <a:xfrm>
              <a:off x="6952845" y="3784227"/>
              <a:ext cx="38431" cy="12683"/>
            </a:xfrm>
            <a:custGeom>
              <a:avLst/>
              <a:gdLst>
                <a:gd name="connsiteX0" fmla="*/ 38432 w 38431"/>
                <a:gd name="connsiteY0" fmla="*/ 0 h 12683"/>
                <a:gd name="connsiteX1" fmla="*/ 0 w 38431"/>
                <a:gd name="connsiteY1" fmla="*/ 0 h 12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431" h="12683">
                  <a:moveTo>
                    <a:pt x="38432" y="0"/>
                  </a:moveTo>
                  <a:lnTo>
                    <a:pt x="0" y="0"/>
                  </a:lnTo>
                </a:path>
              </a:pathLst>
            </a:custGeom>
            <a:ln w="10138" cap="flat">
              <a:solidFill>
                <a:srgbClr val="A7A8AA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33" name="Freihandform: Form 832">
              <a:extLst>
                <a:ext uri="{FF2B5EF4-FFF2-40B4-BE49-F238E27FC236}">
                  <a16:creationId xmlns:a16="http://schemas.microsoft.com/office/drawing/2014/main" id="{A4F57595-0FC3-EFC0-CDC0-A80A783BF8F5}"/>
                </a:ext>
              </a:extLst>
            </p:cNvPr>
            <p:cNvSpPr/>
            <p:nvPr/>
          </p:nvSpPr>
          <p:spPr>
            <a:xfrm>
              <a:off x="6952845" y="3576975"/>
              <a:ext cx="38431" cy="12683"/>
            </a:xfrm>
            <a:custGeom>
              <a:avLst/>
              <a:gdLst>
                <a:gd name="connsiteX0" fmla="*/ 38432 w 38431"/>
                <a:gd name="connsiteY0" fmla="*/ 0 h 12683"/>
                <a:gd name="connsiteX1" fmla="*/ 0 w 38431"/>
                <a:gd name="connsiteY1" fmla="*/ 0 h 12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431" h="12683">
                  <a:moveTo>
                    <a:pt x="38432" y="0"/>
                  </a:moveTo>
                  <a:lnTo>
                    <a:pt x="0" y="0"/>
                  </a:lnTo>
                </a:path>
              </a:pathLst>
            </a:custGeom>
            <a:ln w="10138" cap="flat">
              <a:solidFill>
                <a:srgbClr val="A7A8AA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34" name="Freihandform: Form 833">
              <a:extLst>
                <a:ext uri="{FF2B5EF4-FFF2-40B4-BE49-F238E27FC236}">
                  <a16:creationId xmlns:a16="http://schemas.microsoft.com/office/drawing/2014/main" id="{68770B0F-C416-FD22-3A69-256CEA811EA3}"/>
                </a:ext>
              </a:extLst>
            </p:cNvPr>
            <p:cNvSpPr/>
            <p:nvPr/>
          </p:nvSpPr>
          <p:spPr>
            <a:xfrm>
              <a:off x="6952845" y="3369723"/>
              <a:ext cx="38431" cy="12683"/>
            </a:xfrm>
            <a:custGeom>
              <a:avLst/>
              <a:gdLst>
                <a:gd name="connsiteX0" fmla="*/ 38432 w 38431"/>
                <a:gd name="connsiteY0" fmla="*/ 0 h 12683"/>
                <a:gd name="connsiteX1" fmla="*/ 0 w 38431"/>
                <a:gd name="connsiteY1" fmla="*/ 0 h 12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431" h="12683">
                  <a:moveTo>
                    <a:pt x="38432" y="0"/>
                  </a:moveTo>
                  <a:lnTo>
                    <a:pt x="0" y="0"/>
                  </a:lnTo>
                </a:path>
              </a:pathLst>
            </a:custGeom>
            <a:ln w="10138" cap="flat">
              <a:solidFill>
                <a:srgbClr val="A7A8AA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35" name="Freihandform: Form 834">
              <a:extLst>
                <a:ext uri="{FF2B5EF4-FFF2-40B4-BE49-F238E27FC236}">
                  <a16:creationId xmlns:a16="http://schemas.microsoft.com/office/drawing/2014/main" id="{0195D218-1BEA-8C7C-E2D6-B8AC1B6100DB}"/>
                </a:ext>
              </a:extLst>
            </p:cNvPr>
            <p:cNvSpPr/>
            <p:nvPr/>
          </p:nvSpPr>
          <p:spPr>
            <a:xfrm>
              <a:off x="6952845" y="3162344"/>
              <a:ext cx="38431" cy="12683"/>
            </a:xfrm>
            <a:custGeom>
              <a:avLst/>
              <a:gdLst>
                <a:gd name="connsiteX0" fmla="*/ 38432 w 38431"/>
                <a:gd name="connsiteY0" fmla="*/ 0 h 12683"/>
                <a:gd name="connsiteX1" fmla="*/ 0 w 38431"/>
                <a:gd name="connsiteY1" fmla="*/ 0 h 12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431" h="12683">
                  <a:moveTo>
                    <a:pt x="38432" y="0"/>
                  </a:moveTo>
                  <a:lnTo>
                    <a:pt x="0" y="0"/>
                  </a:lnTo>
                </a:path>
              </a:pathLst>
            </a:custGeom>
            <a:ln w="10138" cap="flat">
              <a:solidFill>
                <a:srgbClr val="A7A8AA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36" name="Freihandform: Form 835">
              <a:extLst>
                <a:ext uri="{FF2B5EF4-FFF2-40B4-BE49-F238E27FC236}">
                  <a16:creationId xmlns:a16="http://schemas.microsoft.com/office/drawing/2014/main" id="{05FC70EE-FE4D-9CF7-C015-598D8822CD7E}"/>
                </a:ext>
              </a:extLst>
            </p:cNvPr>
            <p:cNvSpPr/>
            <p:nvPr/>
          </p:nvSpPr>
          <p:spPr>
            <a:xfrm>
              <a:off x="6952845" y="2955092"/>
              <a:ext cx="38431" cy="12683"/>
            </a:xfrm>
            <a:custGeom>
              <a:avLst/>
              <a:gdLst>
                <a:gd name="connsiteX0" fmla="*/ 38432 w 38431"/>
                <a:gd name="connsiteY0" fmla="*/ 0 h 12683"/>
                <a:gd name="connsiteX1" fmla="*/ 0 w 38431"/>
                <a:gd name="connsiteY1" fmla="*/ 0 h 12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431" h="12683">
                  <a:moveTo>
                    <a:pt x="38432" y="0"/>
                  </a:moveTo>
                  <a:lnTo>
                    <a:pt x="0" y="0"/>
                  </a:lnTo>
                </a:path>
              </a:pathLst>
            </a:custGeom>
            <a:ln w="10138" cap="flat">
              <a:solidFill>
                <a:srgbClr val="A7A8AA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37" name="Freihandform: Form 836">
              <a:extLst>
                <a:ext uri="{FF2B5EF4-FFF2-40B4-BE49-F238E27FC236}">
                  <a16:creationId xmlns:a16="http://schemas.microsoft.com/office/drawing/2014/main" id="{8C1A3E65-F1D7-2939-0176-C4CEBC89C554}"/>
                </a:ext>
              </a:extLst>
            </p:cNvPr>
            <p:cNvSpPr/>
            <p:nvPr/>
          </p:nvSpPr>
          <p:spPr>
            <a:xfrm>
              <a:off x="6952845" y="2747840"/>
              <a:ext cx="38431" cy="12683"/>
            </a:xfrm>
            <a:custGeom>
              <a:avLst/>
              <a:gdLst>
                <a:gd name="connsiteX0" fmla="*/ 38432 w 38431"/>
                <a:gd name="connsiteY0" fmla="*/ 0 h 12683"/>
                <a:gd name="connsiteX1" fmla="*/ 0 w 38431"/>
                <a:gd name="connsiteY1" fmla="*/ 0 h 12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431" h="12683">
                  <a:moveTo>
                    <a:pt x="38432" y="0"/>
                  </a:moveTo>
                  <a:lnTo>
                    <a:pt x="0" y="0"/>
                  </a:lnTo>
                </a:path>
              </a:pathLst>
            </a:custGeom>
            <a:ln w="10138" cap="flat">
              <a:solidFill>
                <a:srgbClr val="A7A8AA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38" name="Freihandform: Form 837">
              <a:extLst>
                <a:ext uri="{FF2B5EF4-FFF2-40B4-BE49-F238E27FC236}">
                  <a16:creationId xmlns:a16="http://schemas.microsoft.com/office/drawing/2014/main" id="{CA4EFC1E-7643-C712-CF0B-DF4561B9F5AF}"/>
                </a:ext>
              </a:extLst>
            </p:cNvPr>
            <p:cNvSpPr/>
            <p:nvPr/>
          </p:nvSpPr>
          <p:spPr>
            <a:xfrm>
              <a:off x="6952845" y="2540461"/>
              <a:ext cx="38431" cy="12683"/>
            </a:xfrm>
            <a:custGeom>
              <a:avLst/>
              <a:gdLst>
                <a:gd name="connsiteX0" fmla="*/ 38432 w 38431"/>
                <a:gd name="connsiteY0" fmla="*/ 0 h 12683"/>
                <a:gd name="connsiteX1" fmla="*/ 0 w 38431"/>
                <a:gd name="connsiteY1" fmla="*/ 0 h 12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431" h="12683">
                  <a:moveTo>
                    <a:pt x="38432" y="0"/>
                  </a:moveTo>
                  <a:lnTo>
                    <a:pt x="0" y="0"/>
                  </a:lnTo>
                </a:path>
              </a:pathLst>
            </a:custGeom>
            <a:ln w="10138" cap="flat">
              <a:solidFill>
                <a:srgbClr val="A7A8AA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39" name="Freihandform: Form 838">
              <a:extLst>
                <a:ext uri="{FF2B5EF4-FFF2-40B4-BE49-F238E27FC236}">
                  <a16:creationId xmlns:a16="http://schemas.microsoft.com/office/drawing/2014/main" id="{193383F8-0DB1-C5F6-25F1-1510A5E09475}"/>
                </a:ext>
              </a:extLst>
            </p:cNvPr>
            <p:cNvSpPr/>
            <p:nvPr/>
          </p:nvSpPr>
          <p:spPr>
            <a:xfrm>
              <a:off x="6952845" y="2333209"/>
              <a:ext cx="38431" cy="12683"/>
            </a:xfrm>
            <a:custGeom>
              <a:avLst/>
              <a:gdLst>
                <a:gd name="connsiteX0" fmla="*/ 38432 w 38431"/>
                <a:gd name="connsiteY0" fmla="*/ 0 h 12683"/>
                <a:gd name="connsiteX1" fmla="*/ 0 w 38431"/>
                <a:gd name="connsiteY1" fmla="*/ 0 h 12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431" h="12683">
                  <a:moveTo>
                    <a:pt x="38432" y="0"/>
                  </a:moveTo>
                  <a:lnTo>
                    <a:pt x="0" y="0"/>
                  </a:lnTo>
                </a:path>
              </a:pathLst>
            </a:custGeom>
            <a:ln w="10138" cap="flat">
              <a:solidFill>
                <a:srgbClr val="A7A8AA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0" name="Freihandform: Form 839">
              <a:extLst>
                <a:ext uri="{FF2B5EF4-FFF2-40B4-BE49-F238E27FC236}">
                  <a16:creationId xmlns:a16="http://schemas.microsoft.com/office/drawing/2014/main" id="{44837C4E-9F78-D488-EC5D-00E95EC874F3}"/>
                </a:ext>
              </a:extLst>
            </p:cNvPr>
            <p:cNvSpPr/>
            <p:nvPr/>
          </p:nvSpPr>
          <p:spPr>
            <a:xfrm>
              <a:off x="6952845" y="2125830"/>
              <a:ext cx="38431" cy="12683"/>
            </a:xfrm>
            <a:custGeom>
              <a:avLst/>
              <a:gdLst>
                <a:gd name="connsiteX0" fmla="*/ 38432 w 38431"/>
                <a:gd name="connsiteY0" fmla="*/ 0 h 12683"/>
                <a:gd name="connsiteX1" fmla="*/ 0 w 38431"/>
                <a:gd name="connsiteY1" fmla="*/ 0 h 12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431" h="12683">
                  <a:moveTo>
                    <a:pt x="38432" y="0"/>
                  </a:moveTo>
                  <a:lnTo>
                    <a:pt x="0" y="0"/>
                  </a:lnTo>
                </a:path>
              </a:pathLst>
            </a:custGeom>
            <a:ln w="10138" cap="flat">
              <a:solidFill>
                <a:srgbClr val="A7A8AA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1" name="Freihandform: Form 840">
              <a:extLst>
                <a:ext uri="{FF2B5EF4-FFF2-40B4-BE49-F238E27FC236}">
                  <a16:creationId xmlns:a16="http://schemas.microsoft.com/office/drawing/2014/main" id="{59AC03FA-89FC-AE91-1856-1BC7CD0C9841}"/>
                </a:ext>
              </a:extLst>
            </p:cNvPr>
            <p:cNvSpPr/>
            <p:nvPr/>
          </p:nvSpPr>
          <p:spPr>
            <a:xfrm>
              <a:off x="6952845" y="1918578"/>
              <a:ext cx="38431" cy="12683"/>
            </a:xfrm>
            <a:custGeom>
              <a:avLst/>
              <a:gdLst>
                <a:gd name="connsiteX0" fmla="*/ 38432 w 38431"/>
                <a:gd name="connsiteY0" fmla="*/ 0 h 12683"/>
                <a:gd name="connsiteX1" fmla="*/ 0 w 38431"/>
                <a:gd name="connsiteY1" fmla="*/ 0 h 12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431" h="12683">
                  <a:moveTo>
                    <a:pt x="38432" y="0"/>
                  </a:moveTo>
                  <a:lnTo>
                    <a:pt x="0" y="0"/>
                  </a:lnTo>
                </a:path>
              </a:pathLst>
            </a:custGeom>
            <a:ln w="10138" cap="flat">
              <a:solidFill>
                <a:srgbClr val="A7A8AA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2" name="Freihandform: Form 841">
              <a:extLst>
                <a:ext uri="{FF2B5EF4-FFF2-40B4-BE49-F238E27FC236}">
                  <a16:creationId xmlns:a16="http://schemas.microsoft.com/office/drawing/2014/main" id="{0BA7DC47-270F-6A92-1215-CAE6427C8DED}"/>
                </a:ext>
              </a:extLst>
            </p:cNvPr>
            <p:cNvSpPr/>
            <p:nvPr/>
          </p:nvSpPr>
          <p:spPr>
            <a:xfrm>
              <a:off x="6952845" y="1711326"/>
              <a:ext cx="38431" cy="12683"/>
            </a:xfrm>
            <a:custGeom>
              <a:avLst/>
              <a:gdLst>
                <a:gd name="connsiteX0" fmla="*/ 38432 w 38431"/>
                <a:gd name="connsiteY0" fmla="*/ 0 h 12683"/>
                <a:gd name="connsiteX1" fmla="*/ 0 w 38431"/>
                <a:gd name="connsiteY1" fmla="*/ 0 h 12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431" h="12683">
                  <a:moveTo>
                    <a:pt x="38432" y="0"/>
                  </a:moveTo>
                  <a:lnTo>
                    <a:pt x="0" y="0"/>
                  </a:lnTo>
                </a:path>
              </a:pathLst>
            </a:custGeom>
            <a:ln w="10138" cap="flat">
              <a:solidFill>
                <a:srgbClr val="A7A8AA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aphicFrame>
        <p:nvGraphicFramePr>
          <p:cNvPr id="401" name="Tabelle 400">
            <a:extLst>
              <a:ext uri="{FF2B5EF4-FFF2-40B4-BE49-F238E27FC236}">
                <a16:creationId xmlns:a16="http://schemas.microsoft.com/office/drawing/2014/main" id="{19ECC839-EBD5-2DEE-DB91-E8CB588D92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6088124"/>
              </p:ext>
            </p:extLst>
          </p:nvPr>
        </p:nvGraphicFramePr>
        <p:xfrm>
          <a:off x="6201192" y="4086589"/>
          <a:ext cx="5045913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6916">
                  <a:extLst>
                    <a:ext uri="{9D8B030D-6E8A-4147-A177-3AD203B41FA5}">
                      <a16:colId xmlns:a16="http://schemas.microsoft.com/office/drawing/2014/main" val="1378299196"/>
                    </a:ext>
                  </a:extLst>
                </a:gridCol>
                <a:gridCol w="249941">
                  <a:extLst>
                    <a:ext uri="{9D8B030D-6E8A-4147-A177-3AD203B41FA5}">
                      <a16:colId xmlns:a16="http://schemas.microsoft.com/office/drawing/2014/main" val="2720059670"/>
                    </a:ext>
                  </a:extLst>
                </a:gridCol>
                <a:gridCol w="249941">
                  <a:extLst>
                    <a:ext uri="{9D8B030D-6E8A-4147-A177-3AD203B41FA5}">
                      <a16:colId xmlns:a16="http://schemas.microsoft.com/office/drawing/2014/main" val="3558843235"/>
                    </a:ext>
                  </a:extLst>
                </a:gridCol>
                <a:gridCol w="249941">
                  <a:extLst>
                    <a:ext uri="{9D8B030D-6E8A-4147-A177-3AD203B41FA5}">
                      <a16:colId xmlns:a16="http://schemas.microsoft.com/office/drawing/2014/main" val="642524864"/>
                    </a:ext>
                  </a:extLst>
                </a:gridCol>
                <a:gridCol w="249941">
                  <a:extLst>
                    <a:ext uri="{9D8B030D-6E8A-4147-A177-3AD203B41FA5}">
                      <a16:colId xmlns:a16="http://schemas.microsoft.com/office/drawing/2014/main" val="400611306"/>
                    </a:ext>
                  </a:extLst>
                </a:gridCol>
                <a:gridCol w="249941">
                  <a:extLst>
                    <a:ext uri="{9D8B030D-6E8A-4147-A177-3AD203B41FA5}">
                      <a16:colId xmlns:a16="http://schemas.microsoft.com/office/drawing/2014/main" val="3315586355"/>
                    </a:ext>
                  </a:extLst>
                </a:gridCol>
                <a:gridCol w="249941">
                  <a:extLst>
                    <a:ext uri="{9D8B030D-6E8A-4147-A177-3AD203B41FA5}">
                      <a16:colId xmlns:a16="http://schemas.microsoft.com/office/drawing/2014/main" val="1430594064"/>
                    </a:ext>
                  </a:extLst>
                </a:gridCol>
                <a:gridCol w="249941">
                  <a:extLst>
                    <a:ext uri="{9D8B030D-6E8A-4147-A177-3AD203B41FA5}">
                      <a16:colId xmlns:a16="http://schemas.microsoft.com/office/drawing/2014/main" val="3098826525"/>
                    </a:ext>
                  </a:extLst>
                </a:gridCol>
                <a:gridCol w="249941">
                  <a:extLst>
                    <a:ext uri="{9D8B030D-6E8A-4147-A177-3AD203B41FA5}">
                      <a16:colId xmlns:a16="http://schemas.microsoft.com/office/drawing/2014/main" val="3997508032"/>
                    </a:ext>
                  </a:extLst>
                </a:gridCol>
                <a:gridCol w="249941">
                  <a:extLst>
                    <a:ext uri="{9D8B030D-6E8A-4147-A177-3AD203B41FA5}">
                      <a16:colId xmlns:a16="http://schemas.microsoft.com/office/drawing/2014/main" val="2238665104"/>
                    </a:ext>
                  </a:extLst>
                </a:gridCol>
                <a:gridCol w="249941">
                  <a:extLst>
                    <a:ext uri="{9D8B030D-6E8A-4147-A177-3AD203B41FA5}">
                      <a16:colId xmlns:a16="http://schemas.microsoft.com/office/drawing/2014/main" val="1973714109"/>
                    </a:ext>
                  </a:extLst>
                </a:gridCol>
                <a:gridCol w="249941">
                  <a:extLst>
                    <a:ext uri="{9D8B030D-6E8A-4147-A177-3AD203B41FA5}">
                      <a16:colId xmlns:a16="http://schemas.microsoft.com/office/drawing/2014/main" val="2348681457"/>
                    </a:ext>
                  </a:extLst>
                </a:gridCol>
                <a:gridCol w="249941">
                  <a:extLst>
                    <a:ext uri="{9D8B030D-6E8A-4147-A177-3AD203B41FA5}">
                      <a16:colId xmlns:a16="http://schemas.microsoft.com/office/drawing/2014/main" val="1616841387"/>
                    </a:ext>
                  </a:extLst>
                </a:gridCol>
                <a:gridCol w="249941">
                  <a:extLst>
                    <a:ext uri="{9D8B030D-6E8A-4147-A177-3AD203B41FA5}">
                      <a16:colId xmlns:a16="http://schemas.microsoft.com/office/drawing/2014/main" val="2970693511"/>
                    </a:ext>
                  </a:extLst>
                </a:gridCol>
                <a:gridCol w="249941">
                  <a:extLst>
                    <a:ext uri="{9D8B030D-6E8A-4147-A177-3AD203B41FA5}">
                      <a16:colId xmlns:a16="http://schemas.microsoft.com/office/drawing/2014/main" val="1949858827"/>
                    </a:ext>
                  </a:extLst>
                </a:gridCol>
                <a:gridCol w="249941">
                  <a:extLst>
                    <a:ext uri="{9D8B030D-6E8A-4147-A177-3AD203B41FA5}">
                      <a16:colId xmlns:a16="http://schemas.microsoft.com/office/drawing/2014/main" val="2491663293"/>
                    </a:ext>
                  </a:extLst>
                </a:gridCol>
                <a:gridCol w="249941">
                  <a:extLst>
                    <a:ext uri="{9D8B030D-6E8A-4147-A177-3AD203B41FA5}">
                      <a16:colId xmlns:a16="http://schemas.microsoft.com/office/drawing/2014/main" val="3259900859"/>
                    </a:ext>
                  </a:extLst>
                </a:gridCol>
                <a:gridCol w="249941">
                  <a:extLst>
                    <a:ext uri="{9D8B030D-6E8A-4147-A177-3AD203B41FA5}">
                      <a16:colId xmlns:a16="http://schemas.microsoft.com/office/drawing/2014/main" val="143664886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de-DE" sz="800" b="1" dirty="0">
                          <a:solidFill>
                            <a:srgbClr val="FF585D"/>
                          </a:solidFill>
                        </a:rPr>
                        <a:t>1L BRAF/</a:t>
                      </a:r>
                      <a:r>
                        <a:rPr lang="de-DE" sz="800" b="1" dirty="0" err="1">
                          <a:solidFill>
                            <a:srgbClr val="FF585D"/>
                          </a:solidFill>
                        </a:rPr>
                        <a:t>MEKi</a:t>
                      </a:r>
                      <a:endParaRPr lang="de-DE" sz="800" b="1" dirty="0">
                        <a:solidFill>
                          <a:srgbClr val="FF585D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/>
                      <a:r>
                        <a:rPr lang="de-DE" sz="800" b="0" dirty="0">
                          <a:solidFill>
                            <a:srgbClr val="FF585D"/>
                          </a:solidFill>
                        </a:rPr>
                        <a:t>65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rgbClr val="FF585D"/>
                          </a:solidFill>
                        </a:rPr>
                        <a:t>5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rgbClr val="FF585D"/>
                          </a:solidFill>
                        </a:rPr>
                        <a:t>35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rgbClr val="FF585D"/>
                          </a:solidFill>
                        </a:rPr>
                        <a:t>28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rgbClr val="FF585D"/>
                          </a:solidFill>
                        </a:rPr>
                        <a:t>2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rgbClr val="FF585D"/>
                          </a:solidFill>
                        </a:rPr>
                        <a:t>17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rgbClr val="FF585D"/>
                          </a:solidFill>
                        </a:rPr>
                        <a:t>13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rgbClr val="FF585D"/>
                          </a:solidFill>
                        </a:rPr>
                        <a:t>10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rgbClr val="FF585D"/>
                          </a:solidFill>
                        </a:rPr>
                        <a:t>8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rgbClr val="FF585D"/>
                          </a:solidFill>
                        </a:rPr>
                        <a:t>6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rgbClr val="FF585D"/>
                          </a:solidFill>
                        </a:rPr>
                        <a:t>5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rgbClr val="FF585D"/>
                          </a:solidFill>
                        </a:rPr>
                        <a:t>4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rgbClr val="FF585D"/>
                          </a:solidFill>
                        </a:rPr>
                        <a:t>3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rgbClr val="FF585D"/>
                          </a:solidFill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rgbClr val="FF585D"/>
                          </a:solidFill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rgbClr val="FF585D"/>
                          </a:solidFill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rgbClr val="FF585D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35971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1" dirty="0">
                          <a:solidFill>
                            <a:schemeClr val="accent6"/>
                          </a:solidFill>
                        </a:rPr>
                        <a:t>2L BRAF/</a:t>
                      </a:r>
                      <a:r>
                        <a:rPr lang="de-DE" sz="800" b="1" dirty="0" err="1">
                          <a:solidFill>
                            <a:schemeClr val="accent6"/>
                          </a:solidFill>
                        </a:rPr>
                        <a:t>MEKi</a:t>
                      </a:r>
                      <a:endParaRPr lang="de-DE" sz="800" b="1" dirty="0">
                        <a:solidFill>
                          <a:schemeClr val="accent6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accent6"/>
                          </a:solidFill>
                        </a:rPr>
                        <a:t>65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accent6"/>
                          </a:solidFill>
                        </a:rPr>
                        <a:t>50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accent6"/>
                          </a:solidFill>
                        </a:rPr>
                        <a:t>38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accent6"/>
                          </a:solidFill>
                        </a:rPr>
                        <a:t>26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accent6"/>
                          </a:solidFill>
                        </a:rPr>
                        <a:t>20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accent6"/>
                          </a:solidFill>
                        </a:rPr>
                        <a:t>15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accent6"/>
                          </a:solidFill>
                        </a:rPr>
                        <a:t>1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accent6"/>
                          </a:solidFill>
                        </a:rPr>
                        <a:t>9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accent6"/>
                          </a:solidFill>
                        </a:rPr>
                        <a:t>6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accent6"/>
                          </a:solidFill>
                        </a:rPr>
                        <a:t>5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accent6"/>
                          </a:solidFill>
                        </a:rPr>
                        <a:t>3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accent6"/>
                          </a:solidFill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accent6"/>
                          </a:solidFill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accent6"/>
                          </a:solidFill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accent6"/>
                          </a:solidFill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accent6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800" b="0" dirty="0">
                        <a:solidFill>
                          <a:schemeClr val="accent6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0541496"/>
                  </a:ext>
                </a:extLst>
              </a:tr>
            </a:tbl>
          </a:graphicData>
        </a:graphic>
      </p:graphicFrame>
      <p:grpSp>
        <p:nvGrpSpPr>
          <p:cNvPr id="402" name="Gruppieren 401">
            <a:extLst>
              <a:ext uri="{FF2B5EF4-FFF2-40B4-BE49-F238E27FC236}">
                <a16:creationId xmlns:a16="http://schemas.microsoft.com/office/drawing/2014/main" id="{7CD241AC-E941-E63C-E56D-221E395DCCE7}"/>
              </a:ext>
            </a:extLst>
          </p:cNvPr>
          <p:cNvGrpSpPr/>
          <p:nvPr/>
        </p:nvGrpSpPr>
        <p:grpSpPr>
          <a:xfrm>
            <a:off x="6594422" y="1506811"/>
            <a:ext cx="336961" cy="2195830"/>
            <a:chOff x="1059613" y="1637437"/>
            <a:chExt cx="336961" cy="2195830"/>
          </a:xfrm>
        </p:grpSpPr>
        <p:sp>
          <p:nvSpPr>
            <p:cNvPr id="403" name="Textfeld 402">
              <a:extLst>
                <a:ext uri="{FF2B5EF4-FFF2-40B4-BE49-F238E27FC236}">
                  <a16:creationId xmlns:a16="http://schemas.microsoft.com/office/drawing/2014/main" id="{21992E12-20C5-1AE7-E255-A7FD0F76622D}"/>
                </a:ext>
              </a:extLst>
            </p:cNvPr>
            <p:cNvSpPr txBox="1"/>
            <p:nvPr/>
          </p:nvSpPr>
          <p:spPr>
            <a:xfrm rot="16200000">
              <a:off x="38809" y="2658241"/>
              <a:ext cx="2164719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Wahrscheinlichkeit für </a:t>
              </a:r>
              <a:r>
                <a:rPr lang="de-DE" sz="800" b="1" dirty="0">
                  <a:solidFill>
                    <a:srgbClr val="595959"/>
                  </a:solidFill>
                  <a:latin typeface="Arial" panose="020B0604020202020204"/>
                </a:rPr>
                <a:t>O</a:t>
              </a:r>
              <a:r>
                <a:rPr kumimoji="0" lang="de-DE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</a:t>
              </a:r>
            </a:p>
          </p:txBody>
        </p:sp>
        <p:sp>
          <p:nvSpPr>
            <p:cNvPr id="404" name="TextBox 26, chunk 1">
              <a:extLst>
                <a:ext uri="{FF2B5EF4-FFF2-40B4-BE49-F238E27FC236}">
                  <a16:creationId xmlns:a16="http://schemas.microsoft.com/office/drawing/2014/main" id="{7DDA5E2C-25D7-59D2-6BD4-78665233EB7D}"/>
                </a:ext>
              </a:extLst>
            </p:cNvPr>
            <p:cNvSpPr txBox="1"/>
            <p:nvPr/>
          </p:nvSpPr>
          <p:spPr>
            <a:xfrm>
              <a:off x="1201651" y="1637438"/>
              <a:ext cx="194923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1,0</a:t>
              </a: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5" name="TextBox 26, chunk 2">
              <a:extLst>
                <a:ext uri="{FF2B5EF4-FFF2-40B4-BE49-F238E27FC236}">
                  <a16:creationId xmlns:a16="http://schemas.microsoft.com/office/drawing/2014/main" id="{02DC3342-0A94-91F4-E5BF-1D407BEECDF7}"/>
                </a:ext>
              </a:extLst>
            </p:cNvPr>
            <p:cNvSpPr txBox="1"/>
            <p:nvPr/>
          </p:nvSpPr>
          <p:spPr>
            <a:xfrm>
              <a:off x="1201651" y="1844710"/>
              <a:ext cx="194923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9</a:t>
              </a: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6" name="TextBox 26, chunk 3">
              <a:extLst>
                <a:ext uri="{FF2B5EF4-FFF2-40B4-BE49-F238E27FC236}">
                  <a16:creationId xmlns:a16="http://schemas.microsoft.com/office/drawing/2014/main" id="{0CCB346F-944C-89C6-EEA5-0AA200C4EF8B}"/>
                </a:ext>
              </a:extLst>
            </p:cNvPr>
            <p:cNvSpPr txBox="1"/>
            <p:nvPr/>
          </p:nvSpPr>
          <p:spPr>
            <a:xfrm>
              <a:off x="1201651" y="2051981"/>
              <a:ext cx="194923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8</a:t>
              </a: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7" name="TextBox 26, chunk 4">
              <a:extLst>
                <a:ext uri="{FF2B5EF4-FFF2-40B4-BE49-F238E27FC236}">
                  <a16:creationId xmlns:a16="http://schemas.microsoft.com/office/drawing/2014/main" id="{65EB6543-9259-753B-06AE-55D3A63E81B8}"/>
                </a:ext>
              </a:extLst>
            </p:cNvPr>
            <p:cNvSpPr txBox="1"/>
            <p:nvPr/>
          </p:nvSpPr>
          <p:spPr>
            <a:xfrm>
              <a:off x="1201651" y="2259253"/>
              <a:ext cx="194923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7</a:t>
              </a: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8" name="TextBox 26, chunk 5">
              <a:extLst>
                <a:ext uri="{FF2B5EF4-FFF2-40B4-BE49-F238E27FC236}">
                  <a16:creationId xmlns:a16="http://schemas.microsoft.com/office/drawing/2014/main" id="{785FDB9C-6D26-04CE-1ED9-4421E650BDB5}"/>
                </a:ext>
              </a:extLst>
            </p:cNvPr>
            <p:cNvSpPr txBox="1"/>
            <p:nvPr/>
          </p:nvSpPr>
          <p:spPr>
            <a:xfrm>
              <a:off x="1201651" y="2466525"/>
              <a:ext cx="194923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6</a:t>
              </a: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9" name="TextBox 26, chunk 6">
              <a:extLst>
                <a:ext uri="{FF2B5EF4-FFF2-40B4-BE49-F238E27FC236}">
                  <a16:creationId xmlns:a16="http://schemas.microsoft.com/office/drawing/2014/main" id="{FA722D97-E846-5395-8347-34EBB4108DFE}"/>
                </a:ext>
              </a:extLst>
            </p:cNvPr>
            <p:cNvSpPr txBox="1"/>
            <p:nvPr/>
          </p:nvSpPr>
          <p:spPr>
            <a:xfrm>
              <a:off x="1201651" y="2673797"/>
              <a:ext cx="194923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5</a:t>
              </a: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0" name="TextBox 26, chunk 7">
              <a:extLst>
                <a:ext uri="{FF2B5EF4-FFF2-40B4-BE49-F238E27FC236}">
                  <a16:creationId xmlns:a16="http://schemas.microsoft.com/office/drawing/2014/main" id="{3A03C0EE-00DC-9C7D-7785-5EA66FF4B6B9}"/>
                </a:ext>
              </a:extLst>
            </p:cNvPr>
            <p:cNvSpPr txBox="1"/>
            <p:nvPr/>
          </p:nvSpPr>
          <p:spPr>
            <a:xfrm>
              <a:off x="1201651" y="2881069"/>
              <a:ext cx="194923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4</a:t>
              </a: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1" name="TextBox 26, chunk 8">
              <a:extLst>
                <a:ext uri="{FF2B5EF4-FFF2-40B4-BE49-F238E27FC236}">
                  <a16:creationId xmlns:a16="http://schemas.microsoft.com/office/drawing/2014/main" id="{BD4CFFF2-E785-967B-1473-31C4C632BF72}"/>
                </a:ext>
              </a:extLst>
            </p:cNvPr>
            <p:cNvSpPr txBox="1"/>
            <p:nvPr/>
          </p:nvSpPr>
          <p:spPr>
            <a:xfrm>
              <a:off x="1201651" y="3088340"/>
              <a:ext cx="194923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3</a:t>
              </a: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2" name="TextBox 26, chunk 9">
              <a:extLst>
                <a:ext uri="{FF2B5EF4-FFF2-40B4-BE49-F238E27FC236}">
                  <a16:creationId xmlns:a16="http://schemas.microsoft.com/office/drawing/2014/main" id="{3EEB294B-7985-4AA1-705F-CDA150107916}"/>
                </a:ext>
              </a:extLst>
            </p:cNvPr>
            <p:cNvSpPr txBox="1"/>
            <p:nvPr/>
          </p:nvSpPr>
          <p:spPr>
            <a:xfrm>
              <a:off x="1201651" y="3295612"/>
              <a:ext cx="194923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2</a:t>
              </a: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3" name="TextBox 26, chunk 10">
              <a:extLst>
                <a:ext uri="{FF2B5EF4-FFF2-40B4-BE49-F238E27FC236}">
                  <a16:creationId xmlns:a16="http://schemas.microsoft.com/office/drawing/2014/main" id="{6C89886C-00C1-2EA3-F3D1-133DCAA56A05}"/>
                </a:ext>
              </a:extLst>
            </p:cNvPr>
            <p:cNvSpPr txBox="1"/>
            <p:nvPr/>
          </p:nvSpPr>
          <p:spPr>
            <a:xfrm>
              <a:off x="1201651" y="3502884"/>
              <a:ext cx="194923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1</a:t>
              </a: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4" name="TextBox 26, chunk 11">
              <a:extLst>
                <a:ext uri="{FF2B5EF4-FFF2-40B4-BE49-F238E27FC236}">
                  <a16:creationId xmlns:a16="http://schemas.microsoft.com/office/drawing/2014/main" id="{E7CA8695-661B-F04D-1178-CC45DB16F80B}"/>
                </a:ext>
              </a:extLst>
            </p:cNvPr>
            <p:cNvSpPr txBox="1"/>
            <p:nvPr/>
          </p:nvSpPr>
          <p:spPr>
            <a:xfrm>
              <a:off x="1201651" y="3710156"/>
              <a:ext cx="194923" cy="12311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0</a:t>
              </a:r>
            </a:p>
          </p:txBody>
        </p:sp>
      </p:grpSp>
      <p:grpSp>
        <p:nvGrpSpPr>
          <p:cNvPr id="415" name="Gruppieren 414">
            <a:extLst>
              <a:ext uri="{FF2B5EF4-FFF2-40B4-BE49-F238E27FC236}">
                <a16:creationId xmlns:a16="http://schemas.microsoft.com/office/drawing/2014/main" id="{B18F9051-7BC6-5A93-F912-C9439EAB8D82}"/>
              </a:ext>
            </a:extLst>
          </p:cNvPr>
          <p:cNvGrpSpPr/>
          <p:nvPr/>
        </p:nvGrpSpPr>
        <p:grpSpPr>
          <a:xfrm>
            <a:off x="7055475" y="3734550"/>
            <a:ext cx="4113457" cy="123111"/>
            <a:chOff x="1253791" y="4839788"/>
            <a:chExt cx="5845515" cy="174950"/>
          </a:xfrm>
        </p:grpSpPr>
        <p:sp>
          <p:nvSpPr>
            <p:cNvPr id="416" name="TextBox 26, chunk 11">
              <a:extLst>
                <a:ext uri="{FF2B5EF4-FFF2-40B4-BE49-F238E27FC236}">
                  <a16:creationId xmlns:a16="http://schemas.microsoft.com/office/drawing/2014/main" id="{0AB19CE6-72C8-B2E3-E772-81796F45313B}"/>
                </a:ext>
              </a:extLst>
            </p:cNvPr>
            <p:cNvSpPr txBox="1"/>
            <p:nvPr/>
          </p:nvSpPr>
          <p:spPr>
            <a:xfrm>
              <a:off x="1253791" y="4839788"/>
              <a:ext cx="192329" cy="174950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</a:t>
              </a:r>
            </a:p>
          </p:txBody>
        </p:sp>
        <p:sp>
          <p:nvSpPr>
            <p:cNvPr id="417" name="TextBox 26, chunk 11">
              <a:extLst>
                <a:ext uri="{FF2B5EF4-FFF2-40B4-BE49-F238E27FC236}">
                  <a16:creationId xmlns:a16="http://schemas.microsoft.com/office/drawing/2014/main" id="{F9A74D01-CD33-E655-5030-EDF5DEA1A462}"/>
                </a:ext>
              </a:extLst>
            </p:cNvPr>
            <p:cNvSpPr txBox="1"/>
            <p:nvPr/>
          </p:nvSpPr>
          <p:spPr>
            <a:xfrm>
              <a:off x="6540081" y="4839788"/>
              <a:ext cx="192329" cy="174950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90</a:t>
              </a:r>
            </a:p>
          </p:txBody>
        </p:sp>
        <p:sp>
          <p:nvSpPr>
            <p:cNvPr id="418" name="TextBox 26, chunk 11">
              <a:extLst>
                <a:ext uri="{FF2B5EF4-FFF2-40B4-BE49-F238E27FC236}">
                  <a16:creationId xmlns:a16="http://schemas.microsoft.com/office/drawing/2014/main" id="{DAD776CB-5EB8-6C26-C1DF-31E4312050CC}"/>
                </a:ext>
              </a:extLst>
            </p:cNvPr>
            <p:cNvSpPr txBox="1"/>
            <p:nvPr/>
          </p:nvSpPr>
          <p:spPr>
            <a:xfrm>
              <a:off x="6187657" y="4839788"/>
              <a:ext cx="192329" cy="174950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84</a:t>
              </a:r>
            </a:p>
          </p:txBody>
        </p:sp>
        <p:sp>
          <p:nvSpPr>
            <p:cNvPr id="419" name="TextBox 26, chunk 11">
              <a:extLst>
                <a:ext uri="{FF2B5EF4-FFF2-40B4-BE49-F238E27FC236}">
                  <a16:creationId xmlns:a16="http://schemas.microsoft.com/office/drawing/2014/main" id="{63704B82-D018-D306-27CB-6B35023507C7}"/>
                </a:ext>
              </a:extLst>
            </p:cNvPr>
            <p:cNvSpPr txBox="1"/>
            <p:nvPr/>
          </p:nvSpPr>
          <p:spPr>
            <a:xfrm>
              <a:off x="5835238" y="4839788"/>
              <a:ext cx="192329" cy="174950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78</a:t>
              </a:r>
            </a:p>
          </p:txBody>
        </p:sp>
        <p:sp>
          <p:nvSpPr>
            <p:cNvPr id="420" name="TextBox 26, chunk 11">
              <a:extLst>
                <a:ext uri="{FF2B5EF4-FFF2-40B4-BE49-F238E27FC236}">
                  <a16:creationId xmlns:a16="http://schemas.microsoft.com/office/drawing/2014/main" id="{DF6D6C8B-FA53-E46C-F9AB-B3FF1C1234BD}"/>
                </a:ext>
              </a:extLst>
            </p:cNvPr>
            <p:cNvSpPr txBox="1"/>
            <p:nvPr/>
          </p:nvSpPr>
          <p:spPr>
            <a:xfrm>
              <a:off x="5482819" y="4839788"/>
              <a:ext cx="192329" cy="174950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72</a:t>
              </a:r>
            </a:p>
          </p:txBody>
        </p:sp>
        <p:sp>
          <p:nvSpPr>
            <p:cNvPr id="421" name="TextBox 26, chunk 11">
              <a:extLst>
                <a:ext uri="{FF2B5EF4-FFF2-40B4-BE49-F238E27FC236}">
                  <a16:creationId xmlns:a16="http://schemas.microsoft.com/office/drawing/2014/main" id="{68976809-24B2-0894-A675-7626709B3A6B}"/>
                </a:ext>
              </a:extLst>
            </p:cNvPr>
            <p:cNvSpPr txBox="1"/>
            <p:nvPr/>
          </p:nvSpPr>
          <p:spPr>
            <a:xfrm>
              <a:off x="5130399" y="4839788"/>
              <a:ext cx="192329" cy="174950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66</a:t>
              </a:r>
            </a:p>
          </p:txBody>
        </p:sp>
        <p:sp>
          <p:nvSpPr>
            <p:cNvPr id="422" name="TextBox 26, chunk 11">
              <a:extLst>
                <a:ext uri="{FF2B5EF4-FFF2-40B4-BE49-F238E27FC236}">
                  <a16:creationId xmlns:a16="http://schemas.microsoft.com/office/drawing/2014/main" id="{94222B43-A00F-A61B-6361-CF20B7ED0F92}"/>
                </a:ext>
              </a:extLst>
            </p:cNvPr>
            <p:cNvSpPr txBox="1"/>
            <p:nvPr/>
          </p:nvSpPr>
          <p:spPr>
            <a:xfrm>
              <a:off x="4777981" y="4839788"/>
              <a:ext cx="192329" cy="174950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60</a:t>
              </a:r>
            </a:p>
          </p:txBody>
        </p:sp>
        <p:sp>
          <p:nvSpPr>
            <p:cNvPr id="423" name="TextBox 26, chunk 11">
              <a:extLst>
                <a:ext uri="{FF2B5EF4-FFF2-40B4-BE49-F238E27FC236}">
                  <a16:creationId xmlns:a16="http://schemas.microsoft.com/office/drawing/2014/main" id="{319813F6-29CD-4FAD-E61E-90E288B113C3}"/>
                </a:ext>
              </a:extLst>
            </p:cNvPr>
            <p:cNvSpPr txBox="1"/>
            <p:nvPr/>
          </p:nvSpPr>
          <p:spPr>
            <a:xfrm>
              <a:off x="4425562" y="4839788"/>
              <a:ext cx="192329" cy="174950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54</a:t>
              </a:r>
            </a:p>
          </p:txBody>
        </p:sp>
        <p:sp>
          <p:nvSpPr>
            <p:cNvPr id="424" name="TextBox 26, chunk 11">
              <a:extLst>
                <a:ext uri="{FF2B5EF4-FFF2-40B4-BE49-F238E27FC236}">
                  <a16:creationId xmlns:a16="http://schemas.microsoft.com/office/drawing/2014/main" id="{53C6D56F-FC95-0393-1484-22FB8A3EC648}"/>
                </a:ext>
              </a:extLst>
            </p:cNvPr>
            <p:cNvSpPr txBox="1"/>
            <p:nvPr/>
          </p:nvSpPr>
          <p:spPr>
            <a:xfrm>
              <a:off x="4073142" y="4839788"/>
              <a:ext cx="192329" cy="174950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48</a:t>
              </a:r>
            </a:p>
          </p:txBody>
        </p:sp>
        <p:sp>
          <p:nvSpPr>
            <p:cNvPr id="425" name="TextBox 26, chunk 11">
              <a:extLst>
                <a:ext uri="{FF2B5EF4-FFF2-40B4-BE49-F238E27FC236}">
                  <a16:creationId xmlns:a16="http://schemas.microsoft.com/office/drawing/2014/main" id="{9B1C0E00-7174-5070-A9C1-65BF21357054}"/>
                </a:ext>
              </a:extLst>
            </p:cNvPr>
            <p:cNvSpPr txBox="1"/>
            <p:nvPr/>
          </p:nvSpPr>
          <p:spPr>
            <a:xfrm>
              <a:off x="3720724" y="4839788"/>
              <a:ext cx="192329" cy="174950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42</a:t>
              </a:r>
            </a:p>
          </p:txBody>
        </p:sp>
        <p:sp>
          <p:nvSpPr>
            <p:cNvPr id="426" name="TextBox 26, chunk 11">
              <a:extLst>
                <a:ext uri="{FF2B5EF4-FFF2-40B4-BE49-F238E27FC236}">
                  <a16:creationId xmlns:a16="http://schemas.microsoft.com/office/drawing/2014/main" id="{2BE08AC1-D67E-604A-F3E3-7FE8E317A9B6}"/>
                </a:ext>
              </a:extLst>
            </p:cNvPr>
            <p:cNvSpPr txBox="1"/>
            <p:nvPr/>
          </p:nvSpPr>
          <p:spPr>
            <a:xfrm>
              <a:off x="3368305" y="4839788"/>
              <a:ext cx="192329" cy="174950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36</a:t>
              </a:r>
            </a:p>
          </p:txBody>
        </p:sp>
        <p:sp>
          <p:nvSpPr>
            <p:cNvPr id="427" name="TextBox 26, chunk 11">
              <a:extLst>
                <a:ext uri="{FF2B5EF4-FFF2-40B4-BE49-F238E27FC236}">
                  <a16:creationId xmlns:a16="http://schemas.microsoft.com/office/drawing/2014/main" id="{067EE757-294E-4488-829E-6083B0D12BD2}"/>
                </a:ext>
              </a:extLst>
            </p:cNvPr>
            <p:cNvSpPr txBox="1"/>
            <p:nvPr/>
          </p:nvSpPr>
          <p:spPr>
            <a:xfrm>
              <a:off x="3015887" y="4839788"/>
              <a:ext cx="192329" cy="174950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30</a:t>
              </a:r>
            </a:p>
          </p:txBody>
        </p:sp>
        <p:sp>
          <p:nvSpPr>
            <p:cNvPr id="428" name="TextBox 26, chunk 11">
              <a:extLst>
                <a:ext uri="{FF2B5EF4-FFF2-40B4-BE49-F238E27FC236}">
                  <a16:creationId xmlns:a16="http://schemas.microsoft.com/office/drawing/2014/main" id="{AA132C2D-315B-6B9A-459D-88C119C744F6}"/>
                </a:ext>
              </a:extLst>
            </p:cNvPr>
            <p:cNvSpPr txBox="1"/>
            <p:nvPr/>
          </p:nvSpPr>
          <p:spPr>
            <a:xfrm>
              <a:off x="2663467" y="4839788"/>
              <a:ext cx="192329" cy="174950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24</a:t>
              </a:r>
            </a:p>
          </p:txBody>
        </p:sp>
        <p:sp>
          <p:nvSpPr>
            <p:cNvPr id="429" name="TextBox 26, chunk 11">
              <a:extLst>
                <a:ext uri="{FF2B5EF4-FFF2-40B4-BE49-F238E27FC236}">
                  <a16:creationId xmlns:a16="http://schemas.microsoft.com/office/drawing/2014/main" id="{0616D789-B27D-E1D0-7946-430D7D4390B7}"/>
                </a:ext>
              </a:extLst>
            </p:cNvPr>
            <p:cNvSpPr txBox="1"/>
            <p:nvPr/>
          </p:nvSpPr>
          <p:spPr>
            <a:xfrm>
              <a:off x="2311048" y="4839788"/>
              <a:ext cx="192329" cy="174950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18</a:t>
              </a:r>
            </a:p>
          </p:txBody>
        </p:sp>
        <p:sp>
          <p:nvSpPr>
            <p:cNvPr id="430" name="TextBox 26, chunk 11">
              <a:extLst>
                <a:ext uri="{FF2B5EF4-FFF2-40B4-BE49-F238E27FC236}">
                  <a16:creationId xmlns:a16="http://schemas.microsoft.com/office/drawing/2014/main" id="{C827126F-ADF9-B7B3-EDA0-383E2D890192}"/>
                </a:ext>
              </a:extLst>
            </p:cNvPr>
            <p:cNvSpPr txBox="1"/>
            <p:nvPr/>
          </p:nvSpPr>
          <p:spPr>
            <a:xfrm>
              <a:off x="1958630" y="4839788"/>
              <a:ext cx="192329" cy="174950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12</a:t>
              </a:r>
            </a:p>
          </p:txBody>
        </p:sp>
        <p:sp>
          <p:nvSpPr>
            <p:cNvPr id="431" name="TextBox 26, chunk 11">
              <a:extLst>
                <a:ext uri="{FF2B5EF4-FFF2-40B4-BE49-F238E27FC236}">
                  <a16:creationId xmlns:a16="http://schemas.microsoft.com/office/drawing/2014/main" id="{6DC8BBAC-00F0-1BD8-6BEB-BD8B2BF600D5}"/>
                </a:ext>
              </a:extLst>
            </p:cNvPr>
            <p:cNvSpPr txBox="1"/>
            <p:nvPr/>
          </p:nvSpPr>
          <p:spPr>
            <a:xfrm>
              <a:off x="1606210" y="4839788"/>
              <a:ext cx="192329" cy="174950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6</a:t>
              </a:r>
            </a:p>
          </p:txBody>
        </p:sp>
        <p:sp>
          <p:nvSpPr>
            <p:cNvPr id="433" name="TextBox 26, chunk 11">
              <a:extLst>
                <a:ext uri="{FF2B5EF4-FFF2-40B4-BE49-F238E27FC236}">
                  <a16:creationId xmlns:a16="http://schemas.microsoft.com/office/drawing/2014/main" id="{1FC35DA8-D845-A8F5-7531-0ECFD001E195}"/>
                </a:ext>
              </a:extLst>
            </p:cNvPr>
            <p:cNvSpPr txBox="1"/>
            <p:nvPr/>
          </p:nvSpPr>
          <p:spPr>
            <a:xfrm>
              <a:off x="6906977" y="4839788"/>
              <a:ext cx="192329" cy="174950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>
              <a:defPPr>
                <a:defRPr lang="en-US"/>
              </a:defPPr>
              <a:lvl1pPr algn="r">
                <a:defRPr sz="1200">
                  <a:solidFill>
                    <a:srgbClr val="595959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96</a:t>
              </a:r>
            </a:p>
          </p:txBody>
        </p:sp>
      </p:grpSp>
      <p:sp>
        <p:nvSpPr>
          <p:cNvPr id="432" name="Textfeld 431">
            <a:extLst>
              <a:ext uri="{FF2B5EF4-FFF2-40B4-BE49-F238E27FC236}">
                <a16:creationId xmlns:a16="http://schemas.microsoft.com/office/drawing/2014/main" id="{2088558B-62DE-2C66-B790-38EC5B2BC602}"/>
              </a:ext>
            </a:extLst>
          </p:cNvPr>
          <p:cNvSpPr txBox="1"/>
          <p:nvPr/>
        </p:nvSpPr>
        <p:spPr>
          <a:xfrm>
            <a:off x="8024748" y="3928961"/>
            <a:ext cx="216471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eit in Monaten</a:t>
            </a:r>
          </a:p>
        </p:txBody>
      </p:sp>
      <p:graphicFrame>
        <p:nvGraphicFramePr>
          <p:cNvPr id="434" name="Tabelle 433">
            <a:extLst>
              <a:ext uri="{FF2B5EF4-FFF2-40B4-BE49-F238E27FC236}">
                <a16:creationId xmlns:a16="http://schemas.microsoft.com/office/drawing/2014/main" id="{123AAD89-B589-B424-172C-D81FDDFD60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2074399"/>
              </p:ext>
            </p:extLst>
          </p:nvPr>
        </p:nvGraphicFramePr>
        <p:xfrm>
          <a:off x="9478372" y="1726565"/>
          <a:ext cx="2124000" cy="8205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6000">
                  <a:extLst>
                    <a:ext uri="{9D8B030D-6E8A-4147-A177-3AD203B41FA5}">
                      <a16:colId xmlns:a16="http://schemas.microsoft.com/office/drawing/2014/main" val="4136499233"/>
                    </a:ext>
                  </a:extLst>
                </a:gridCol>
                <a:gridCol w="684000">
                  <a:extLst>
                    <a:ext uri="{9D8B030D-6E8A-4147-A177-3AD203B41FA5}">
                      <a16:colId xmlns:a16="http://schemas.microsoft.com/office/drawing/2014/main" val="363488844"/>
                    </a:ext>
                  </a:extLst>
                </a:gridCol>
                <a:gridCol w="684000">
                  <a:extLst>
                    <a:ext uri="{9D8B030D-6E8A-4147-A177-3AD203B41FA5}">
                      <a16:colId xmlns:a16="http://schemas.microsoft.com/office/drawing/2014/main" val="1171629828"/>
                    </a:ext>
                  </a:extLst>
                </a:gridCol>
              </a:tblGrid>
              <a:tr h="273505">
                <a:tc>
                  <a:txBody>
                    <a:bodyPr/>
                    <a:lstStyle/>
                    <a:p>
                      <a:endParaRPr lang="de-DE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1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1" dirty="0">
                          <a:solidFill>
                            <a:schemeClr val="tx1"/>
                          </a:solidFill>
                        </a:rPr>
                        <a:t>95%-KI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2806014"/>
                  </a:ext>
                </a:extLst>
              </a:tr>
              <a:tr h="273505">
                <a:tc>
                  <a:txBody>
                    <a:bodyPr/>
                    <a:lstStyle/>
                    <a:p>
                      <a:r>
                        <a:rPr lang="de-DE" sz="800" b="0" dirty="0">
                          <a:solidFill>
                            <a:schemeClr val="tx1"/>
                          </a:solidFill>
                        </a:rPr>
                        <a:t>1L BRAF/</a:t>
                      </a:r>
                      <a:r>
                        <a:rPr lang="de-DE" sz="800" b="0" dirty="0" err="1">
                          <a:solidFill>
                            <a:schemeClr val="tx1"/>
                          </a:solidFill>
                        </a:rPr>
                        <a:t>MEKi</a:t>
                      </a:r>
                      <a:endParaRPr lang="de-DE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tx1"/>
                          </a:solidFill>
                        </a:rPr>
                        <a:t>16,0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tx1"/>
                          </a:solidFill>
                        </a:rPr>
                        <a:t>13,2–19,1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579295"/>
                  </a:ext>
                </a:extLst>
              </a:tr>
              <a:tr h="27350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/>
                          </a:solidFill>
                        </a:rPr>
                        <a:t>2L BRAF/</a:t>
                      </a:r>
                      <a:r>
                        <a:rPr lang="de-DE" sz="800" b="0" dirty="0" err="1">
                          <a:solidFill>
                            <a:schemeClr val="tx1"/>
                          </a:solidFill>
                        </a:rPr>
                        <a:t>MEKi</a:t>
                      </a:r>
                      <a:endParaRPr lang="de-DE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tx1"/>
                          </a:solidFill>
                        </a:rPr>
                        <a:t>17,2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tx1"/>
                          </a:solidFill>
                        </a:rPr>
                        <a:t>14,8–19,4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8700640"/>
                  </a:ext>
                </a:extLst>
              </a:tr>
            </a:tbl>
          </a:graphicData>
        </a:graphic>
      </p:graphicFrame>
      <p:cxnSp>
        <p:nvCxnSpPr>
          <p:cNvPr id="435" name="Gerader Verbinder 434">
            <a:extLst>
              <a:ext uri="{FF2B5EF4-FFF2-40B4-BE49-F238E27FC236}">
                <a16:creationId xmlns:a16="http://schemas.microsoft.com/office/drawing/2014/main" id="{17BD57F9-AA82-9246-4614-4D557B503078}"/>
              </a:ext>
            </a:extLst>
          </p:cNvPr>
          <p:cNvCxnSpPr/>
          <p:nvPr/>
        </p:nvCxnSpPr>
        <p:spPr>
          <a:xfrm>
            <a:off x="8982564" y="2150327"/>
            <a:ext cx="402336" cy="0"/>
          </a:xfrm>
          <a:prstGeom prst="line">
            <a:avLst/>
          </a:prstGeom>
          <a:ln w="22225">
            <a:solidFill>
              <a:srgbClr val="FF585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6" name="Gerader Verbinder 435">
            <a:extLst>
              <a:ext uri="{FF2B5EF4-FFF2-40B4-BE49-F238E27FC236}">
                <a16:creationId xmlns:a16="http://schemas.microsoft.com/office/drawing/2014/main" id="{90E6A6AF-FDE7-A980-DF75-1B8776DA1647}"/>
              </a:ext>
            </a:extLst>
          </p:cNvPr>
          <p:cNvCxnSpPr/>
          <p:nvPr/>
        </p:nvCxnSpPr>
        <p:spPr>
          <a:xfrm>
            <a:off x="8982564" y="2416809"/>
            <a:ext cx="402336" cy="0"/>
          </a:xfrm>
          <a:prstGeom prst="line">
            <a:avLst/>
          </a:prstGeom>
          <a:ln w="22225">
            <a:solidFill>
              <a:srgbClr val="0460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>
            <a:extLst>
              <a:ext uri="{FF2B5EF4-FFF2-40B4-BE49-F238E27FC236}">
                <a16:creationId xmlns:a16="http://schemas.microsoft.com/office/drawing/2014/main" id="{ECF88FE9-2EA2-7BD7-9855-B34B3076097E}"/>
              </a:ext>
            </a:extLst>
          </p:cNvPr>
          <p:cNvSpPr txBox="1"/>
          <p:nvPr/>
        </p:nvSpPr>
        <p:spPr>
          <a:xfrm>
            <a:off x="7264539" y="1170674"/>
            <a:ext cx="433783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>
                <a:solidFill>
                  <a:srgbClr val="0460A9"/>
                </a:solidFill>
                <a:latin typeface="Arial" panose="020B0604020202020204"/>
              </a:rPr>
              <a:t>O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 nach </a:t>
            </a:r>
            <a:r>
              <a:rPr kumimoji="0" lang="de-DE" sz="1600" b="1" i="1" u="none" strike="noStrike" kern="1200" cap="none" spc="0" normalizeH="0" baseline="0" noProof="0" dirty="0" err="1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pensity</a:t>
            </a:r>
            <a:r>
              <a:rPr kumimoji="0" lang="de-DE" sz="1600" b="1" i="1" u="none" strike="noStrike" kern="1200" cap="none" spc="0" normalizeH="0" baseline="0" noProof="0" dirty="0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core </a:t>
            </a:r>
            <a:r>
              <a:rPr kumimoji="0" lang="de-DE" sz="1600" b="1" i="1" u="none" strike="noStrike" kern="1200" cap="none" spc="0" normalizeH="0" baseline="0" noProof="0" dirty="0" err="1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tching</a:t>
            </a:r>
            <a:r>
              <a:rPr kumimoji="0" lang="de-DE" sz="1600" b="1" i="1" u="none" strike="noStrike" kern="1200" cap="none" spc="0" normalizeH="0" baseline="0" noProof="0" dirty="0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sp>
        <p:nvSpPr>
          <p:cNvPr id="333" name="TextBox 26, chunk 11">
            <a:extLst>
              <a:ext uri="{FF2B5EF4-FFF2-40B4-BE49-F238E27FC236}">
                <a16:creationId xmlns:a16="http://schemas.microsoft.com/office/drawing/2014/main" id="{9BC4AE10-18B4-0D02-A3E9-5455755B6F91}"/>
              </a:ext>
            </a:extLst>
          </p:cNvPr>
          <p:cNvSpPr txBox="1"/>
          <p:nvPr/>
        </p:nvSpPr>
        <p:spPr>
          <a:xfrm>
            <a:off x="10933827" y="3553839"/>
            <a:ext cx="940244" cy="9233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algn="r">
              <a:defRPr sz="1200">
                <a:solidFill>
                  <a:srgbClr val="595959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ensiert</a:t>
            </a:r>
          </a:p>
        </p:txBody>
      </p:sp>
      <p:sp>
        <p:nvSpPr>
          <p:cNvPr id="334" name="Kreuz 333">
            <a:extLst>
              <a:ext uri="{FF2B5EF4-FFF2-40B4-BE49-F238E27FC236}">
                <a16:creationId xmlns:a16="http://schemas.microsoft.com/office/drawing/2014/main" id="{8944338B-2609-3D58-41F7-FF2B322330B0}"/>
              </a:ext>
            </a:extLst>
          </p:cNvPr>
          <p:cNvSpPr/>
          <p:nvPr/>
        </p:nvSpPr>
        <p:spPr>
          <a:xfrm>
            <a:off x="10839484" y="3587554"/>
            <a:ext cx="36608" cy="36608"/>
          </a:xfrm>
          <a:prstGeom prst="plus">
            <a:avLst>
              <a:gd name="adj" fmla="val 4184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5" name="TextBox 26, chunk 11">
            <a:extLst>
              <a:ext uri="{FF2B5EF4-FFF2-40B4-BE49-F238E27FC236}">
                <a16:creationId xmlns:a16="http://schemas.microsoft.com/office/drawing/2014/main" id="{7B0CF231-6844-57CA-220E-87B8BC332C3D}"/>
              </a:ext>
            </a:extLst>
          </p:cNvPr>
          <p:cNvSpPr txBox="1"/>
          <p:nvPr/>
        </p:nvSpPr>
        <p:spPr>
          <a:xfrm>
            <a:off x="10350434" y="2942952"/>
            <a:ext cx="940244" cy="12311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algn="r">
              <a:defRPr sz="1200">
                <a:solidFill>
                  <a:srgbClr val="595959"/>
                </a:solidFill>
              </a:defRPr>
            </a:lvl1pPr>
          </a:lstStyle>
          <a:p>
            <a:pPr algn="l"/>
            <a:r>
              <a:rPr lang="de-DE" sz="800" dirty="0">
                <a:solidFill>
                  <a:schemeClr val="tx1"/>
                </a:solidFill>
                <a:latin typeface="Arial" panose="020B0604020202020204"/>
              </a:rPr>
              <a:t>p = 0,7252</a:t>
            </a:r>
            <a:endParaRPr lang="de-DE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8925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0DE591-01A6-9845-9F39-C1DD826B35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389FB26-5C8E-D278-5B18-7DD73D03E7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152601"/>
            <a:ext cx="7449664" cy="2276399"/>
          </a:xfrm>
        </p:spPr>
        <p:txBody>
          <a:bodyPr>
            <a:noAutofit/>
          </a:bodyPr>
          <a:lstStyle/>
          <a:p>
            <a:r>
              <a:rPr lang="en-US" sz="3200" dirty="0"/>
              <a:t>The role of BRAF/MEKi rechallenge in BRAF</a:t>
            </a:r>
            <a:r>
              <a:rPr lang="en-US" sz="3200" baseline="30000" dirty="0"/>
              <a:t>V600</a:t>
            </a:r>
            <a:r>
              <a:rPr lang="en-US" sz="3200" dirty="0"/>
              <a:t> mutated melanoma patients. Insights from a </a:t>
            </a:r>
            <a:r>
              <a:rPr lang="en-US" sz="3200" dirty="0" err="1"/>
              <a:t>EUMelaReg</a:t>
            </a:r>
            <a:r>
              <a:rPr lang="en-US" sz="3200" dirty="0"/>
              <a:t> real-world study</a:t>
            </a:r>
            <a:endParaRPr lang="en-GB" sz="3200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49A5F849-9180-1416-7E86-16D5EA06D2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567037"/>
            <a:ext cx="6434137" cy="1047751"/>
          </a:xfrm>
        </p:spPr>
        <p:txBody>
          <a:bodyPr/>
          <a:lstStyle/>
          <a:p>
            <a:r>
              <a:rPr lang="en-GB" sz="900" dirty="0"/>
              <a:t>Iva Gavrilova</a:t>
            </a:r>
            <a:r>
              <a:rPr lang="en-GB" sz="900" baseline="30000" dirty="0"/>
              <a:t>1</a:t>
            </a:r>
            <a:r>
              <a:rPr lang="en-GB" sz="900" dirty="0"/>
              <a:t>, Michael Weichenthal</a:t>
            </a:r>
            <a:r>
              <a:rPr lang="en-GB" sz="900" baseline="30000" dirty="0"/>
              <a:t>2</a:t>
            </a:r>
            <a:r>
              <a:rPr lang="en-GB" sz="900" dirty="0"/>
              <a:t>, Nethanel Asher</a:t>
            </a:r>
            <a:r>
              <a:rPr lang="en-GB" sz="900" baseline="30000" dirty="0"/>
              <a:t>3</a:t>
            </a:r>
            <a:r>
              <a:rPr lang="en-GB" sz="900" dirty="0"/>
              <a:t>, Jens Ulrich</a:t>
            </a:r>
            <a:r>
              <a:rPr lang="en-GB" sz="900" baseline="30000" dirty="0"/>
              <a:t>4</a:t>
            </a:r>
            <a:r>
              <a:rPr lang="en-GB" sz="900" dirty="0"/>
              <a:t>, Eva Ellebaek</a:t>
            </a:r>
            <a:r>
              <a:rPr lang="en-GB" sz="900" baseline="30000" dirty="0"/>
              <a:t>5</a:t>
            </a:r>
            <a:r>
              <a:rPr lang="en-GB" sz="900" dirty="0"/>
              <a:t>, Alexander Kreuter</a:t>
            </a:r>
            <a:r>
              <a:rPr lang="en-GB" sz="900" baseline="30000" dirty="0"/>
              <a:t>6</a:t>
            </a:r>
            <a:r>
              <a:rPr lang="en-GB" sz="900" dirty="0"/>
              <a:t>, Aleksander Popovic</a:t>
            </a:r>
            <a:r>
              <a:rPr lang="en-GB" sz="900" baseline="30000" dirty="0"/>
              <a:t>7</a:t>
            </a:r>
            <a:r>
              <a:rPr lang="en-GB" sz="900" dirty="0"/>
              <a:t>, Igor Stojkovski</a:t>
            </a:r>
            <a:r>
              <a:rPr lang="en-GB" sz="900" baseline="30000" dirty="0"/>
              <a:t>8</a:t>
            </a:r>
            <a:r>
              <a:rPr lang="en-GB" sz="900" dirty="0"/>
              <a:t>, Shaked Lev-Ari</a:t>
            </a:r>
            <a:r>
              <a:rPr lang="en-GB" sz="900" baseline="30000" dirty="0"/>
              <a:t>9</a:t>
            </a:r>
            <a:r>
              <a:rPr lang="en-GB" sz="900" dirty="0"/>
              <a:t>, Berna C. Özdemir</a:t>
            </a:r>
            <a:r>
              <a:rPr lang="en-GB" sz="900" baseline="30000" dirty="0"/>
              <a:t>10</a:t>
            </a:r>
            <a:r>
              <a:rPr lang="en-GB" sz="900" dirty="0"/>
              <a:t>, Almudena García Castaño</a:t>
            </a:r>
            <a:r>
              <a:rPr lang="en-GB" sz="900" baseline="30000" dirty="0"/>
              <a:t>11</a:t>
            </a:r>
            <a:r>
              <a:rPr lang="en-GB" sz="900" dirty="0"/>
              <a:t>, John Haanen</a:t>
            </a:r>
            <a:r>
              <a:rPr lang="en-GB" sz="900" baseline="30000" dirty="0"/>
              <a:t>12</a:t>
            </a:r>
            <a:r>
              <a:rPr lang="en-GB" sz="900" dirty="0"/>
              <a:t>,</a:t>
            </a:r>
          </a:p>
          <a:p>
            <a:r>
              <a:rPr lang="en-GB" sz="900" dirty="0"/>
              <a:t>Inge Marie Svane</a:t>
            </a:r>
            <a:r>
              <a:rPr lang="en-GB" sz="900" baseline="30000" dirty="0"/>
              <a:t>5</a:t>
            </a:r>
            <a:r>
              <a:rPr lang="en-GB" sz="900" dirty="0"/>
              <a:t>, Peter Mohr</a:t>
            </a:r>
            <a:r>
              <a:rPr lang="en-GB" sz="900" baseline="30000" dirty="0"/>
              <a:t>13</a:t>
            </a:r>
            <a:r>
              <a:rPr lang="en-GB" sz="900" dirty="0"/>
              <a:t>, Paolo Ascierto</a:t>
            </a:r>
            <a:r>
              <a:rPr lang="en-GB" sz="900" baseline="30000" dirty="0"/>
              <a:t>14</a:t>
            </a:r>
            <a:r>
              <a:rPr lang="en-GB" sz="900" dirty="0"/>
              <a:t>, Piotr Rutkowski</a:t>
            </a:r>
            <a:r>
              <a:rPr lang="en-GB" sz="900" baseline="30000" dirty="0"/>
              <a:t>15</a:t>
            </a:r>
            <a:r>
              <a:rPr lang="en-GB" sz="900" dirty="0"/>
              <a:t>, Helen Gogas</a:t>
            </a:r>
            <a:r>
              <a:rPr lang="en-GB" sz="900" baseline="30000" dirty="0"/>
              <a:t>16</a:t>
            </a:r>
            <a:r>
              <a:rPr lang="en-GB" sz="900" dirty="0"/>
              <a:t>, Joanna Mangana</a:t>
            </a:r>
            <a:r>
              <a:rPr lang="en-GB" sz="900" baseline="30000" dirty="0"/>
              <a:t>17</a:t>
            </a:r>
            <a:r>
              <a:rPr lang="en-GB" sz="900" dirty="0"/>
              <a:t>, Lars Bastholt</a:t>
            </a:r>
            <a:r>
              <a:rPr lang="en-GB" sz="900" baseline="30000" dirty="0"/>
              <a:t>18</a:t>
            </a:r>
            <a:r>
              <a:rPr lang="en-GB" sz="900" dirty="0"/>
              <a:t>, Dirk Schadendorf</a:t>
            </a:r>
            <a:r>
              <a:rPr lang="en-GB" sz="900" baseline="30000" dirty="0"/>
              <a:t>19</a:t>
            </a:r>
            <a:r>
              <a:rPr lang="en-GB" sz="900" dirty="0"/>
              <a:t> , the </a:t>
            </a:r>
            <a:r>
              <a:rPr lang="en-GB" sz="900" dirty="0" err="1"/>
              <a:t>EUMelaReg</a:t>
            </a:r>
            <a:r>
              <a:rPr lang="en-GB" sz="900" dirty="0"/>
              <a:t> Study Group*</a:t>
            </a:r>
          </a:p>
          <a:p>
            <a:endParaRPr lang="en-GB" sz="900" dirty="0"/>
          </a:p>
          <a:p>
            <a:r>
              <a:rPr lang="en-GB" sz="700" b="0" baseline="30000" dirty="0"/>
              <a:t>1</a:t>
            </a:r>
            <a:r>
              <a:rPr lang="en-GB" sz="700" b="0" dirty="0"/>
              <a:t>Oncodermatology, Bulgarian National Cancer Registry, Sofia, Bulgaria, </a:t>
            </a:r>
            <a:r>
              <a:rPr lang="en-GB" sz="700" b="0" baseline="30000" dirty="0"/>
              <a:t>2</a:t>
            </a:r>
            <a:r>
              <a:rPr lang="en-GB" sz="700" b="0" dirty="0"/>
              <a:t>Skin Cancer </a:t>
            </a:r>
            <a:r>
              <a:rPr lang="en-GB" sz="700" b="0" dirty="0" err="1"/>
              <a:t>Center</a:t>
            </a:r>
            <a:r>
              <a:rPr lang="en-GB" sz="700" b="0" dirty="0"/>
              <a:t> Kiel, University Hospital Schleswig-Holstein, Kiel, Germany, </a:t>
            </a:r>
            <a:r>
              <a:rPr lang="en-GB" sz="700" b="0" baseline="30000" dirty="0"/>
              <a:t>3</a:t>
            </a:r>
            <a:r>
              <a:rPr lang="en-GB" sz="700" b="0" dirty="0"/>
              <a:t>Skin Cancer and Melanoma </a:t>
            </a:r>
            <a:r>
              <a:rPr lang="en-GB" sz="700" b="0" dirty="0" err="1"/>
              <a:t>Center</a:t>
            </a:r>
            <a:r>
              <a:rPr lang="en-GB" sz="700" b="0" dirty="0"/>
              <a:t> at Davidoff Cancer </a:t>
            </a:r>
            <a:r>
              <a:rPr lang="en-GB" sz="700" b="0" dirty="0" err="1"/>
              <a:t>Center</a:t>
            </a:r>
            <a:r>
              <a:rPr lang="en-GB" sz="700" b="0" dirty="0"/>
              <a:t>, Rabin Medical </a:t>
            </a:r>
            <a:r>
              <a:rPr lang="en-GB" sz="700" b="0" dirty="0" err="1"/>
              <a:t>Center</a:t>
            </a:r>
            <a:r>
              <a:rPr lang="en-GB" sz="700" b="0" dirty="0"/>
              <a:t>, Israel, </a:t>
            </a:r>
            <a:r>
              <a:rPr lang="en-GB" sz="700" b="0" baseline="30000" dirty="0"/>
              <a:t>4</a:t>
            </a:r>
            <a:r>
              <a:rPr lang="en-GB" sz="700" b="0" dirty="0"/>
              <a:t>Department of Dermatology and Allergy, </a:t>
            </a:r>
            <a:r>
              <a:rPr lang="en-GB" sz="700" b="0" dirty="0" err="1"/>
              <a:t>Harzklinikum</a:t>
            </a:r>
            <a:r>
              <a:rPr lang="en-GB" sz="700" b="0" dirty="0"/>
              <a:t> Dorothea Christiane Erxleben GmbH, </a:t>
            </a:r>
            <a:r>
              <a:rPr lang="en-GB" sz="700" b="0" dirty="0" err="1"/>
              <a:t>Quedlinburg</a:t>
            </a:r>
            <a:r>
              <a:rPr lang="en-GB" sz="700" b="0" dirty="0"/>
              <a:t>, Germany, </a:t>
            </a:r>
            <a:r>
              <a:rPr lang="en-GB" sz="700" b="0" baseline="30000" dirty="0"/>
              <a:t>5</a:t>
            </a:r>
            <a:r>
              <a:rPr lang="en-GB" sz="700" b="0" dirty="0"/>
              <a:t>National </a:t>
            </a:r>
            <a:r>
              <a:rPr lang="en-GB" sz="700" b="0" dirty="0" err="1"/>
              <a:t>Center</a:t>
            </a:r>
            <a:r>
              <a:rPr lang="en-GB" sz="700" b="0" dirty="0"/>
              <a:t> for Cancer Immune Therapy (CCIT-DK), Department of Oncology, Copenhagen</a:t>
            </a:r>
          </a:p>
          <a:p>
            <a:r>
              <a:rPr lang="en-GB" sz="700" b="0" dirty="0"/>
              <a:t>University Hospital, Herlev, Denmark, </a:t>
            </a:r>
            <a:r>
              <a:rPr lang="en-GB" sz="700" b="0" baseline="30000" dirty="0"/>
              <a:t>6</a:t>
            </a:r>
            <a:r>
              <a:rPr lang="en-GB" sz="700" b="0" dirty="0"/>
              <a:t>Department of Dermatology, Venereology and Allergology, HELIOS St. Elisabeth </a:t>
            </a:r>
            <a:r>
              <a:rPr lang="en-GB" sz="700" b="0" dirty="0" err="1"/>
              <a:t>Klinik</a:t>
            </a:r>
            <a:r>
              <a:rPr lang="en-GB" sz="700" b="0" dirty="0"/>
              <a:t> Oberhausen, Oberhausen, Germany, </a:t>
            </a:r>
            <a:r>
              <a:rPr lang="en-GB" sz="700" b="0" baseline="30000" dirty="0"/>
              <a:t>7</a:t>
            </a:r>
            <a:r>
              <a:rPr lang="en-GB" sz="700" b="0" dirty="0"/>
              <a:t>University Clinical </a:t>
            </a:r>
            <a:r>
              <a:rPr lang="en-GB" sz="700" b="0" dirty="0" err="1"/>
              <a:t>Center</a:t>
            </a:r>
            <a:r>
              <a:rPr lang="en-GB" sz="700" b="0" dirty="0"/>
              <a:t> Nis, Nis, Serbia, </a:t>
            </a:r>
            <a:r>
              <a:rPr lang="en-GB" sz="700" b="0" baseline="30000" dirty="0"/>
              <a:t>8</a:t>
            </a:r>
            <a:r>
              <a:rPr lang="en-GB" sz="700" b="0" dirty="0"/>
              <a:t>University Clinic of Radiotherapy and Oncology, Skopje, North Macedonia, </a:t>
            </a:r>
            <a:r>
              <a:rPr lang="en-GB" sz="700" b="0" baseline="30000" dirty="0"/>
              <a:t>9</a:t>
            </a:r>
            <a:r>
              <a:rPr lang="en-GB" sz="700" b="0" dirty="0"/>
              <a:t>The Ella </a:t>
            </a:r>
            <a:r>
              <a:rPr lang="en-GB" sz="700" b="0" dirty="0" err="1"/>
              <a:t>Lemelbaum</a:t>
            </a:r>
            <a:r>
              <a:rPr lang="en-GB" sz="700" b="0" dirty="0"/>
              <a:t> Institute for Immuno-Oncology and Melanoma, Ramat-Gan, Israel, </a:t>
            </a:r>
            <a:r>
              <a:rPr lang="en-GB" sz="700" b="0" baseline="30000" dirty="0"/>
              <a:t>10</a:t>
            </a:r>
            <a:r>
              <a:rPr lang="en-GB" sz="700" b="0" dirty="0"/>
              <a:t>Department of Medical Oncology, </a:t>
            </a:r>
            <a:r>
              <a:rPr lang="en-GB" sz="700" b="0" dirty="0" err="1"/>
              <a:t>Inselspital</a:t>
            </a:r>
            <a:r>
              <a:rPr lang="en-GB" sz="700" b="0" dirty="0"/>
              <a:t> Bern, Bern University Hospital, Bern, Switzerland, </a:t>
            </a:r>
            <a:r>
              <a:rPr lang="en-GB" sz="700" b="0" baseline="30000" dirty="0"/>
              <a:t>11</a:t>
            </a:r>
            <a:r>
              <a:rPr lang="en-GB" sz="700" b="0" dirty="0"/>
              <a:t>Hospital Universitario Marqués de </a:t>
            </a:r>
            <a:r>
              <a:rPr lang="en-GB" sz="700" b="0" dirty="0" err="1"/>
              <a:t>Valdecilla</a:t>
            </a:r>
            <a:r>
              <a:rPr lang="en-GB" sz="700" b="0" dirty="0"/>
              <a:t>, Santander, Spain, </a:t>
            </a:r>
            <a:r>
              <a:rPr lang="en-GB" sz="700" b="0" baseline="30000" dirty="0"/>
              <a:t>12</a:t>
            </a:r>
            <a:r>
              <a:rPr lang="en-GB" sz="700" b="0" dirty="0"/>
              <a:t>Division of Medical Oncology, Netherlands Cancer Institute, Amsterdam, Netherlands, </a:t>
            </a:r>
            <a:r>
              <a:rPr lang="en-GB" sz="700" b="0" baseline="30000" dirty="0"/>
              <a:t>13</a:t>
            </a:r>
            <a:r>
              <a:rPr lang="en-GB" sz="700" b="0" dirty="0"/>
              <a:t>Department of Dermatology, </a:t>
            </a:r>
            <a:r>
              <a:rPr lang="en-GB" sz="700" b="0" dirty="0" err="1"/>
              <a:t>Elbekliniken</a:t>
            </a:r>
            <a:r>
              <a:rPr lang="en-GB" sz="700" b="0" dirty="0"/>
              <a:t> Buxtehude, Buxtehude, Germany, </a:t>
            </a:r>
            <a:r>
              <a:rPr lang="en-GB" sz="700" b="0" baseline="30000" dirty="0"/>
              <a:t>14</a:t>
            </a:r>
            <a:r>
              <a:rPr lang="en-GB" sz="700" b="0" dirty="0"/>
              <a:t>Melanoma, Cancer Immunotherapy &amp; Developmental Therapeutics, </a:t>
            </a:r>
            <a:r>
              <a:rPr lang="en-GB" sz="700" b="0" dirty="0" err="1"/>
              <a:t>Istituto</a:t>
            </a:r>
            <a:r>
              <a:rPr lang="en-GB" sz="700" b="0" dirty="0"/>
              <a:t> Nazionale </a:t>
            </a:r>
            <a:r>
              <a:rPr lang="en-GB" sz="700" b="0" dirty="0" err="1"/>
              <a:t>Tumori</a:t>
            </a:r>
            <a:r>
              <a:rPr lang="en-GB" sz="700" b="0" dirty="0"/>
              <a:t> -IRCCS - Fondazione Pascale, Napoli, Italy, </a:t>
            </a:r>
            <a:r>
              <a:rPr lang="en-GB" sz="700" b="0" baseline="30000" dirty="0"/>
              <a:t>15</a:t>
            </a:r>
            <a:r>
              <a:rPr lang="en-GB" sz="700" b="0" dirty="0"/>
              <a:t>Department of Soft Tissue/Bone Sarcoma and Melanoma, Maria Sklodowska-Curie National Research Institute of Oncology, Warsaw, Poland, </a:t>
            </a:r>
            <a:r>
              <a:rPr lang="en-GB" sz="700" b="0" baseline="30000" dirty="0"/>
              <a:t>16</a:t>
            </a:r>
            <a:r>
              <a:rPr lang="en-GB" sz="700" b="0" dirty="0"/>
              <a:t>First Department of Medicine, National and </a:t>
            </a:r>
            <a:r>
              <a:rPr lang="en-GB" sz="700" b="0" dirty="0" err="1"/>
              <a:t>Kapodistrian</a:t>
            </a:r>
            <a:r>
              <a:rPr lang="en-GB" sz="700" b="0" dirty="0"/>
              <a:t> University of Athens, Athens, Greece, </a:t>
            </a:r>
            <a:r>
              <a:rPr lang="en-GB" sz="700" b="0" baseline="30000" dirty="0"/>
              <a:t>17</a:t>
            </a:r>
            <a:r>
              <a:rPr lang="en-GB" sz="700" b="0" dirty="0"/>
              <a:t>University Hospital of Zurich, Zurich, Switzerland, </a:t>
            </a:r>
            <a:r>
              <a:rPr lang="en-GB" sz="700" b="0" baseline="30000" dirty="0"/>
              <a:t>18</a:t>
            </a:r>
            <a:r>
              <a:rPr lang="en-GB" sz="700" b="0" dirty="0"/>
              <a:t>Department of Oncology, Odense University Hospital, Odense, Denmark, </a:t>
            </a:r>
            <a:r>
              <a:rPr lang="en-GB" sz="700" b="0" baseline="30000" dirty="0"/>
              <a:t>19</a:t>
            </a:r>
            <a:r>
              <a:rPr lang="en-GB" sz="700" b="0" dirty="0"/>
              <a:t>Department of Dermatology, Venereology and Allergology, University Hospital Essen, Essen, Germany</a:t>
            </a:r>
          </a:p>
        </p:txBody>
      </p:sp>
    </p:spTree>
    <p:extLst>
      <p:ext uri="{BB962C8B-B14F-4D97-AF65-F5344CB8AC3E}">
        <p14:creationId xmlns:p14="http://schemas.microsoft.com/office/powerpoint/2010/main" val="22245353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1E0D0A-A2F4-8E33-83F1-E40D9D9206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14081B2-ACA9-CA15-9BC7-153149B91B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380104"/>
          </a:xfrm>
        </p:spPr>
        <p:txBody>
          <a:bodyPr/>
          <a:lstStyle/>
          <a:p>
            <a:r>
              <a:rPr lang="de-DE" dirty="0"/>
              <a:t>Hintergrund, Studienziel und Method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773ACFB-39F7-EE7D-3A71-7636C1249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CB0E19-F4C8-4F98-96D2-CE1ECDE59975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9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94A92C7-19DB-E88A-E0B3-B5CF349625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b="1" dirty="0"/>
              <a:t>1L/2L </a:t>
            </a:r>
            <a:r>
              <a:rPr lang="de-DE" dirty="0"/>
              <a:t>Erstlinie/Zweitlinie. </a:t>
            </a:r>
            <a:r>
              <a:rPr lang="de-DE" b="1" dirty="0"/>
              <a:t>BRAF </a:t>
            </a:r>
            <a:r>
              <a:rPr lang="de-DE" dirty="0"/>
              <a:t>Serin/Threonin-Kinase B-</a:t>
            </a:r>
            <a:r>
              <a:rPr lang="de-DE" dirty="0" err="1"/>
              <a:t>Raf</a:t>
            </a:r>
            <a:r>
              <a:rPr lang="de-DE" dirty="0"/>
              <a:t>.</a:t>
            </a:r>
            <a:r>
              <a:rPr lang="de-DE" b="1" dirty="0"/>
              <a:t> DCR </a:t>
            </a:r>
            <a:r>
              <a:rPr lang="de-DE" dirty="0"/>
              <a:t>Krankheitskontrollrate. </a:t>
            </a:r>
            <a:r>
              <a:rPr lang="en-US" b="1" dirty="0"/>
              <a:t>ICI </a:t>
            </a:r>
            <a:r>
              <a:rPr lang="en-US" dirty="0" err="1"/>
              <a:t>Immuncheckpoint</a:t>
            </a:r>
            <a:r>
              <a:rPr lang="en-US" dirty="0"/>
              <a:t>-Inhibitor. </a:t>
            </a:r>
            <a:r>
              <a:rPr lang="en-US" b="1" dirty="0"/>
              <a:t>LDH</a:t>
            </a:r>
            <a:r>
              <a:rPr lang="en-US" dirty="0"/>
              <a:t> Laktatdehydrogenase. </a:t>
            </a:r>
            <a:r>
              <a:rPr lang="de-DE" b="1" dirty="0"/>
              <a:t>MEK </a:t>
            </a:r>
            <a:r>
              <a:rPr lang="de-DE" dirty="0" err="1"/>
              <a:t>Mitogen</a:t>
            </a:r>
            <a:r>
              <a:rPr lang="de-DE" dirty="0"/>
              <a:t>-aktivierte Proteinkinase-Kinase. </a:t>
            </a:r>
            <a:br>
              <a:rPr lang="de-DE" dirty="0"/>
            </a:br>
            <a:r>
              <a:rPr lang="de-DE" b="1" dirty="0"/>
              <a:t>ORR </a:t>
            </a:r>
            <a:r>
              <a:rPr lang="de-DE" dirty="0"/>
              <a:t>Gesamtansprechrate. </a:t>
            </a:r>
            <a:r>
              <a:rPr lang="de-DE" b="1" dirty="0">
                <a:solidFill>
                  <a:srgbClr val="000000"/>
                </a:solidFill>
              </a:rPr>
              <a:t>OS</a:t>
            </a:r>
            <a:r>
              <a:rPr lang="de-DE" dirty="0">
                <a:solidFill>
                  <a:srgbClr val="000000"/>
                </a:solidFill>
              </a:rPr>
              <a:t> Gesamtüberleben. </a:t>
            </a:r>
            <a:r>
              <a:rPr lang="de-DE" b="1" dirty="0">
                <a:solidFill>
                  <a:srgbClr val="000000"/>
                </a:solidFill>
              </a:rPr>
              <a:t>PFS </a:t>
            </a:r>
            <a:r>
              <a:rPr lang="de-DE" dirty="0">
                <a:solidFill>
                  <a:srgbClr val="000000"/>
                </a:solidFill>
              </a:rPr>
              <a:t>Progressionsfreies Überleben.</a:t>
            </a:r>
            <a:endParaRPr lang="de-DE" dirty="0"/>
          </a:p>
          <a:p>
            <a:r>
              <a:rPr lang="de-DE" dirty="0"/>
              <a:t>Gavrilova I, et al. ESMO 2025. Poster 1642P. 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12B861C-AFBF-8DF9-365C-9E4D18B02A33}"/>
              </a:ext>
            </a:extLst>
          </p:cNvPr>
          <p:cNvSpPr txBox="1"/>
          <p:nvPr/>
        </p:nvSpPr>
        <p:spPr>
          <a:xfrm>
            <a:off x="1474434" y="1266082"/>
            <a:ext cx="8015930" cy="49654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intergrun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585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ür Patient*innen mit fortgeschrittenem BRAF V600-mutiertem Melanom, die bereits sowohl eine BRAF/MEK-Inhibitor-(BRAF/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Ki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- als auch eine Immuncheckpoint-Inhibitor-(ICI)-Therapie erhalten haben, sind die Therapieoptionen limitiert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585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in „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challenge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“ mit BRAF/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Ki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erneuter Einsatz nach vorheriger Therapie) wird als potenzielle Option betrachtet, insbesondere nach Versagen anderer Therapie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rgbClr val="FF585D"/>
              </a:buClr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udienziel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585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ntersuchung der Effektivität einer BRAF/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Ki-Rechallenge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nach ICI-Therapie, differenziert nach Art der Vortherapie (adjuvant vs. </a:t>
            </a:r>
            <a:r>
              <a:rPr lang="de-DE" sz="1600" dirty="0">
                <a:solidFill>
                  <a:srgbClr val="002068"/>
                </a:solidFill>
                <a:latin typeface="Arial" panose="020B0604020202020204"/>
              </a:rPr>
              <a:t>n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cht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djuvant) und im Vergleich zu BRAF/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Ki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naiven Patient*inn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rgbClr val="FF585D"/>
              </a:buClr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thode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585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trospektive, multizentrische Registerstudie mit Daten aus dem Europäischen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lanomregister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UMelaReg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585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00206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585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600" b="0" i="0" u="none" strike="noStrike" kern="1200" cap="none" spc="0" normalizeH="0" baseline="30000" noProof="0" dirty="0">
              <a:ln>
                <a:noFill/>
              </a:ln>
              <a:solidFill>
                <a:srgbClr val="00206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" name="Grafik 5" descr="Ein Bild, das Kreis, Grafiken, Schrift, Logo enthält.&#10;&#10;KI-generierte Inhalte können fehlerhaft sein.">
            <a:extLst>
              <a:ext uri="{FF2B5EF4-FFF2-40B4-BE49-F238E27FC236}">
                <a16:creationId xmlns:a16="http://schemas.microsoft.com/office/drawing/2014/main" id="{873EF3A2-4CBF-F6BD-22C3-468A931F1C0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321" y="4671462"/>
            <a:ext cx="720000" cy="720000"/>
          </a:xfrm>
          <a:prstGeom prst="rect">
            <a:avLst/>
          </a:prstGeom>
        </p:spPr>
      </p:pic>
      <p:pic>
        <p:nvPicPr>
          <p:cNvPr id="11" name="Grafik 10" descr="Ein Bild, das Kreis, Grafiken enthält.&#10;&#10;KI-generierte Inhalte können fehlerhaft sein.">
            <a:extLst>
              <a:ext uri="{FF2B5EF4-FFF2-40B4-BE49-F238E27FC236}">
                <a16:creationId xmlns:a16="http://schemas.microsoft.com/office/drawing/2014/main" id="{8B680B70-1252-ECF8-E657-3563C6B9180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837" y="3418366"/>
            <a:ext cx="720000" cy="720000"/>
          </a:xfrm>
          <a:prstGeom prst="rect">
            <a:avLst/>
          </a:prstGeom>
        </p:spPr>
      </p:pic>
      <p:pic>
        <p:nvPicPr>
          <p:cNvPr id="12" name="Grafik 11" descr="Ein Bild, das Kreis, Screenshot, Grafiken, Farbigkeit enthält.&#10;&#10;KI-generierte Inhalte können fehlerhaft sein.">
            <a:extLst>
              <a:ext uri="{FF2B5EF4-FFF2-40B4-BE49-F238E27FC236}">
                <a16:creationId xmlns:a16="http://schemas.microsoft.com/office/drawing/2014/main" id="{7F6FC8EF-B2E7-B2E2-FC64-B804A63D438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321" y="1280247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05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2136C0-0847-7B21-7040-AD0551FA46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60BAE8-863E-5B64-B167-9E16BD90A8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380104"/>
          </a:xfrm>
        </p:spPr>
        <p:txBody>
          <a:bodyPr/>
          <a:lstStyle/>
          <a:p>
            <a:r>
              <a:rPr lang="de-DE" dirty="0"/>
              <a:t>Hintergrund, Studienziel und Method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042EB05-8057-4FA8-F3BD-B84A0C45EB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CB0E19-F4C8-4F98-96D2-CE1ECDE59975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9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959C4C81-EB5F-2C15-DB1D-BCE498EED11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b="1" dirty="0"/>
              <a:t>1L/2L </a:t>
            </a:r>
            <a:r>
              <a:rPr lang="de-DE" dirty="0"/>
              <a:t>Erstlinie/Zweitlinie. </a:t>
            </a:r>
            <a:r>
              <a:rPr lang="de-DE" b="1" dirty="0"/>
              <a:t>BRAF </a:t>
            </a:r>
            <a:r>
              <a:rPr lang="de-DE" dirty="0"/>
              <a:t>Serin/Threonin-Kinase B-</a:t>
            </a:r>
            <a:r>
              <a:rPr lang="de-DE" dirty="0" err="1"/>
              <a:t>Raf</a:t>
            </a:r>
            <a:r>
              <a:rPr lang="de-DE" dirty="0"/>
              <a:t>.</a:t>
            </a:r>
            <a:r>
              <a:rPr lang="de-DE" b="1" dirty="0"/>
              <a:t> DCR </a:t>
            </a:r>
            <a:r>
              <a:rPr lang="de-DE" dirty="0"/>
              <a:t>Krankheitskontrollrate. </a:t>
            </a:r>
            <a:r>
              <a:rPr lang="en-US" b="1" dirty="0"/>
              <a:t>ICI </a:t>
            </a:r>
            <a:r>
              <a:rPr lang="en-US" dirty="0" err="1"/>
              <a:t>Immuncheckpoint</a:t>
            </a:r>
            <a:r>
              <a:rPr lang="en-US" dirty="0"/>
              <a:t>-Inhibitor. </a:t>
            </a:r>
            <a:r>
              <a:rPr lang="en-US" b="1" dirty="0"/>
              <a:t>LDH</a:t>
            </a:r>
            <a:r>
              <a:rPr lang="en-US" dirty="0"/>
              <a:t> Laktatdehydrogenase. </a:t>
            </a:r>
            <a:r>
              <a:rPr lang="de-DE" b="1" dirty="0"/>
              <a:t>MEK </a:t>
            </a:r>
            <a:r>
              <a:rPr lang="de-DE" dirty="0" err="1"/>
              <a:t>Mitogen</a:t>
            </a:r>
            <a:r>
              <a:rPr lang="de-DE" dirty="0"/>
              <a:t>-aktivierte Proteinkinase-Kinase. </a:t>
            </a:r>
            <a:br>
              <a:rPr lang="de-DE" dirty="0"/>
            </a:br>
            <a:r>
              <a:rPr lang="de-DE" b="1" dirty="0"/>
              <a:t>ORR </a:t>
            </a:r>
            <a:r>
              <a:rPr lang="de-DE" dirty="0"/>
              <a:t>Gesamtansprechrate. </a:t>
            </a:r>
            <a:r>
              <a:rPr lang="de-DE" b="1" dirty="0">
                <a:solidFill>
                  <a:srgbClr val="000000"/>
                </a:solidFill>
              </a:rPr>
              <a:t>OS</a:t>
            </a:r>
            <a:r>
              <a:rPr lang="de-DE" dirty="0">
                <a:solidFill>
                  <a:srgbClr val="000000"/>
                </a:solidFill>
              </a:rPr>
              <a:t> Gesamtüberleben. </a:t>
            </a:r>
            <a:r>
              <a:rPr lang="de-DE" b="1" dirty="0">
                <a:solidFill>
                  <a:srgbClr val="000000"/>
                </a:solidFill>
              </a:rPr>
              <a:t>PFS </a:t>
            </a:r>
            <a:r>
              <a:rPr lang="de-DE" dirty="0">
                <a:solidFill>
                  <a:srgbClr val="000000"/>
                </a:solidFill>
              </a:rPr>
              <a:t>Progressionsfreies Überleben.</a:t>
            </a:r>
            <a:endParaRPr lang="de-DE" dirty="0"/>
          </a:p>
          <a:p>
            <a:r>
              <a:rPr lang="de-DE" dirty="0"/>
              <a:t>Gavrilova I, et al. ESMO 2025. Poster 1642P. </a:t>
            </a:r>
          </a:p>
        </p:txBody>
      </p:sp>
      <p:grpSp>
        <p:nvGrpSpPr>
          <p:cNvPr id="69" name="Gruppieren 68">
            <a:extLst>
              <a:ext uri="{FF2B5EF4-FFF2-40B4-BE49-F238E27FC236}">
                <a16:creationId xmlns:a16="http://schemas.microsoft.com/office/drawing/2014/main" id="{49A8023B-B95B-1493-43EE-38D6C378E399}"/>
              </a:ext>
            </a:extLst>
          </p:cNvPr>
          <p:cNvGrpSpPr/>
          <p:nvPr/>
        </p:nvGrpSpPr>
        <p:grpSpPr>
          <a:xfrm>
            <a:off x="968480" y="1641229"/>
            <a:ext cx="5514450" cy="4349067"/>
            <a:chOff x="6825752" y="1043348"/>
            <a:chExt cx="5089766" cy="4657740"/>
          </a:xfrm>
        </p:grpSpPr>
        <p:sp>
          <p:nvSpPr>
            <p:cNvPr id="3" name="Rechteck: abgerundete Ecken 2">
              <a:extLst>
                <a:ext uri="{FF2B5EF4-FFF2-40B4-BE49-F238E27FC236}">
                  <a16:creationId xmlns:a16="http://schemas.microsoft.com/office/drawing/2014/main" id="{93D7492B-8443-D13C-817A-61870ADA5549}"/>
                </a:ext>
              </a:extLst>
            </p:cNvPr>
            <p:cNvSpPr/>
            <p:nvPr/>
          </p:nvSpPr>
          <p:spPr>
            <a:xfrm>
              <a:off x="7551753" y="1043348"/>
              <a:ext cx="3622028" cy="473797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900" b="1" dirty="0" err="1">
                  <a:solidFill>
                    <a:schemeClr val="tx2"/>
                  </a:solidFill>
                </a:rPr>
                <a:t>EUMelaReg</a:t>
              </a:r>
              <a:r>
                <a:rPr lang="de-DE" sz="900" b="1" dirty="0">
                  <a:solidFill>
                    <a:schemeClr val="tx2"/>
                  </a:solidFill>
                </a:rPr>
                <a:t>-Datenbank</a:t>
              </a:r>
            </a:p>
            <a:p>
              <a:pPr algn="ctr"/>
              <a:r>
                <a:rPr lang="en-US" sz="900">
                  <a:solidFill>
                    <a:schemeClr val="tx2"/>
                  </a:solidFill>
                </a:rPr>
                <a:t>BRAF V600-mutiertes, nicht </a:t>
              </a:r>
              <a:r>
                <a:rPr lang="de-DE" sz="900" dirty="0" err="1">
                  <a:solidFill>
                    <a:schemeClr val="tx2"/>
                  </a:solidFill>
                </a:rPr>
                <a:t>resezierbares</a:t>
              </a:r>
              <a:r>
                <a:rPr lang="de-DE" sz="900" dirty="0">
                  <a:solidFill>
                    <a:schemeClr val="tx2"/>
                  </a:solidFill>
                </a:rPr>
                <a:t> k</a:t>
              </a:r>
              <a:r>
                <a:rPr lang="en-US" sz="900" dirty="0" err="1">
                  <a:solidFill>
                    <a:schemeClr val="tx2"/>
                  </a:solidFill>
                </a:rPr>
                <a:t>utanes</a:t>
              </a:r>
              <a:r>
                <a:rPr lang="en-US" sz="900" dirty="0">
                  <a:solidFill>
                    <a:schemeClr val="tx2"/>
                  </a:solidFill>
                </a:rPr>
                <a:t> </a:t>
              </a:r>
              <a:r>
                <a:rPr lang="en-US" sz="900" dirty="0" err="1">
                  <a:solidFill>
                    <a:schemeClr val="tx2"/>
                  </a:solidFill>
                </a:rPr>
                <a:t>Melanom</a:t>
              </a:r>
              <a:r>
                <a:rPr lang="en-US" sz="900" dirty="0">
                  <a:solidFill>
                    <a:schemeClr val="tx2"/>
                  </a:solidFill>
                </a:rPr>
                <a:t> oder </a:t>
              </a:r>
              <a:r>
                <a:rPr lang="en-US" sz="900" dirty="0" err="1">
                  <a:solidFill>
                    <a:schemeClr val="tx2"/>
                  </a:solidFill>
                </a:rPr>
                <a:t>Melanom</a:t>
              </a:r>
              <a:r>
                <a:rPr lang="en-US" sz="900" dirty="0">
                  <a:solidFill>
                    <a:schemeClr val="tx2"/>
                  </a:solidFill>
                </a:rPr>
                <a:t> </a:t>
              </a:r>
              <a:r>
                <a:rPr lang="en-US" sz="900" dirty="0" err="1">
                  <a:solidFill>
                    <a:schemeClr val="tx2"/>
                  </a:solidFill>
                </a:rPr>
                <a:t>ungeklärtenn</a:t>
              </a:r>
              <a:r>
                <a:rPr lang="en-US" sz="900" dirty="0">
                  <a:solidFill>
                    <a:schemeClr val="tx2"/>
                  </a:solidFill>
                </a:rPr>
                <a:t> </a:t>
              </a:r>
              <a:r>
                <a:rPr lang="en-US" sz="900" dirty="0" err="1">
                  <a:solidFill>
                    <a:schemeClr val="tx2"/>
                  </a:solidFill>
                </a:rPr>
                <a:t>Ursprungs</a:t>
              </a:r>
              <a:r>
                <a:rPr lang="en-US" sz="900" dirty="0">
                  <a:solidFill>
                    <a:schemeClr val="tx2"/>
                  </a:solidFill>
                </a:rPr>
                <a:t> </a:t>
              </a:r>
              <a:r>
                <a:rPr lang="de-DE" sz="900" dirty="0">
                  <a:solidFill>
                    <a:schemeClr val="tx2"/>
                  </a:solidFill>
                </a:rPr>
                <a:t>Stadium </a:t>
              </a:r>
              <a:r>
                <a:rPr lang="en-US" sz="900" dirty="0">
                  <a:solidFill>
                    <a:schemeClr val="tx2"/>
                  </a:solidFill>
                </a:rPr>
                <a:t>III/IV</a:t>
              </a:r>
            </a:p>
          </p:txBody>
        </p:sp>
        <p:cxnSp>
          <p:nvCxnSpPr>
            <p:cNvPr id="19" name="Gerade Verbindung mit Pfeil 18">
              <a:extLst>
                <a:ext uri="{FF2B5EF4-FFF2-40B4-BE49-F238E27FC236}">
                  <a16:creationId xmlns:a16="http://schemas.microsoft.com/office/drawing/2014/main" id="{B5524261-4907-9A8A-F8A5-C472C73BCBCF}"/>
                </a:ext>
              </a:extLst>
            </p:cNvPr>
            <p:cNvCxnSpPr>
              <a:cxnSpLocks/>
              <a:stCxn id="3" idx="2"/>
              <a:endCxn id="40" idx="0"/>
            </p:cNvCxnSpPr>
            <p:nvPr/>
          </p:nvCxnSpPr>
          <p:spPr>
            <a:xfrm>
              <a:off x="9362767" y="1517145"/>
              <a:ext cx="9836" cy="2359130"/>
            </a:xfrm>
            <a:prstGeom prst="straightConnector1">
              <a:avLst/>
            </a:prstGeom>
            <a:ln w="12700">
              <a:solidFill>
                <a:srgbClr val="0460A9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mit Pfeil 19">
              <a:extLst>
                <a:ext uri="{FF2B5EF4-FFF2-40B4-BE49-F238E27FC236}">
                  <a16:creationId xmlns:a16="http://schemas.microsoft.com/office/drawing/2014/main" id="{3CA779C3-8082-122B-7EE0-1A4197335B84}"/>
                </a:ext>
              </a:extLst>
            </p:cNvPr>
            <p:cNvCxnSpPr>
              <a:cxnSpLocks/>
              <a:endCxn id="39" idx="0"/>
            </p:cNvCxnSpPr>
            <p:nvPr/>
          </p:nvCxnSpPr>
          <p:spPr>
            <a:xfrm>
              <a:off x="7688679" y="1517145"/>
              <a:ext cx="0" cy="2364461"/>
            </a:xfrm>
            <a:prstGeom prst="straightConnector1">
              <a:avLst/>
            </a:prstGeom>
            <a:ln w="12700">
              <a:solidFill>
                <a:srgbClr val="0460A9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mit Pfeil 20">
              <a:extLst>
                <a:ext uri="{FF2B5EF4-FFF2-40B4-BE49-F238E27FC236}">
                  <a16:creationId xmlns:a16="http://schemas.microsoft.com/office/drawing/2014/main" id="{36599E63-4651-A6F6-8BB7-E1507A78EDD8}"/>
                </a:ext>
              </a:extLst>
            </p:cNvPr>
            <p:cNvCxnSpPr>
              <a:cxnSpLocks/>
              <a:endCxn id="44" idx="0"/>
            </p:cNvCxnSpPr>
            <p:nvPr/>
          </p:nvCxnSpPr>
          <p:spPr>
            <a:xfrm>
              <a:off x="11031358" y="1517145"/>
              <a:ext cx="0" cy="2930488"/>
            </a:xfrm>
            <a:prstGeom prst="straightConnector1">
              <a:avLst/>
            </a:prstGeom>
            <a:ln w="12700">
              <a:solidFill>
                <a:srgbClr val="0460A9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mit Pfeil 22">
              <a:extLst>
                <a:ext uri="{FF2B5EF4-FFF2-40B4-BE49-F238E27FC236}">
                  <a16:creationId xmlns:a16="http://schemas.microsoft.com/office/drawing/2014/main" id="{88B5D951-7D36-3F3A-1116-25CFB0AF439C}"/>
                </a:ext>
              </a:extLst>
            </p:cNvPr>
            <p:cNvCxnSpPr>
              <a:cxnSpLocks/>
            </p:cNvCxnSpPr>
            <p:nvPr/>
          </p:nvCxnSpPr>
          <p:spPr>
            <a:xfrm>
              <a:off x="9338005" y="4267825"/>
              <a:ext cx="0" cy="305313"/>
            </a:xfrm>
            <a:prstGeom prst="straightConnector1">
              <a:avLst/>
            </a:prstGeom>
            <a:ln w="12700">
              <a:solidFill>
                <a:srgbClr val="0460A9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mit Pfeil 23">
              <a:extLst>
                <a:ext uri="{FF2B5EF4-FFF2-40B4-BE49-F238E27FC236}">
                  <a16:creationId xmlns:a16="http://schemas.microsoft.com/office/drawing/2014/main" id="{661923E9-4720-A661-971A-77D07AE052E9}"/>
                </a:ext>
              </a:extLst>
            </p:cNvPr>
            <p:cNvCxnSpPr>
              <a:cxnSpLocks/>
            </p:cNvCxnSpPr>
            <p:nvPr/>
          </p:nvCxnSpPr>
          <p:spPr>
            <a:xfrm>
              <a:off x="7688679" y="4305843"/>
              <a:ext cx="0" cy="300113"/>
            </a:xfrm>
            <a:prstGeom prst="straightConnector1">
              <a:avLst/>
            </a:prstGeom>
            <a:ln w="12700">
              <a:solidFill>
                <a:srgbClr val="0460A9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Rechteck: abgerundete Ecken 25">
              <a:extLst>
                <a:ext uri="{FF2B5EF4-FFF2-40B4-BE49-F238E27FC236}">
                  <a16:creationId xmlns:a16="http://schemas.microsoft.com/office/drawing/2014/main" id="{E69D2E04-4729-D43E-775E-B02DC1FAC356}"/>
                </a:ext>
              </a:extLst>
            </p:cNvPr>
            <p:cNvSpPr/>
            <p:nvPr/>
          </p:nvSpPr>
          <p:spPr>
            <a:xfrm>
              <a:off x="6901990" y="1683865"/>
              <a:ext cx="1573378" cy="468465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900" dirty="0">
                  <a:solidFill>
                    <a:schemeClr val="tx2"/>
                  </a:solidFill>
                </a:rPr>
                <a:t>Adjuvante BRAF/</a:t>
              </a:r>
              <a:r>
                <a:rPr lang="de-DE" sz="900" dirty="0" err="1">
                  <a:solidFill>
                    <a:schemeClr val="tx2"/>
                  </a:solidFill>
                </a:rPr>
                <a:t>MEKi</a:t>
              </a:r>
              <a:r>
                <a:rPr lang="de-DE" sz="900" dirty="0">
                  <a:solidFill>
                    <a:schemeClr val="tx2"/>
                  </a:solidFill>
                </a:rPr>
                <a:t>-Vortherapie</a:t>
              </a:r>
              <a:endParaRPr lang="en-US" sz="900" dirty="0">
                <a:solidFill>
                  <a:schemeClr val="tx2"/>
                </a:solidFill>
              </a:endParaRPr>
            </a:p>
          </p:txBody>
        </p:sp>
        <p:sp>
          <p:nvSpPr>
            <p:cNvPr id="27" name="Rechteck: abgerundete Ecken 26">
              <a:extLst>
                <a:ext uri="{FF2B5EF4-FFF2-40B4-BE49-F238E27FC236}">
                  <a16:creationId xmlns:a16="http://schemas.microsoft.com/office/drawing/2014/main" id="{C58AF106-CDC1-5609-5984-53315080C929}"/>
                </a:ext>
              </a:extLst>
            </p:cNvPr>
            <p:cNvSpPr/>
            <p:nvPr/>
          </p:nvSpPr>
          <p:spPr>
            <a:xfrm>
              <a:off x="8549603" y="1678534"/>
              <a:ext cx="1570055" cy="473796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900">
                  <a:solidFill>
                    <a:schemeClr val="tx2"/>
                  </a:solidFill>
                </a:rPr>
                <a:t>Nicht adjuvante </a:t>
              </a:r>
              <a:r>
                <a:rPr lang="de-DE" sz="900" dirty="0">
                  <a:solidFill>
                    <a:schemeClr val="tx2"/>
                  </a:solidFill>
                </a:rPr>
                <a:t>BRAF/</a:t>
              </a:r>
              <a:r>
                <a:rPr lang="de-DE" sz="900" dirty="0" err="1">
                  <a:solidFill>
                    <a:schemeClr val="tx2"/>
                  </a:solidFill>
                </a:rPr>
                <a:t>MEKi</a:t>
              </a:r>
              <a:r>
                <a:rPr lang="de-DE" sz="900" dirty="0">
                  <a:solidFill>
                    <a:schemeClr val="tx2"/>
                  </a:solidFill>
                </a:rPr>
                <a:t>-Vortherapie (in 1L) mit oder ohne Progression</a:t>
              </a:r>
              <a:endParaRPr lang="en-US" sz="900" dirty="0">
                <a:solidFill>
                  <a:schemeClr val="tx2"/>
                </a:solidFill>
              </a:endParaRPr>
            </a:p>
          </p:txBody>
        </p:sp>
        <p:sp>
          <p:nvSpPr>
            <p:cNvPr id="28" name="Rechteck: abgerundete Ecken 27">
              <a:extLst>
                <a:ext uri="{FF2B5EF4-FFF2-40B4-BE49-F238E27FC236}">
                  <a16:creationId xmlns:a16="http://schemas.microsoft.com/office/drawing/2014/main" id="{A966C2FB-E637-15A6-E96C-F94A2AD0F709}"/>
                </a:ext>
              </a:extLst>
            </p:cNvPr>
            <p:cNvSpPr/>
            <p:nvPr/>
          </p:nvSpPr>
          <p:spPr>
            <a:xfrm>
              <a:off x="6901990" y="2261807"/>
              <a:ext cx="1573378" cy="327949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900" dirty="0">
                  <a:solidFill>
                    <a:schemeClr val="tx2"/>
                  </a:solidFill>
                </a:rPr>
                <a:t>1L: ICI-Therapie,</a:t>
              </a:r>
              <a:br>
                <a:rPr lang="de-DE" sz="900" dirty="0">
                  <a:solidFill>
                    <a:schemeClr val="tx2"/>
                  </a:solidFill>
                </a:rPr>
              </a:br>
              <a:r>
                <a:rPr lang="de-DE" sz="900" dirty="0">
                  <a:solidFill>
                    <a:schemeClr val="tx2"/>
                  </a:solidFill>
                </a:rPr>
                <a:t>mit oder ohne Progression</a:t>
              </a:r>
              <a:endParaRPr lang="en-US" sz="900" dirty="0">
                <a:solidFill>
                  <a:schemeClr val="tx2"/>
                </a:solidFill>
              </a:endParaRPr>
            </a:p>
          </p:txBody>
        </p:sp>
        <p:sp>
          <p:nvSpPr>
            <p:cNvPr id="29" name="Rechteck: abgerundete Ecken 28">
              <a:extLst>
                <a:ext uri="{FF2B5EF4-FFF2-40B4-BE49-F238E27FC236}">
                  <a16:creationId xmlns:a16="http://schemas.microsoft.com/office/drawing/2014/main" id="{A8137E58-81EF-962B-1B3C-A7B76C78AF7E}"/>
                </a:ext>
              </a:extLst>
            </p:cNvPr>
            <p:cNvSpPr/>
            <p:nvPr/>
          </p:nvSpPr>
          <p:spPr>
            <a:xfrm>
              <a:off x="8549602" y="2256476"/>
              <a:ext cx="1669900" cy="333280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900" dirty="0">
                  <a:solidFill>
                    <a:schemeClr val="tx2"/>
                  </a:solidFill>
                </a:rPr>
                <a:t>2L: ICI-Therapie,</a:t>
              </a:r>
              <a:br>
                <a:rPr lang="de-DE" sz="900" dirty="0">
                  <a:solidFill>
                    <a:schemeClr val="tx2"/>
                  </a:solidFill>
                </a:rPr>
              </a:br>
              <a:r>
                <a:rPr lang="de-DE" sz="900" dirty="0">
                  <a:solidFill>
                    <a:schemeClr val="tx2"/>
                  </a:solidFill>
                </a:rPr>
                <a:t>mit oder ohne Progression</a:t>
              </a:r>
            </a:p>
          </p:txBody>
        </p:sp>
        <p:sp>
          <p:nvSpPr>
            <p:cNvPr id="30" name="Rechteck: abgerundete Ecken 29">
              <a:extLst>
                <a:ext uri="{FF2B5EF4-FFF2-40B4-BE49-F238E27FC236}">
                  <a16:creationId xmlns:a16="http://schemas.microsoft.com/office/drawing/2014/main" id="{8E99E65C-69A8-ACF4-2F9E-BD7462BECA10}"/>
                </a:ext>
              </a:extLst>
            </p:cNvPr>
            <p:cNvSpPr/>
            <p:nvPr/>
          </p:nvSpPr>
          <p:spPr>
            <a:xfrm>
              <a:off x="10293736" y="2256475"/>
              <a:ext cx="1475251" cy="327949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900" dirty="0">
                  <a:solidFill>
                    <a:schemeClr val="tx2"/>
                  </a:solidFill>
                </a:rPr>
                <a:t>1L: ICI-Therapie,</a:t>
              </a:r>
              <a:br>
                <a:rPr lang="de-DE" sz="900" dirty="0">
                  <a:solidFill>
                    <a:schemeClr val="tx2"/>
                  </a:solidFill>
                </a:rPr>
              </a:br>
              <a:r>
                <a:rPr lang="de-DE" sz="900" dirty="0">
                  <a:solidFill>
                    <a:schemeClr val="tx2"/>
                  </a:solidFill>
                </a:rPr>
                <a:t>mit oder ohne Progression</a:t>
              </a:r>
              <a:endParaRPr lang="en-US" sz="900" dirty="0">
                <a:solidFill>
                  <a:schemeClr val="tx2"/>
                </a:solidFill>
              </a:endParaRPr>
            </a:p>
          </p:txBody>
        </p:sp>
        <p:sp>
          <p:nvSpPr>
            <p:cNvPr id="31" name="Rechteck: abgerundete Ecken 30">
              <a:extLst>
                <a:ext uri="{FF2B5EF4-FFF2-40B4-BE49-F238E27FC236}">
                  <a16:creationId xmlns:a16="http://schemas.microsoft.com/office/drawing/2014/main" id="{A7ACA49F-A8E0-9F85-B667-1FE87CF8EF22}"/>
                </a:ext>
              </a:extLst>
            </p:cNvPr>
            <p:cNvSpPr/>
            <p:nvPr/>
          </p:nvSpPr>
          <p:spPr>
            <a:xfrm>
              <a:off x="6901990" y="2781281"/>
              <a:ext cx="1573378" cy="429568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900" dirty="0">
                  <a:solidFill>
                    <a:schemeClr val="tx2"/>
                  </a:solidFill>
                </a:rPr>
                <a:t>2L: </a:t>
              </a:r>
              <a:r>
                <a:rPr lang="de-DE" sz="900" dirty="0" err="1">
                  <a:solidFill>
                    <a:schemeClr val="tx2"/>
                  </a:solidFill>
                </a:rPr>
                <a:t>Rechallenge</a:t>
              </a:r>
              <a:r>
                <a:rPr lang="de-DE" sz="900" dirty="0">
                  <a:solidFill>
                    <a:schemeClr val="tx2"/>
                  </a:solidFill>
                </a:rPr>
                <a:t> mit BRAF/</a:t>
              </a:r>
              <a:r>
                <a:rPr lang="de-DE" sz="900" dirty="0" err="1">
                  <a:solidFill>
                    <a:schemeClr val="tx2"/>
                  </a:solidFill>
                </a:rPr>
                <a:t>MEKi</a:t>
              </a:r>
              <a:endParaRPr lang="de-DE" sz="900" dirty="0">
                <a:solidFill>
                  <a:schemeClr val="tx2"/>
                </a:solidFill>
              </a:endParaRPr>
            </a:p>
            <a:p>
              <a:pPr algn="ctr"/>
              <a:r>
                <a:rPr lang="de-DE" sz="900" dirty="0">
                  <a:solidFill>
                    <a:schemeClr val="tx2"/>
                  </a:solidFill>
                </a:rPr>
                <a:t>(= </a:t>
              </a:r>
              <a:r>
                <a:rPr lang="de-DE" sz="900" dirty="0" err="1">
                  <a:solidFill>
                    <a:schemeClr val="tx2"/>
                  </a:solidFill>
                </a:rPr>
                <a:t>Rechallenge</a:t>
              </a:r>
              <a:r>
                <a:rPr lang="de-DE" sz="900" dirty="0">
                  <a:solidFill>
                    <a:schemeClr val="tx2"/>
                  </a:solidFill>
                </a:rPr>
                <a:t>-Kohorte)</a:t>
              </a:r>
              <a:endParaRPr lang="en-US" sz="900" dirty="0">
                <a:solidFill>
                  <a:schemeClr val="tx2"/>
                </a:solidFill>
              </a:endParaRPr>
            </a:p>
          </p:txBody>
        </p:sp>
        <p:sp>
          <p:nvSpPr>
            <p:cNvPr id="32" name="Rechteck: abgerundete Ecken 31">
              <a:extLst>
                <a:ext uri="{FF2B5EF4-FFF2-40B4-BE49-F238E27FC236}">
                  <a16:creationId xmlns:a16="http://schemas.microsoft.com/office/drawing/2014/main" id="{F5D59CFE-C706-96BA-827D-5D5C410B8E31}"/>
                </a:ext>
              </a:extLst>
            </p:cNvPr>
            <p:cNvSpPr/>
            <p:nvPr/>
          </p:nvSpPr>
          <p:spPr>
            <a:xfrm>
              <a:off x="8549602" y="2775950"/>
              <a:ext cx="1646001" cy="429568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900" dirty="0">
                  <a:solidFill>
                    <a:schemeClr val="tx2"/>
                  </a:solidFill>
                </a:rPr>
                <a:t>3L: </a:t>
              </a:r>
              <a:r>
                <a:rPr lang="de-DE" sz="900" dirty="0" err="1">
                  <a:solidFill>
                    <a:schemeClr val="tx2"/>
                  </a:solidFill>
                </a:rPr>
                <a:t>Rechallenge</a:t>
              </a:r>
              <a:r>
                <a:rPr lang="de-DE" sz="900" dirty="0">
                  <a:solidFill>
                    <a:schemeClr val="tx2"/>
                  </a:solidFill>
                </a:rPr>
                <a:t> mit BRAF/</a:t>
              </a:r>
              <a:r>
                <a:rPr lang="de-DE" sz="900" dirty="0" err="1">
                  <a:solidFill>
                    <a:schemeClr val="tx2"/>
                  </a:solidFill>
                </a:rPr>
                <a:t>MEKi</a:t>
              </a:r>
              <a:endParaRPr lang="de-DE" sz="900" dirty="0">
                <a:solidFill>
                  <a:schemeClr val="tx2"/>
                </a:solidFill>
              </a:endParaRPr>
            </a:p>
            <a:p>
              <a:pPr algn="ctr"/>
              <a:r>
                <a:rPr lang="de-DE" sz="900" dirty="0">
                  <a:solidFill>
                    <a:schemeClr val="tx2"/>
                  </a:solidFill>
                </a:rPr>
                <a:t>(= </a:t>
              </a:r>
              <a:r>
                <a:rPr lang="de-DE" sz="900" dirty="0" err="1">
                  <a:solidFill>
                    <a:schemeClr val="tx2"/>
                  </a:solidFill>
                </a:rPr>
                <a:t>Rechallenge</a:t>
              </a:r>
              <a:r>
                <a:rPr lang="de-DE" sz="900" dirty="0">
                  <a:solidFill>
                    <a:schemeClr val="tx2"/>
                  </a:solidFill>
                </a:rPr>
                <a:t>-Kohorte)</a:t>
              </a:r>
              <a:endParaRPr lang="en-US" sz="900" dirty="0">
                <a:solidFill>
                  <a:schemeClr val="tx2"/>
                </a:solidFill>
              </a:endParaRPr>
            </a:p>
          </p:txBody>
        </p:sp>
        <p:sp>
          <p:nvSpPr>
            <p:cNvPr id="33" name="Rechteck: abgerundete Ecken 32">
              <a:extLst>
                <a:ext uri="{FF2B5EF4-FFF2-40B4-BE49-F238E27FC236}">
                  <a16:creationId xmlns:a16="http://schemas.microsoft.com/office/drawing/2014/main" id="{D46AF59B-272B-C829-BC74-D5CEF393A70B}"/>
                </a:ext>
              </a:extLst>
            </p:cNvPr>
            <p:cNvSpPr/>
            <p:nvPr/>
          </p:nvSpPr>
          <p:spPr>
            <a:xfrm>
              <a:off x="10293736" y="2775949"/>
              <a:ext cx="1475251" cy="450016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900" dirty="0">
                  <a:solidFill>
                    <a:schemeClr val="tx2"/>
                  </a:solidFill>
                </a:rPr>
                <a:t>2L: Therapie mit BRAF/</a:t>
              </a:r>
              <a:r>
                <a:rPr lang="de-DE" sz="900" dirty="0" err="1">
                  <a:solidFill>
                    <a:schemeClr val="tx2"/>
                  </a:solidFill>
                </a:rPr>
                <a:t>MEKi</a:t>
              </a:r>
              <a:br>
                <a:rPr lang="de-DE" sz="900" dirty="0">
                  <a:solidFill>
                    <a:schemeClr val="tx2"/>
                  </a:solidFill>
                </a:rPr>
              </a:br>
              <a:r>
                <a:rPr lang="de-DE" sz="900" dirty="0">
                  <a:solidFill>
                    <a:schemeClr val="tx2"/>
                  </a:solidFill>
                </a:rPr>
                <a:t>(Kontroll-Kohorte)</a:t>
              </a:r>
              <a:endParaRPr lang="en-US" sz="900" dirty="0">
                <a:solidFill>
                  <a:schemeClr val="tx2"/>
                </a:solidFill>
              </a:endParaRPr>
            </a:p>
          </p:txBody>
        </p:sp>
        <p:sp>
          <p:nvSpPr>
            <p:cNvPr id="34" name="Rechteck: abgerundete Ecken 33">
              <a:extLst>
                <a:ext uri="{FF2B5EF4-FFF2-40B4-BE49-F238E27FC236}">
                  <a16:creationId xmlns:a16="http://schemas.microsoft.com/office/drawing/2014/main" id="{53D37B18-5217-95D5-001A-32B7A2534776}"/>
                </a:ext>
              </a:extLst>
            </p:cNvPr>
            <p:cNvSpPr/>
            <p:nvPr/>
          </p:nvSpPr>
          <p:spPr>
            <a:xfrm>
              <a:off x="6901989" y="3397042"/>
              <a:ext cx="4866994" cy="308156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900" b="1" dirty="0">
                  <a:solidFill>
                    <a:schemeClr val="tx2"/>
                  </a:solidFill>
                </a:rPr>
                <a:t>≥ 12 Monate Follow-Up ab Start von BRAF/</a:t>
              </a:r>
              <a:r>
                <a:rPr lang="de-DE" sz="900" b="1" dirty="0" err="1">
                  <a:solidFill>
                    <a:schemeClr val="tx2"/>
                  </a:solidFill>
                </a:rPr>
                <a:t>MEKi</a:t>
              </a:r>
              <a:endParaRPr lang="de-DE" sz="900" b="1" dirty="0">
                <a:solidFill>
                  <a:schemeClr val="tx2"/>
                </a:solidFill>
              </a:endParaRPr>
            </a:p>
            <a:p>
              <a:pPr algn="ctr"/>
              <a:r>
                <a:rPr lang="de-DE" sz="900" dirty="0">
                  <a:solidFill>
                    <a:schemeClr val="tx2"/>
                  </a:solidFill>
                </a:rPr>
                <a:t>(Zensierung aufgrund von Todesfällen akzeptiert)</a:t>
              </a:r>
              <a:endParaRPr lang="en-US" sz="900" dirty="0">
                <a:solidFill>
                  <a:schemeClr val="tx2"/>
                </a:solidFill>
              </a:endParaRPr>
            </a:p>
          </p:txBody>
        </p:sp>
        <p:sp>
          <p:nvSpPr>
            <p:cNvPr id="39" name="Rechteck: abgerundete Ecken 38">
              <a:extLst>
                <a:ext uri="{FF2B5EF4-FFF2-40B4-BE49-F238E27FC236}">
                  <a16:creationId xmlns:a16="http://schemas.microsoft.com/office/drawing/2014/main" id="{9F140AD3-440B-6B9A-26CF-7AFB696249A5}"/>
                </a:ext>
              </a:extLst>
            </p:cNvPr>
            <p:cNvSpPr/>
            <p:nvPr/>
          </p:nvSpPr>
          <p:spPr>
            <a:xfrm>
              <a:off x="6901990" y="3881606"/>
              <a:ext cx="1573378" cy="429568"/>
            </a:xfrm>
            <a:prstGeom prst="roundRect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900">
                  <a:solidFill>
                    <a:schemeClr val="bg1"/>
                  </a:solidFill>
                </a:rPr>
                <a:t>Adjuvante BRAF</a:t>
              </a:r>
              <a:r>
                <a:rPr lang="de-DE" sz="900" dirty="0">
                  <a:solidFill>
                    <a:schemeClr val="bg1"/>
                  </a:solidFill>
                </a:rPr>
                <a:t>/</a:t>
              </a:r>
              <a:r>
                <a:rPr lang="de-DE" sz="900" dirty="0" err="1">
                  <a:solidFill>
                    <a:schemeClr val="bg1"/>
                  </a:solidFill>
                </a:rPr>
                <a:t>MEKi</a:t>
              </a:r>
              <a:r>
                <a:rPr lang="de-DE" sz="900" dirty="0">
                  <a:solidFill>
                    <a:schemeClr val="bg1"/>
                  </a:solidFill>
                </a:rPr>
                <a:t>-Vortherapie-Kohorte </a:t>
              </a:r>
            </a:p>
            <a:p>
              <a:pPr algn="ctr"/>
              <a:r>
                <a:rPr lang="de-DE" sz="900" dirty="0">
                  <a:solidFill>
                    <a:schemeClr val="bg1"/>
                  </a:solidFill>
                </a:rPr>
                <a:t>N = 42</a:t>
              </a:r>
            </a:p>
          </p:txBody>
        </p:sp>
        <p:sp>
          <p:nvSpPr>
            <p:cNvPr id="40" name="Rechteck: abgerundete Ecken 39">
              <a:extLst>
                <a:ext uri="{FF2B5EF4-FFF2-40B4-BE49-F238E27FC236}">
                  <a16:creationId xmlns:a16="http://schemas.microsoft.com/office/drawing/2014/main" id="{7CAA279F-BF4B-52E6-0D71-CE733826DC5E}"/>
                </a:ext>
              </a:extLst>
            </p:cNvPr>
            <p:cNvSpPr/>
            <p:nvPr/>
          </p:nvSpPr>
          <p:spPr>
            <a:xfrm>
              <a:off x="8549601" y="3876275"/>
              <a:ext cx="1646004" cy="429568"/>
            </a:xfrm>
            <a:prstGeom prst="roundRect">
              <a:avLst/>
            </a:prstGeom>
            <a:solidFill>
              <a:srgbClr val="FF585D"/>
            </a:solidFill>
            <a:ln>
              <a:solidFill>
                <a:srgbClr val="FF585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900">
                  <a:solidFill>
                    <a:schemeClr val="bg1"/>
                  </a:solidFill>
                </a:rPr>
                <a:t>Nicht adjuvante BRAF</a:t>
              </a:r>
              <a:r>
                <a:rPr lang="de-DE" sz="900" dirty="0">
                  <a:solidFill>
                    <a:schemeClr val="bg1"/>
                  </a:solidFill>
                </a:rPr>
                <a:t>/</a:t>
              </a:r>
              <a:r>
                <a:rPr lang="de-DE" sz="900" dirty="0" err="1">
                  <a:solidFill>
                    <a:schemeClr val="bg1"/>
                  </a:solidFill>
                </a:rPr>
                <a:t>MEKi</a:t>
              </a:r>
              <a:r>
                <a:rPr lang="de-DE" sz="900" dirty="0">
                  <a:solidFill>
                    <a:schemeClr val="bg1"/>
                  </a:solidFill>
                </a:rPr>
                <a:t>-Vortherapie-Kohorte </a:t>
              </a:r>
            </a:p>
            <a:p>
              <a:pPr algn="ctr"/>
              <a:r>
                <a:rPr lang="de-DE" sz="900" dirty="0">
                  <a:solidFill>
                    <a:schemeClr val="bg1"/>
                  </a:solidFill>
                </a:rPr>
                <a:t>N = 152</a:t>
              </a:r>
            </a:p>
          </p:txBody>
        </p:sp>
        <p:sp>
          <p:nvSpPr>
            <p:cNvPr id="41" name="Rechteck: abgerundete Ecken 40">
              <a:extLst>
                <a:ext uri="{FF2B5EF4-FFF2-40B4-BE49-F238E27FC236}">
                  <a16:creationId xmlns:a16="http://schemas.microsoft.com/office/drawing/2014/main" id="{E7B2858A-C8FA-1898-E3AE-DB9661848FA1}"/>
                </a:ext>
              </a:extLst>
            </p:cNvPr>
            <p:cNvSpPr/>
            <p:nvPr/>
          </p:nvSpPr>
          <p:spPr>
            <a:xfrm>
              <a:off x="6901988" y="4447633"/>
              <a:ext cx="3293601" cy="346594"/>
            </a:xfrm>
            <a:prstGeom prst="roundRect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900" b="1" dirty="0">
                  <a:solidFill>
                    <a:schemeClr val="bg1"/>
                  </a:solidFill>
                </a:rPr>
                <a:t>Gesamte </a:t>
              </a:r>
              <a:r>
                <a:rPr lang="de-DE" sz="900" b="1" dirty="0" err="1">
                  <a:solidFill>
                    <a:schemeClr val="bg1"/>
                  </a:solidFill>
                </a:rPr>
                <a:t>Rechallenge</a:t>
              </a:r>
              <a:r>
                <a:rPr lang="de-DE" sz="900" b="1" dirty="0">
                  <a:solidFill>
                    <a:schemeClr val="bg1"/>
                  </a:solidFill>
                </a:rPr>
                <a:t>-Kohorte </a:t>
              </a:r>
            </a:p>
            <a:p>
              <a:pPr algn="ctr"/>
              <a:r>
                <a:rPr lang="de-DE" sz="900" b="1" dirty="0">
                  <a:solidFill>
                    <a:schemeClr val="bg1"/>
                  </a:solidFill>
                </a:rPr>
                <a:t>N = 192</a:t>
              </a:r>
            </a:p>
          </p:txBody>
        </p:sp>
        <p:sp>
          <p:nvSpPr>
            <p:cNvPr id="44" name="Rechteck: abgerundete Ecken 43">
              <a:extLst>
                <a:ext uri="{FF2B5EF4-FFF2-40B4-BE49-F238E27FC236}">
                  <a16:creationId xmlns:a16="http://schemas.microsoft.com/office/drawing/2014/main" id="{2FFDD630-10A8-03C7-BA7F-E6F57CB65B81}"/>
                </a:ext>
              </a:extLst>
            </p:cNvPr>
            <p:cNvSpPr/>
            <p:nvPr/>
          </p:nvSpPr>
          <p:spPr>
            <a:xfrm>
              <a:off x="10293733" y="4447633"/>
              <a:ext cx="1475251" cy="346595"/>
            </a:xfrm>
            <a:prstGeom prst="roundRect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900" b="1" dirty="0">
                  <a:solidFill>
                    <a:schemeClr val="bg1"/>
                  </a:solidFill>
                </a:rPr>
                <a:t>Kontroll-Kohorte </a:t>
              </a:r>
            </a:p>
            <a:p>
              <a:pPr algn="ctr"/>
              <a:r>
                <a:rPr lang="de-DE" sz="900" b="1" dirty="0">
                  <a:solidFill>
                    <a:schemeClr val="bg1"/>
                  </a:solidFill>
                </a:rPr>
                <a:t>N = 687</a:t>
              </a:r>
            </a:p>
          </p:txBody>
        </p:sp>
        <p:cxnSp>
          <p:nvCxnSpPr>
            <p:cNvPr id="56" name="Gerade Verbindung mit Pfeil 55">
              <a:extLst>
                <a:ext uri="{FF2B5EF4-FFF2-40B4-BE49-F238E27FC236}">
                  <a16:creationId xmlns:a16="http://schemas.microsoft.com/office/drawing/2014/main" id="{105F8F42-61FB-BCB3-9BD4-87D74DD4B2B8}"/>
                </a:ext>
              </a:extLst>
            </p:cNvPr>
            <p:cNvCxnSpPr>
              <a:cxnSpLocks/>
              <a:endCxn id="62" idx="0"/>
            </p:cNvCxnSpPr>
            <p:nvPr/>
          </p:nvCxnSpPr>
          <p:spPr>
            <a:xfrm flipH="1">
              <a:off x="11031358" y="4692540"/>
              <a:ext cx="1460" cy="648732"/>
            </a:xfrm>
            <a:prstGeom prst="straightConnector1">
              <a:avLst/>
            </a:prstGeom>
            <a:ln w="12700">
              <a:solidFill>
                <a:srgbClr val="0460A9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mit Pfeil 56">
              <a:extLst>
                <a:ext uri="{FF2B5EF4-FFF2-40B4-BE49-F238E27FC236}">
                  <a16:creationId xmlns:a16="http://schemas.microsoft.com/office/drawing/2014/main" id="{F588948F-70CC-1F61-F667-FBBB52F15B47}"/>
                </a:ext>
              </a:extLst>
            </p:cNvPr>
            <p:cNvCxnSpPr>
              <a:cxnSpLocks/>
            </p:cNvCxnSpPr>
            <p:nvPr/>
          </p:nvCxnSpPr>
          <p:spPr>
            <a:xfrm>
              <a:off x="9334630" y="4794227"/>
              <a:ext cx="0" cy="551665"/>
            </a:xfrm>
            <a:prstGeom prst="straightConnector1">
              <a:avLst/>
            </a:prstGeom>
            <a:ln w="12700">
              <a:solidFill>
                <a:srgbClr val="0460A9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Rechteck: abgerundete Ecken 61">
              <a:extLst>
                <a:ext uri="{FF2B5EF4-FFF2-40B4-BE49-F238E27FC236}">
                  <a16:creationId xmlns:a16="http://schemas.microsoft.com/office/drawing/2014/main" id="{54D66079-F5CF-A236-9F18-6CFF24C00650}"/>
                </a:ext>
              </a:extLst>
            </p:cNvPr>
            <p:cNvSpPr/>
            <p:nvPr/>
          </p:nvSpPr>
          <p:spPr>
            <a:xfrm>
              <a:off x="10293733" y="5341269"/>
              <a:ext cx="1475251" cy="352880"/>
            </a:xfrm>
            <a:prstGeom prst="roundRect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900" b="1" dirty="0">
                  <a:solidFill>
                    <a:schemeClr val="bg1"/>
                  </a:solidFill>
                </a:rPr>
                <a:t>Kontroll-Kohorte </a:t>
              </a:r>
            </a:p>
            <a:p>
              <a:pPr algn="ctr"/>
              <a:r>
                <a:rPr lang="de-DE" sz="900" b="1" dirty="0">
                  <a:solidFill>
                    <a:schemeClr val="bg1"/>
                  </a:solidFill>
                </a:rPr>
                <a:t>N = 194</a:t>
              </a:r>
            </a:p>
          </p:txBody>
        </p:sp>
        <p:sp>
          <p:nvSpPr>
            <p:cNvPr id="63" name="Rechteck: abgerundete Ecken 62">
              <a:extLst>
                <a:ext uri="{FF2B5EF4-FFF2-40B4-BE49-F238E27FC236}">
                  <a16:creationId xmlns:a16="http://schemas.microsoft.com/office/drawing/2014/main" id="{965FA0AF-5386-2265-8D46-E3CDA3AE0015}"/>
                </a:ext>
              </a:extLst>
            </p:cNvPr>
            <p:cNvSpPr/>
            <p:nvPr/>
          </p:nvSpPr>
          <p:spPr>
            <a:xfrm>
              <a:off x="8525683" y="5355547"/>
              <a:ext cx="1669906" cy="345541"/>
            </a:xfrm>
            <a:prstGeom prst="roundRect">
              <a:avLst/>
            </a:prstGeom>
            <a:solidFill>
              <a:schemeClr val="accent2"/>
            </a:solidFill>
            <a:ln>
              <a:solidFill>
                <a:srgbClr val="FF585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900" b="1" dirty="0" err="1">
                  <a:solidFill>
                    <a:schemeClr val="bg1"/>
                  </a:solidFill>
                </a:rPr>
                <a:t>Rechallenge</a:t>
              </a:r>
              <a:r>
                <a:rPr lang="de-DE" sz="900" b="1" dirty="0">
                  <a:solidFill>
                    <a:schemeClr val="bg1"/>
                  </a:solidFill>
                </a:rPr>
                <a:t>-Kohorte </a:t>
              </a:r>
            </a:p>
            <a:p>
              <a:pPr algn="ctr"/>
              <a:r>
                <a:rPr lang="de-DE" sz="900" b="1" dirty="0">
                  <a:solidFill>
                    <a:schemeClr val="bg1"/>
                  </a:solidFill>
                </a:rPr>
                <a:t>N = 194</a:t>
              </a:r>
            </a:p>
          </p:txBody>
        </p:sp>
        <p:cxnSp>
          <p:nvCxnSpPr>
            <p:cNvPr id="65" name="Gerader Verbinder 64">
              <a:extLst>
                <a:ext uri="{FF2B5EF4-FFF2-40B4-BE49-F238E27FC236}">
                  <a16:creationId xmlns:a16="http://schemas.microsoft.com/office/drawing/2014/main" id="{886A2265-F69C-EBC5-56F3-3936EAE7F5F7}"/>
                </a:ext>
              </a:extLst>
            </p:cNvPr>
            <p:cNvCxnSpPr/>
            <p:nvPr/>
          </p:nvCxnSpPr>
          <p:spPr>
            <a:xfrm>
              <a:off x="6901989" y="5123123"/>
              <a:ext cx="4866994" cy="0"/>
            </a:xfrm>
            <a:prstGeom prst="line">
              <a:avLst/>
            </a:prstGeom>
            <a:ln w="12700">
              <a:solidFill>
                <a:srgbClr val="FF585D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6" name="Textfeld 65">
              <a:extLst>
                <a:ext uri="{FF2B5EF4-FFF2-40B4-BE49-F238E27FC236}">
                  <a16:creationId xmlns:a16="http://schemas.microsoft.com/office/drawing/2014/main" id="{07E1CC86-CAFC-CF1D-AE8E-908A181FDA4F}"/>
                </a:ext>
              </a:extLst>
            </p:cNvPr>
            <p:cNvSpPr txBox="1"/>
            <p:nvPr/>
          </p:nvSpPr>
          <p:spPr>
            <a:xfrm>
              <a:off x="6825752" y="4879845"/>
              <a:ext cx="173501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100" b="1" dirty="0"/>
                <a:t>Studienkohorte</a:t>
              </a:r>
            </a:p>
          </p:txBody>
        </p:sp>
        <p:sp>
          <p:nvSpPr>
            <p:cNvPr id="67" name="Textfeld 66">
              <a:extLst>
                <a:ext uri="{FF2B5EF4-FFF2-40B4-BE49-F238E27FC236}">
                  <a16:creationId xmlns:a16="http://schemas.microsoft.com/office/drawing/2014/main" id="{AAF707D2-F2F3-9A6D-0E52-295725D350CC}"/>
                </a:ext>
              </a:extLst>
            </p:cNvPr>
            <p:cNvSpPr txBox="1"/>
            <p:nvPr/>
          </p:nvSpPr>
          <p:spPr>
            <a:xfrm>
              <a:off x="6825752" y="5137292"/>
              <a:ext cx="173501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100" b="1" dirty="0"/>
                <a:t>„Gematchte“ Kohorte</a:t>
              </a:r>
            </a:p>
          </p:txBody>
        </p:sp>
        <p:sp>
          <p:nvSpPr>
            <p:cNvPr id="68" name="Textfeld 67">
              <a:extLst>
                <a:ext uri="{FF2B5EF4-FFF2-40B4-BE49-F238E27FC236}">
                  <a16:creationId xmlns:a16="http://schemas.microsoft.com/office/drawing/2014/main" id="{D4C6664A-5F28-F7B3-9656-E9E96EF6615C}"/>
                </a:ext>
              </a:extLst>
            </p:cNvPr>
            <p:cNvSpPr txBox="1"/>
            <p:nvPr/>
          </p:nvSpPr>
          <p:spPr>
            <a:xfrm>
              <a:off x="10989538" y="4830475"/>
              <a:ext cx="92598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100" b="1" i="1" dirty="0" err="1"/>
                <a:t>Matching</a:t>
              </a:r>
              <a:endParaRPr lang="de-DE" sz="1100" b="1" i="1" dirty="0"/>
            </a:p>
          </p:txBody>
        </p:sp>
      </p:grpSp>
      <p:sp>
        <p:nvSpPr>
          <p:cNvPr id="73" name="Textfeld 72">
            <a:extLst>
              <a:ext uri="{FF2B5EF4-FFF2-40B4-BE49-F238E27FC236}">
                <a16:creationId xmlns:a16="http://schemas.microsoft.com/office/drawing/2014/main" id="{9348C471-9C50-5A3F-D220-DD5CEF5492C2}"/>
              </a:ext>
            </a:extLst>
          </p:cNvPr>
          <p:cNvSpPr txBox="1"/>
          <p:nvPr/>
        </p:nvSpPr>
        <p:spPr>
          <a:xfrm>
            <a:off x="1027617" y="1259743"/>
            <a:ext cx="49536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>
                <a:solidFill>
                  <a:srgbClr val="0460A9"/>
                </a:solidFill>
                <a:latin typeface="Arial" panose="020B0604020202020204"/>
              </a:rPr>
              <a:t>Patient*innen-Flow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0A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78458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70A32933-8EE3-3BD7-5609-528EE19239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0A32933-8EE3-3BD7-5609-528EE19239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387DCF-F718-684F-6140-ACA1C72642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9748530" cy="1065278"/>
          </a:xfrm>
        </p:spPr>
        <p:txBody>
          <a:bodyPr vert="horz"/>
          <a:lstStyle/>
          <a:p>
            <a:r>
              <a:rPr lang="en-GB" dirty="0" err="1"/>
              <a:t>Ansprechen</a:t>
            </a:r>
            <a:r>
              <a:rPr lang="en-GB" dirty="0"/>
              <a:t> und </a:t>
            </a:r>
            <a:r>
              <a:rPr lang="en-GB" dirty="0" err="1"/>
              <a:t>Überleben</a:t>
            </a:r>
            <a:r>
              <a:rPr lang="en-GB" dirty="0"/>
              <a:t> </a:t>
            </a:r>
            <a:r>
              <a:rPr lang="en-GB" dirty="0" err="1"/>
              <a:t>nach</a:t>
            </a:r>
            <a:r>
              <a:rPr lang="en-GB" dirty="0"/>
              <a:t> BRAF/MEKi-Rechalleng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0FC2A4C-0193-8F96-F9B5-B17F756E39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8</a:t>
            </a:fld>
            <a:endParaRPr lang="en-GB"/>
          </a:p>
        </p:txBody>
      </p:sp>
      <p:graphicFrame>
        <p:nvGraphicFramePr>
          <p:cNvPr id="4" name="Diagramm 3">
            <a:extLst>
              <a:ext uri="{FF2B5EF4-FFF2-40B4-BE49-F238E27FC236}">
                <a16:creationId xmlns:a16="http://schemas.microsoft.com/office/drawing/2014/main" id="{5E1E7C59-0BFD-799C-C206-B64636F2B75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15786360"/>
              </p:ext>
            </p:extLst>
          </p:nvPr>
        </p:nvGraphicFramePr>
        <p:xfrm>
          <a:off x="732514" y="2438564"/>
          <a:ext cx="4247424" cy="24013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03BA87E2-4C69-D45B-FD2E-6423F6A62BA3}"/>
              </a:ext>
            </a:extLst>
          </p:cNvPr>
          <p:cNvSpPr txBox="1"/>
          <p:nvPr/>
        </p:nvSpPr>
        <p:spPr>
          <a:xfrm>
            <a:off x="1891682" y="2539451"/>
            <a:ext cx="93325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/>
              <a:t>p &lt; 0,0001 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79BCAD9-BFBA-721A-8440-BE6379BC4953}"/>
              </a:ext>
            </a:extLst>
          </p:cNvPr>
          <p:cNvSpPr txBox="1"/>
          <p:nvPr/>
        </p:nvSpPr>
        <p:spPr>
          <a:xfrm>
            <a:off x="3645123" y="2432767"/>
            <a:ext cx="93325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/>
              <a:t>p = 0,0006 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2A32E7C-9FAA-4595-1AB7-BA40906E4E0F}"/>
              </a:ext>
            </a:extLst>
          </p:cNvPr>
          <p:cNvSpPr txBox="1"/>
          <p:nvPr/>
        </p:nvSpPr>
        <p:spPr>
          <a:xfrm>
            <a:off x="5527883" y="2097209"/>
            <a:ext cx="4171483" cy="3456265"/>
          </a:xfrm>
          <a:prstGeom prst="round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Clr>
                <a:srgbClr val="FF585D"/>
              </a:buClr>
              <a:buFont typeface="Arial" panose="020B0604020202020204" pitchFamily="34" charset="0"/>
              <a:buChar char="•"/>
              <a:defRPr/>
            </a:pPr>
            <a:r>
              <a:rPr lang="de-DE" sz="1400" dirty="0">
                <a:solidFill>
                  <a:srgbClr val="002068"/>
                </a:solidFill>
                <a:latin typeface="Arial" panose="020B0604020202020204"/>
              </a:rPr>
              <a:t>Das Ansprechen und die Krankheitskontrolle unter BRAF/</a:t>
            </a:r>
            <a:r>
              <a:rPr lang="de-DE" sz="1400" dirty="0" err="1">
                <a:solidFill>
                  <a:srgbClr val="002068"/>
                </a:solidFill>
                <a:latin typeface="Arial" panose="020B0604020202020204"/>
              </a:rPr>
              <a:t>MEKi</a:t>
            </a:r>
            <a:r>
              <a:rPr lang="de-DE" sz="1400" dirty="0">
                <a:solidFill>
                  <a:srgbClr val="002068"/>
                </a:solidFill>
                <a:latin typeface="Arial" panose="020B0604020202020204"/>
              </a:rPr>
              <a:t>-Therapie waren in der Kontroll-Kohorte ohne </a:t>
            </a:r>
            <a:r>
              <a:rPr lang="de-DE" sz="1400" dirty="0" err="1">
                <a:solidFill>
                  <a:srgbClr val="002068"/>
                </a:solidFill>
                <a:latin typeface="Arial" panose="020B0604020202020204"/>
              </a:rPr>
              <a:t>Rechallenge</a:t>
            </a:r>
            <a:r>
              <a:rPr lang="de-DE" sz="1400" dirty="0">
                <a:solidFill>
                  <a:srgbClr val="002068"/>
                </a:solidFill>
                <a:latin typeface="Arial" panose="020B0604020202020204"/>
              </a:rPr>
              <a:t> signifikant besser.</a:t>
            </a:r>
          </a:p>
          <a:p>
            <a:pPr marL="285750" indent="-285750">
              <a:spcAft>
                <a:spcPts val="600"/>
              </a:spcAft>
              <a:buClr>
                <a:srgbClr val="FF585D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2068"/>
                </a:solidFill>
              </a:rPr>
              <a:t>Mit 8,3 und 16,7 Monaten waren das mediane PFS und das mediane OS der nicht gematchten Kontroll-Kohorte mit dem der gematchten Kontroll-Kohorten vergleichbar. </a:t>
            </a:r>
          </a:p>
          <a:p>
            <a:pPr marL="285750" indent="-285750">
              <a:spcAft>
                <a:spcPts val="600"/>
              </a:spcAft>
              <a:buClr>
                <a:srgbClr val="FF585D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2068"/>
                </a:solidFill>
              </a:rPr>
              <a:t>Die Kontroll-Kohorten schnitten jeweils signifikant besser ab als die </a:t>
            </a:r>
            <a:r>
              <a:rPr lang="de-DE" sz="1400" dirty="0" err="1">
                <a:solidFill>
                  <a:srgbClr val="002068"/>
                </a:solidFill>
              </a:rPr>
              <a:t>Rechallenge</a:t>
            </a:r>
            <a:r>
              <a:rPr lang="de-DE" sz="1400" dirty="0">
                <a:solidFill>
                  <a:srgbClr val="002068"/>
                </a:solidFill>
              </a:rPr>
              <a:t>-Kohorte.</a:t>
            </a:r>
          </a:p>
          <a:p>
            <a:pPr marL="285750" indent="-285750">
              <a:spcAft>
                <a:spcPts val="600"/>
              </a:spcAft>
              <a:buClr>
                <a:srgbClr val="FF585D"/>
              </a:buClr>
              <a:buFont typeface="Arial" panose="020B0604020202020204" pitchFamily="34" charset="0"/>
              <a:buChar char="•"/>
              <a:defRPr/>
            </a:pPr>
            <a:endParaRPr lang="de-DE" sz="1400" dirty="0">
              <a:solidFill>
                <a:srgbClr val="002068"/>
              </a:solidFill>
              <a:latin typeface="Arial" panose="020B0604020202020204"/>
            </a:endParaRPr>
          </a:p>
        </p:txBody>
      </p:sp>
      <p:sp>
        <p:nvSpPr>
          <p:cNvPr id="5" name="TextBox 45">
            <a:extLst>
              <a:ext uri="{FF2B5EF4-FFF2-40B4-BE49-F238E27FC236}">
                <a16:creationId xmlns:a16="http://schemas.microsoft.com/office/drawing/2014/main" id="{D927C340-5633-2A31-0246-E129463EB958}"/>
              </a:ext>
            </a:extLst>
          </p:cNvPr>
          <p:cNvSpPr txBox="1"/>
          <p:nvPr/>
        </p:nvSpPr>
        <p:spPr>
          <a:xfrm>
            <a:off x="881933" y="1376364"/>
            <a:ext cx="446659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600" b="1" dirty="0">
                <a:solidFill>
                  <a:srgbClr val="0460A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R (</a:t>
            </a:r>
            <a:r>
              <a:rPr lang="en-IN" sz="1600" b="1" dirty="0" err="1">
                <a:solidFill>
                  <a:srgbClr val="0460A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märer</a:t>
            </a:r>
            <a:r>
              <a:rPr lang="en-IN" sz="1600" b="1" dirty="0">
                <a:solidFill>
                  <a:srgbClr val="0460A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N" sz="1600" b="1" dirty="0" err="1">
                <a:solidFill>
                  <a:srgbClr val="0460A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punkt</a:t>
            </a:r>
            <a:r>
              <a:rPr lang="en-IN" sz="1600" b="1" dirty="0">
                <a:solidFill>
                  <a:srgbClr val="0460A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br>
              <a:rPr lang="en-IN" sz="1600" b="1" dirty="0">
                <a:solidFill>
                  <a:srgbClr val="0460A9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IN" sz="1600" b="1" dirty="0">
                <a:solidFill>
                  <a:srgbClr val="0460A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 DCR (</a:t>
            </a:r>
            <a:r>
              <a:rPr lang="en-IN" sz="1600" b="1" dirty="0" err="1">
                <a:solidFill>
                  <a:srgbClr val="0460A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kundärer</a:t>
            </a:r>
            <a:r>
              <a:rPr lang="en-IN" sz="1600" b="1" dirty="0">
                <a:solidFill>
                  <a:srgbClr val="0460A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N" sz="1600" b="1" dirty="0" err="1">
                <a:solidFill>
                  <a:srgbClr val="0460A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punkt</a:t>
            </a:r>
            <a:r>
              <a:rPr lang="en-IN" sz="1600" b="1" dirty="0">
                <a:solidFill>
                  <a:srgbClr val="0460A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kumimoji="0" lang="en-IN" sz="1600" b="1" i="0" u="none" strike="noStrike" kern="1200" cap="none" spc="0" normalizeH="0" baseline="0" noProof="0" dirty="0">
              <a:ln>
                <a:noFill/>
              </a:ln>
              <a:solidFill>
                <a:srgbClr val="0460A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Textplatzhalter 14">
            <a:extLst>
              <a:ext uri="{FF2B5EF4-FFF2-40B4-BE49-F238E27FC236}">
                <a16:creationId xmlns:a16="http://schemas.microsoft.com/office/drawing/2014/main" id="{52BE0114-D0A2-3882-D256-358EEB8975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7" y="6051550"/>
            <a:ext cx="9267825" cy="587375"/>
          </a:xfrm>
        </p:spPr>
        <p:txBody>
          <a:bodyPr/>
          <a:lstStyle/>
          <a:p>
            <a:r>
              <a:rPr lang="de-DE" b="1" dirty="0"/>
              <a:t>1L/2L </a:t>
            </a:r>
            <a:r>
              <a:rPr lang="de-DE" dirty="0"/>
              <a:t>Erstlinie/Zweitlinie. </a:t>
            </a:r>
            <a:r>
              <a:rPr lang="de-DE" b="1" dirty="0"/>
              <a:t>BRAF </a:t>
            </a:r>
            <a:r>
              <a:rPr lang="de-DE" dirty="0"/>
              <a:t>Serin/Threonin-Kinase B-</a:t>
            </a:r>
            <a:r>
              <a:rPr lang="de-DE" dirty="0" err="1"/>
              <a:t>Raf</a:t>
            </a:r>
            <a:r>
              <a:rPr lang="de-DE" dirty="0"/>
              <a:t>.</a:t>
            </a:r>
            <a:r>
              <a:rPr lang="de-DE" b="1" dirty="0"/>
              <a:t> DCR </a:t>
            </a:r>
            <a:r>
              <a:rPr lang="de-DE" dirty="0"/>
              <a:t>Krankheitskontrollrate.</a:t>
            </a:r>
            <a:r>
              <a:rPr lang="en-US" dirty="0"/>
              <a:t> </a:t>
            </a:r>
            <a:r>
              <a:rPr lang="en-US" b="1" dirty="0"/>
              <a:t>KI</a:t>
            </a:r>
            <a:r>
              <a:rPr lang="en-US" dirty="0"/>
              <a:t> </a:t>
            </a:r>
            <a:r>
              <a:rPr lang="en-US" dirty="0" err="1"/>
              <a:t>Konfidenzintervall</a:t>
            </a:r>
            <a:r>
              <a:rPr lang="en-US" dirty="0"/>
              <a:t>. </a:t>
            </a:r>
            <a:r>
              <a:rPr lang="de-DE" b="1" dirty="0"/>
              <a:t>MEK </a:t>
            </a:r>
            <a:r>
              <a:rPr lang="de-DE" dirty="0" err="1"/>
              <a:t>Mitogen</a:t>
            </a:r>
            <a:r>
              <a:rPr lang="de-DE" dirty="0"/>
              <a:t>-aktivierte Proteinkinase-Kinase. </a:t>
            </a:r>
            <a:r>
              <a:rPr lang="de-DE" b="1" dirty="0"/>
              <a:t>ORR </a:t>
            </a:r>
            <a:r>
              <a:rPr lang="de-DE" dirty="0"/>
              <a:t>Gesamtansprechrate. </a:t>
            </a:r>
            <a:br>
              <a:rPr lang="de-DE" dirty="0"/>
            </a:br>
            <a:r>
              <a:rPr lang="de-DE" b="1" dirty="0">
                <a:solidFill>
                  <a:srgbClr val="000000"/>
                </a:solidFill>
              </a:rPr>
              <a:t>OS</a:t>
            </a:r>
            <a:r>
              <a:rPr lang="de-DE" dirty="0">
                <a:solidFill>
                  <a:srgbClr val="000000"/>
                </a:solidFill>
              </a:rPr>
              <a:t> Gesamtüberleben. </a:t>
            </a:r>
            <a:r>
              <a:rPr lang="de-DE" b="1" dirty="0">
                <a:solidFill>
                  <a:srgbClr val="000000"/>
                </a:solidFill>
              </a:rPr>
              <a:t>PFS </a:t>
            </a:r>
            <a:r>
              <a:rPr lang="de-DE" dirty="0">
                <a:solidFill>
                  <a:srgbClr val="000000"/>
                </a:solidFill>
              </a:rPr>
              <a:t>Progressionsfreies Überleben.</a:t>
            </a:r>
            <a:endParaRPr lang="de-DE" dirty="0"/>
          </a:p>
          <a:p>
            <a:r>
              <a:rPr lang="de-DE" dirty="0"/>
              <a:t>Gavrilova I, et al. ESMO 2025. Poster 1642P. </a:t>
            </a:r>
          </a:p>
        </p:txBody>
      </p:sp>
    </p:spTree>
    <p:extLst>
      <p:ext uri="{BB962C8B-B14F-4D97-AF65-F5344CB8AC3E}">
        <p14:creationId xmlns:p14="http://schemas.microsoft.com/office/powerpoint/2010/main" val="17034620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9E6663-4023-0D6B-39F7-36335E7647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A4B4E20F-7474-2482-F3D8-02EB5303C8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B4E20F-7474-2482-F3D8-02EB5303C8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9B99834-47BF-D855-0799-8D676350C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9748530" cy="1065278"/>
          </a:xfrm>
        </p:spPr>
        <p:txBody>
          <a:bodyPr vert="horz"/>
          <a:lstStyle/>
          <a:p>
            <a:r>
              <a:rPr lang="en-GB" dirty="0" err="1"/>
              <a:t>Überlebensendpunkte</a:t>
            </a:r>
            <a:r>
              <a:rPr lang="en-GB" dirty="0"/>
              <a:t> </a:t>
            </a:r>
            <a:r>
              <a:rPr lang="en-GB" dirty="0" err="1"/>
              <a:t>nach</a:t>
            </a:r>
            <a:r>
              <a:rPr lang="en-GB" dirty="0"/>
              <a:t> </a:t>
            </a:r>
            <a:r>
              <a:rPr lang="en-GB" dirty="0" err="1"/>
              <a:t>adjuvanter</a:t>
            </a:r>
            <a:r>
              <a:rPr lang="en-GB" dirty="0"/>
              <a:t> und </a:t>
            </a:r>
            <a:br>
              <a:rPr lang="en-GB"/>
            </a:br>
            <a:r>
              <a:rPr lang="en-GB"/>
              <a:t>nicht adjuvanter </a:t>
            </a:r>
            <a:r>
              <a:rPr lang="en-GB" dirty="0"/>
              <a:t>BRAF/MEKi-</a:t>
            </a:r>
            <a:r>
              <a:rPr lang="en-GB" dirty="0" err="1"/>
              <a:t>Vortherapie</a:t>
            </a:r>
            <a:r>
              <a:rPr lang="en-GB" dirty="0"/>
              <a:t>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75E166D-F613-CA15-F850-1FB1992E1B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9</a:t>
            </a:fld>
            <a:endParaRPr lang="en-GB"/>
          </a:p>
        </p:txBody>
      </p:sp>
      <p:sp>
        <p:nvSpPr>
          <p:cNvPr id="10" name="TextBox 45">
            <a:extLst>
              <a:ext uri="{FF2B5EF4-FFF2-40B4-BE49-F238E27FC236}">
                <a16:creationId xmlns:a16="http://schemas.microsoft.com/office/drawing/2014/main" id="{83757E82-6F10-206E-3C4D-8D07808DDC64}"/>
              </a:ext>
            </a:extLst>
          </p:cNvPr>
          <p:cNvSpPr txBox="1"/>
          <p:nvPr/>
        </p:nvSpPr>
        <p:spPr>
          <a:xfrm>
            <a:off x="604838" y="1470126"/>
            <a:ext cx="736441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600" b="1" dirty="0">
                <a:solidFill>
                  <a:srgbClr val="0460A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FS und OS </a:t>
            </a:r>
            <a:r>
              <a:rPr lang="en-IN" sz="1600" b="1" dirty="0" err="1">
                <a:solidFill>
                  <a:srgbClr val="0460A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ch</a:t>
            </a:r>
            <a:r>
              <a:rPr lang="en-IN" sz="1600" b="1" dirty="0">
                <a:solidFill>
                  <a:srgbClr val="0460A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RAF/MEKi-</a:t>
            </a:r>
            <a:r>
              <a:rPr lang="en-IN" sz="1600" b="1" dirty="0" err="1">
                <a:solidFill>
                  <a:srgbClr val="0460A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rtherapie</a:t>
            </a:r>
            <a:r>
              <a:rPr lang="en-IN" sz="1600" b="1" dirty="0">
                <a:solidFill>
                  <a:srgbClr val="0460A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un</a:t>
            </a:r>
            <a:r>
              <a:rPr lang="en-IN" sz="1600" b="1" dirty="0" err="1">
                <a:solidFill>
                  <a:srgbClr val="0460A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matcht</a:t>
            </a:r>
            <a:r>
              <a:rPr lang="en-IN" sz="1600" b="1" dirty="0">
                <a:solidFill>
                  <a:srgbClr val="0460A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kumimoji="0" lang="en-IN" sz="1600" b="1" i="0" u="none" strike="noStrike" kern="1200" cap="none" spc="0" normalizeH="0" baseline="0" noProof="0" dirty="0">
              <a:ln>
                <a:noFill/>
              </a:ln>
              <a:solidFill>
                <a:srgbClr val="0460A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49442899-F89B-E1CB-8A5D-DD0AF1A0B973}"/>
              </a:ext>
            </a:extLst>
          </p:cNvPr>
          <p:cNvGrpSpPr/>
          <p:nvPr/>
        </p:nvGrpSpPr>
        <p:grpSpPr>
          <a:xfrm>
            <a:off x="767703" y="5057161"/>
            <a:ext cx="8582037" cy="1224000"/>
            <a:chOff x="6637867" y="2185509"/>
            <a:chExt cx="4799959" cy="1247577"/>
          </a:xfrm>
        </p:grpSpPr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7F46A85D-C9FD-715F-E0AB-6B2B4EE8E0BE}"/>
                </a:ext>
              </a:extLst>
            </p:cNvPr>
            <p:cNvSpPr txBox="1"/>
            <p:nvPr/>
          </p:nvSpPr>
          <p:spPr>
            <a:xfrm>
              <a:off x="6637867" y="2185509"/>
              <a:ext cx="4792108" cy="1247577"/>
            </a:xfrm>
            <a:prstGeom prst="roundRect">
              <a:avLst/>
            </a:prstGeom>
            <a:noFill/>
            <a:ln w="15875">
              <a:solidFill>
                <a:schemeClr val="accent1"/>
              </a:solidFill>
            </a:ln>
          </p:spPr>
          <p:txBody>
            <a:bodyPr wrap="square" rtlCol="0">
              <a:noAutofit/>
            </a:bodyPr>
            <a:lstStyle/>
            <a:p>
              <a:pPr marL="720000" marR="0" lvl="2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FF585D"/>
                </a:buClr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pPr marL="720000" marR="0" lvl="2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FF585D"/>
                </a:buClr>
                <a:buSzTx/>
                <a:buFontTx/>
                <a:buNone/>
                <a:tabLst/>
                <a:defRPr/>
              </a:pPr>
              <a:endParaRPr lang="de-DE" sz="1400" dirty="0">
                <a:solidFill>
                  <a:schemeClr val="accent1"/>
                </a:solidFill>
                <a:latin typeface="Arial" panose="020B0604020202020204"/>
              </a:endParaRPr>
            </a:p>
            <a:p>
              <a:pPr marL="720000" marR="0" lvl="2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FF585D"/>
                </a:buClr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" name="Textfeld 4">
              <a:extLst>
                <a:ext uri="{FF2B5EF4-FFF2-40B4-BE49-F238E27FC236}">
                  <a16:creationId xmlns:a16="http://schemas.microsoft.com/office/drawing/2014/main" id="{CE34D370-A1C9-9FB6-6C11-7048BD0A4BF7}"/>
                </a:ext>
              </a:extLst>
            </p:cNvPr>
            <p:cNvSpPr txBox="1"/>
            <p:nvPr/>
          </p:nvSpPr>
          <p:spPr>
            <a:xfrm>
              <a:off x="7695946" y="2185510"/>
              <a:ext cx="2620020" cy="31370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de-DE" sz="1400" b="1" dirty="0">
                  <a:solidFill>
                    <a:schemeClr val="tx2"/>
                  </a:solidFill>
                </a:rPr>
                <a:t>Subgruppenanalyse der </a:t>
              </a:r>
              <a:r>
                <a:rPr lang="de-DE" sz="1400" b="1" dirty="0" err="1">
                  <a:solidFill>
                    <a:schemeClr val="tx2"/>
                  </a:solidFill>
                </a:rPr>
                <a:t>Rechallenge</a:t>
              </a:r>
              <a:r>
                <a:rPr lang="de-DE" sz="1400" b="1" dirty="0">
                  <a:solidFill>
                    <a:schemeClr val="tx2"/>
                  </a:solidFill>
                </a:rPr>
                <a:t>-Kohorte</a:t>
              </a:r>
            </a:p>
          </p:txBody>
        </p: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0D62543A-F000-A10F-F2D9-F9876389D19F}"/>
                </a:ext>
              </a:extLst>
            </p:cNvPr>
            <p:cNvSpPr txBox="1"/>
            <p:nvPr/>
          </p:nvSpPr>
          <p:spPr>
            <a:xfrm>
              <a:off x="6637868" y="2476593"/>
              <a:ext cx="4799958" cy="752892"/>
            </a:xfrm>
            <a:prstGeom prst="rect">
              <a:avLst/>
            </a:prstGeom>
            <a:noFill/>
          </p:spPr>
          <p:txBody>
            <a:bodyPr wrap="square" numCol="1">
              <a:spAutoFit/>
            </a:bodyPr>
            <a:lstStyle/>
            <a:p>
              <a:pPr marL="285750" indent="-285750">
                <a:spcAft>
                  <a:spcPts val="600"/>
                </a:spcAft>
                <a:buClr>
                  <a:srgbClr val="FF6551"/>
                </a:buClr>
                <a:buFont typeface="Arial" panose="020B0604020202020204" pitchFamily="34" charset="0"/>
                <a:buChar char="•"/>
              </a:pPr>
              <a:r>
                <a:rPr lang="de-DE" sz="1400" dirty="0">
                  <a:solidFill>
                    <a:srgbClr val="002068"/>
                  </a:solidFill>
                </a:rPr>
                <a:t>Die mit BRAF/</a:t>
              </a:r>
              <a:r>
                <a:rPr lang="de-DE" sz="1400" dirty="0" err="1">
                  <a:solidFill>
                    <a:srgbClr val="002068"/>
                  </a:solidFill>
                </a:rPr>
                <a:t>MEKi</a:t>
              </a:r>
              <a:r>
                <a:rPr lang="de-DE" sz="1400" dirty="0">
                  <a:solidFill>
                    <a:srgbClr val="002068"/>
                  </a:solidFill>
                </a:rPr>
                <a:t> adjuvant behandelte </a:t>
              </a:r>
              <a:r>
                <a:rPr lang="de-DE" sz="1400" dirty="0" err="1">
                  <a:solidFill>
                    <a:srgbClr val="002068"/>
                  </a:solidFill>
                </a:rPr>
                <a:t>Rechallenge</a:t>
              </a:r>
              <a:r>
                <a:rPr lang="de-DE" sz="1400" dirty="0">
                  <a:solidFill>
                    <a:srgbClr val="002068"/>
                  </a:solidFill>
                </a:rPr>
                <a:t>-Kohorte zeigte ein signifikant längeres medianes Gesamtüberleben (13,8 vs. 8,6 Monate; p=0,03) und ein numerisch längeres, nicht signifikantes medianes PFS (8,6 vs. 5,1 Monate) gegenüber der nicht-adjuvant behandelten Kohorte.</a:t>
              </a:r>
            </a:p>
          </p:txBody>
        </p:sp>
      </p:grpSp>
      <p:sp>
        <p:nvSpPr>
          <p:cNvPr id="13" name="Textplatzhalter 14">
            <a:extLst>
              <a:ext uri="{FF2B5EF4-FFF2-40B4-BE49-F238E27FC236}">
                <a16:creationId xmlns:a16="http://schemas.microsoft.com/office/drawing/2014/main" id="{208CE4B0-B5C5-04F1-E3E8-D9B382F20C1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7" y="6051550"/>
            <a:ext cx="9267825" cy="587375"/>
          </a:xfrm>
        </p:spPr>
        <p:txBody>
          <a:bodyPr/>
          <a:lstStyle/>
          <a:p>
            <a:r>
              <a:rPr lang="de-DE" b="1" dirty="0"/>
              <a:t>BRAF </a:t>
            </a:r>
            <a:r>
              <a:rPr lang="de-DE" dirty="0"/>
              <a:t>Serin/Threonin-Kinase B-</a:t>
            </a:r>
            <a:r>
              <a:rPr lang="de-DE" dirty="0" err="1"/>
              <a:t>Raf</a:t>
            </a:r>
            <a:r>
              <a:rPr lang="de-DE" dirty="0"/>
              <a:t>.</a:t>
            </a:r>
            <a:r>
              <a:rPr lang="de-DE" b="1" dirty="0"/>
              <a:t> </a:t>
            </a:r>
            <a:r>
              <a:rPr lang="en-US" b="1" dirty="0"/>
              <a:t>KI</a:t>
            </a:r>
            <a:r>
              <a:rPr lang="en-US" dirty="0"/>
              <a:t> </a:t>
            </a:r>
            <a:r>
              <a:rPr lang="en-US" dirty="0" err="1"/>
              <a:t>Konfidenzintervall</a:t>
            </a:r>
            <a:r>
              <a:rPr lang="en-US" dirty="0"/>
              <a:t>. </a:t>
            </a:r>
            <a:r>
              <a:rPr lang="de-DE" b="1" dirty="0"/>
              <a:t>MEK </a:t>
            </a:r>
            <a:r>
              <a:rPr lang="de-DE" dirty="0" err="1"/>
              <a:t>Mitogen</a:t>
            </a:r>
            <a:r>
              <a:rPr lang="de-DE" dirty="0"/>
              <a:t>-aktivierte Proteinkinase-Kinase.</a:t>
            </a:r>
            <a:r>
              <a:rPr lang="de-DE" b="1" dirty="0"/>
              <a:t> NR </a:t>
            </a:r>
            <a:r>
              <a:rPr lang="de-DE" dirty="0"/>
              <a:t>Nicht erreicht. </a:t>
            </a:r>
            <a:r>
              <a:rPr lang="de-DE" b="1" dirty="0">
                <a:solidFill>
                  <a:srgbClr val="000000"/>
                </a:solidFill>
              </a:rPr>
              <a:t>OS</a:t>
            </a:r>
            <a:r>
              <a:rPr lang="de-DE" dirty="0">
                <a:solidFill>
                  <a:srgbClr val="000000"/>
                </a:solidFill>
              </a:rPr>
              <a:t> Gesamtüberleben. </a:t>
            </a:r>
            <a:r>
              <a:rPr lang="de-DE" b="1" dirty="0">
                <a:solidFill>
                  <a:srgbClr val="000000"/>
                </a:solidFill>
              </a:rPr>
              <a:t>PFS </a:t>
            </a:r>
            <a:r>
              <a:rPr lang="de-DE" dirty="0">
                <a:solidFill>
                  <a:srgbClr val="000000"/>
                </a:solidFill>
              </a:rPr>
              <a:t>Progressionsfreies Überleben.</a:t>
            </a:r>
            <a:endParaRPr lang="de-DE" dirty="0"/>
          </a:p>
          <a:p>
            <a:r>
              <a:rPr lang="de-DE" dirty="0"/>
              <a:t>Gavrilova I, et al. ESMO 2025. Poster 1642P. 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53E7A1A-3A99-A1A9-37DD-E234448AE0F8}"/>
              </a:ext>
            </a:extLst>
          </p:cNvPr>
          <p:cNvPicPr preferRelativeResize="0">
            <a:picLocks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8819" y="2239050"/>
            <a:ext cx="3050591" cy="2058132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BFD859F0-4B07-987D-4B04-765FE1F089CA}"/>
              </a:ext>
            </a:extLst>
          </p:cNvPr>
          <p:cNvPicPr preferRelativeResize="0">
            <a:picLocks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44671" y="2239050"/>
            <a:ext cx="3050591" cy="2058132"/>
          </a:xfrm>
          <a:prstGeom prst="rect">
            <a:avLst/>
          </a:prstGeom>
        </p:spPr>
      </p:pic>
      <p:graphicFrame>
        <p:nvGraphicFramePr>
          <p:cNvPr id="30" name="Tabelle 29">
            <a:extLst>
              <a:ext uri="{FF2B5EF4-FFF2-40B4-BE49-F238E27FC236}">
                <a16:creationId xmlns:a16="http://schemas.microsoft.com/office/drawing/2014/main" id="{8E8FF5CF-C9DE-2225-31A7-59B8F7C821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8351848"/>
              </p:ext>
            </p:extLst>
          </p:nvPr>
        </p:nvGraphicFramePr>
        <p:xfrm>
          <a:off x="525812" y="4327820"/>
          <a:ext cx="3576538" cy="441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8138">
                  <a:extLst>
                    <a:ext uri="{9D8B030D-6E8A-4147-A177-3AD203B41FA5}">
                      <a16:colId xmlns:a16="http://schemas.microsoft.com/office/drawing/2014/main" val="542809258"/>
                    </a:ext>
                  </a:extLst>
                </a:gridCol>
                <a:gridCol w="226800">
                  <a:extLst>
                    <a:ext uri="{9D8B030D-6E8A-4147-A177-3AD203B41FA5}">
                      <a16:colId xmlns:a16="http://schemas.microsoft.com/office/drawing/2014/main" val="1946081736"/>
                    </a:ext>
                  </a:extLst>
                </a:gridCol>
                <a:gridCol w="226800">
                  <a:extLst>
                    <a:ext uri="{9D8B030D-6E8A-4147-A177-3AD203B41FA5}">
                      <a16:colId xmlns:a16="http://schemas.microsoft.com/office/drawing/2014/main" val="1177282969"/>
                    </a:ext>
                  </a:extLst>
                </a:gridCol>
                <a:gridCol w="226800">
                  <a:extLst>
                    <a:ext uri="{9D8B030D-6E8A-4147-A177-3AD203B41FA5}">
                      <a16:colId xmlns:a16="http://schemas.microsoft.com/office/drawing/2014/main" val="1616310612"/>
                    </a:ext>
                  </a:extLst>
                </a:gridCol>
                <a:gridCol w="226800">
                  <a:extLst>
                    <a:ext uri="{9D8B030D-6E8A-4147-A177-3AD203B41FA5}">
                      <a16:colId xmlns:a16="http://schemas.microsoft.com/office/drawing/2014/main" val="1638826207"/>
                    </a:ext>
                  </a:extLst>
                </a:gridCol>
                <a:gridCol w="226800">
                  <a:extLst>
                    <a:ext uri="{9D8B030D-6E8A-4147-A177-3AD203B41FA5}">
                      <a16:colId xmlns:a16="http://schemas.microsoft.com/office/drawing/2014/main" val="4260529113"/>
                    </a:ext>
                  </a:extLst>
                </a:gridCol>
                <a:gridCol w="226800">
                  <a:extLst>
                    <a:ext uri="{9D8B030D-6E8A-4147-A177-3AD203B41FA5}">
                      <a16:colId xmlns:a16="http://schemas.microsoft.com/office/drawing/2014/main" val="1971220147"/>
                    </a:ext>
                  </a:extLst>
                </a:gridCol>
                <a:gridCol w="226800">
                  <a:extLst>
                    <a:ext uri="{9D8B030D-6E8A-4147-A177-3AD203B41FA5}">
                      <a16:colId xmlns:a16="http://schemas.microsoft.com/office/drawing/2014/main" val="653103205"/>
                    </a:ext>
                  </a:extLst>
                </a:gridCol>
                <a:gridCol w="226800">
                  <a:extLst>
                    <a:ext uri="{9D8B030D-6E8A-4147-A177-3AD203B41FA5}">
                      <a16:colId xmlns:a16="http://schemas.microsoft.com/office/drawing/2014/main" val="290804545"/>
                    </a:ext>
                  </a:extLst>
                </a:gridCol>
                <a:gridCol w="226800">
                  <a:extLst>
                    <a:ext uri="{9D8B030D-6E8A-4147-A177-3AD203B41FA5}">
                      <a16:colId xmlns:a16="http://schemas.microsoft.com/office/drawing/2014/main" val="231208079"/>
                    </a:ext>
                  </a:extLst>
                </a:gridCol>
                <a:gridCol w="226800">
                  <a:extLst>
                    <a:ext uri="{9D8B030D-6E8A-4147-A177-3AD203B41FA5}">
                      <a16:colId xmlns:a16="http://schemas.microsoft.com/office/drawing/2014/main" val="2619041188"/>
                    </a:ext>
                  </a:extLst>
                </a:gridCol>
                <a:gridCol w="226800">
                  <a:extLst>
                    <a:ext uri="{9D8B030D-6E8A-4147-A177-3AD203B41FA5}">
                      <a16:colId xmlns:a16="http://schemas.microsoft.com/office/drawing/2014/main" val="173192262"/>
                    </a:ext>
                  </a:extLst>
                </a:gridCol>
                <a:gridCol w="226800">
                  <a:extLst>
                    <a:ext uri="{9D8B030D-6E8A-4147-A177-3AD203B41FA5}">
                      <a16:colId xmlns:a16="http://schemas.microsoft.com/office/drawing/2014/main" val="1077127577"/>
                    </a:ext>
                  </a:extLst>
                </a:gridCol>
                <a:gridCol w="226800">
                  <a:extLst>
                    <a:ext uri="{9D8B030D-6E8A-4147-A177-3AD203B41FA5}">
                      <a16:colId xmlns:a16="http://schemas.microsoft.com/office/drawing/2014/main" val="620125520"/>
                    </a:ext>
                  </a:extLst>
                </a:gridCol>
              </a:tblGrid>
              <a:tr h="27867">
                <a:tc>
                  <a:txBody>
                    <a:bodyPr/>
                    <a:lstStyle/>
                    <a:p>
                      <a:endParaRPr lang="de-DE" sz="700" b="0" dirty="0"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tx1"/>
                          </a:solidFill>
                          <a:latin typeface="+mn-lt"/>
                        </a:rPr>
                        <a:t>0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tx1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tx1"/>
                          </a:solidFill>
                          <a:latin typeface="+mn-lt"/>
                        </a:rPr>
                        <a:t>8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tx1"/>
                          </a:solidFill>
                          <a:latin typeface="+mn-lt"/>
                        </a:rPr>
                        <a:t>12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tx1"/>
                          </a:solidFill>
                          <a:latin typeface="+mn-lt"/>
                        </a:rPr>
                        <a:t>16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tx1"/>
                          </a:solidFill>
                          <a:latin typeface="+mn-lt"/>
                        </a:rPr>
                        <a:t>20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tx1"/>
                          </a:solidFill>
                          <a:latin typeface="+mn-lt"/>
                        </a:rPr>
                        <a:t>24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tx1"/>
                          </a:solidFill>
                          <a:latin typeface="+mn-lt"/>
                        </a:rPr>
                        <a:t>28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tx1"/>
                          </a:solidFill>
                          <a:latin typeface="+mn-lt"/>
                        </a:rPr>
                        <a:t>32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tx1"/>
                          </a:solidFill>
                          <a:latin typeface="+mn-lt"/>
                        </a:rPr>
                        <a:t>36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tx1"/>
                          </a:solidFill>
                          <a:latin typeface="+mn-lt"/>
                        </a:rPr>
                        <a:t>40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tx1"/>
                          </a:solidFill>
                          <a:latin typeface="+mn-lt"/>
                        </a:rPr>
                        <a:t>44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tx1"/>
                          </a:solidFill>
                          <a:latin typeface="+mn-lt"/>
                        </a:rPr>
                        <a:t>48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7486014"/>
                  </a:ext>
                </a:extLst>
              </a:tr>
              <a:tr h="81000">
                <a:tc>
                  <a:txBody>
                    <a:bodyPr/>
                    <a:lstStyle/>
                    <a:p>
                      <a:endParaRPr lang="de-DE" sz="700" b="0" dirty="0"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13">
                  <a:txBody>
                    <a:bodyPr/>
                    <a:lstStyle/>
                    <a:p>
                      <a:pPr algn="ctr"/>
                      <a:r>
                        <a:rPr lang="de-DE" sz="800" b="1" dirty="0">
                          <a:solidFill>
                            <a:schemeClr val="tx1"/>
                          </a:solidFill>
                          <a:latin typeface="+mn-lt"/>
                        </a:rPr>
                        <a:t>Zeit in Monaten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65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65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65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65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65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65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5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5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5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5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65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6296696"/>
                  </a:ext>
                </a:extLst>
              </a:tr>
              <a:tr h="81000">
                <a:tc>
                  <a:txBody>
                    <a:bodyPr/>
                    <a:lstStyle/>
                    <a:p>
                      <a:pPr algn="r"/>
                      <a:r>
                        <a:rPr lang="de-DE" sz="700" b="0" dirty="0">
                          <a:solidFill>
                            <a:srgbClr val="0460A9"/>
                          </a:solidFill>
                          <a:latin typeface="+mn-lt"/>
                        </a:rPr>
                        <a:t>Adjuvant</a:t>
                      </a:r>
                    </a:p>
                  </a:txBody>
                  <a:tcPr marL="0" marR="3600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spc="-28" dirty="0">
                          <a:solidFill>
                            <a:srgbClr val="0460A9"/>
                          </a:solidFill>
                          <a:latin typeface="+mn-lt"/>
                        </a:rPr>
                        <a:t>42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  <a:latin typeface="+mn-lt"/>
                        </a:rPr>
                        <a:t>31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  <a:latin typeface="+mn-lt"/>
                        </a:rPr>
                        <a:t>20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  <a:latin typeface="+mn-lt"/>
                        </a:rPr>
                        <a:t>9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  <a:latin typeface="+mn-lt"/>
                        </a:rPr>
                        <a:t>7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5088315"/>
                  </a:ext>
                </a:extLst>
              </a:tr>
              <a:tr h="81000">
                <a:tc>
                  <a:txBody>
                    <a:bodyPr/>
                    <a:lstStyle/>
                    <a:p>
                      <a:pPr algn="r"/>
                      <a:r>
                        <a:rPr lang="de-DE" sz="700" b="0">
                          <a:solidFill>
                            <a:schemeClr val="accent2"/>
                          </a:solidFill>
                          <a:latin typeface="+mn-lt"/>
                        </a:rPr>
                        <a:t>Nicht adjuvant</a:t>
                      </a:r>
                      <a:endParaRPr lang="de-DE" sz="700" b="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L="0" marR="3600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accent2"/>
                          </a:solidFill>
                          <a:latin typeface="+mn-lt"/>
                        </a:rPr>
                        <a:t>152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accent2"/>
                          </a:solidFill>
                          <a:latin typeface="+mn-lt"/>
                        </a:rPr>
                        <a:t>95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accent2"/>
                          </a:solidFill>
                          <a:latin typeface="+mn-lt"/>
                        </a:rPr>
                        <a:t>49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accent2"/>
                          </a:solidFill>
                          <a:latin typeface="+mn-lt"/>
                        </a:rPr>
                        <a:t>33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accent2"/>
                          </a:solidFill>
                          <a:latin typeface="+mn-lt"/>
                        </a:rPr>
                        <a:t>25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accent2"/>
                          </a:solidFill>
                          <a:latin typeface="+mn-lt"/>
                        </a:rPr>
                        <a:t>15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accent2"/>
                          </a:solidFill>
                          <a:latin typeface="+mn-lt"/>
                        </a:rPr>
                        <a:t>14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accent2"/>
                          </a:solidFill>
                          <a:latin typeface="+mn-lt"/>
                        </a:rPr>
                        <a:t>8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accent2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accent2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accent2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accent2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accent2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8755460"/>
                  </a:ext>
                </a:extLst>
              </a:tr>
            </a:tbl>
          </a:graphicData>
        </a:graphic>
      </p:graphicFrame>
      <p:graphicFrame>
        <p:nvGraphicFramePr>
          <p:cNvPr id="45" name="Tabelle 44">
            <a:extLst>
              <a:ext uri="{FF2B5EF4-FFF2-40B4-BE49-F238E27FC236}">
                <a16:creationId xmlns:a16="http://schemas.microsoft.com/office/drawing/2014/main" id="{6F426AFF-750C-8603-388F-EA304D1F84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9788877"/>
              </p:ext>
            </p:extLst>
          </p:nvPr>
        </p:nvGraphicFramePr>
        <p:xfrm>
          <a:off x="4240154" y="4335543"/>
          <a:ext cx="3582304" cy="42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9250">
                  <a:extLst>
                    <a:ext uri="{9D8B030D-6E8A-4147-A177-3AD203B41FA5}">
                      <a16:colId xmlns:a16="http://schemas.microsoft.com/office/drawing/2014/main" val="542809258"/>
                    </a:ext>
                  </a:extLst>
                </a:gridCol>
                <a:gridCol w="163503">
                  <a:extLst>
                    <a:ext uri="{9D8B030D-6E8A-4147-A177-3AD203B41FA5}">
                      <a16:colId xmlns:a16="http://schemas.microsoft.com/office/drawing/2014/main" val="1946081736"/>
                    </a:ext>
                  </a:extLst>
                </a:gridCol>
                <a:gridCol w="163503">
                  <a:extLst>
                    <a:ext uri="{9D8B030D-6E8A-4147-A177-3AD203B41FA5}">
                      <a16:colId xmlns:a16="http://schemas.microsoft.com/office/drawing/2014/main" val="1177282969"/>
                    </a:ext>
                  </a:extLst>
                </a:gridCol>
                <a:gridCol w="163503">
                  <a:extLst>
                    <a:ext uri="{9D8B030D-6E8A-4147-A177-3AD203B41FA5}">
                      <a16:colId xmlns:a16="http://schemas.microsoft.com/office/drawing/2014/main" val="1616310612"/>
                    </a:ext>
                  </a:extLst>
                </a:gridCol>
                <a:gridCol w="163503">
                  <a:extLst>
                    <a:ext uri="{9D8B030D-6E8A-4147-A177-3AD203B41FA5}">
                      <a16:colId xmlns:a16="http://schemas.microsoft.com/office/drawing/2014/main" val="1638826207"/>
                    </a:ext>
                  </a:extLst>
                </a:gridCol>
                <a:gridCol w="163503">
                  <a:extLst>
                    <a:ext uri="{9D8B030D-6E8A-4147-A177-3AD203B41FA5}">
                      <a16:colId xmlns:a16="http://schemas.microsoft.com/office/drawing/2014/main" val="4260529113"/>
                    </a:ext>
                  </a:extLst>
                </a:gridCol>
                <a:gridCol w="163503">
                  <a:extLst>
                    <a:ext uri="{9D8B030D-6E8A-4147-A177-3AD203B41FA5}">
                      <a16:colId xmlns:a16="http://schemas.microsoft.com/office/drawing/2014/main" val="1971220147"/>
                    </a:ext>
                  </a:extLst>
                </a:gridCol>
                <a:gridCol w="163503">
                  <a:extLst>
                    <a:ext uri="{9D8B030D-6E8A-4147-A177-3AD203B41FA5}">
                      <a16:colId xmlns:a16="http://schemas.microsoft.com/office/drawing/2014/main" val="653103205"/>
                    </a:ext>
                  </a:extLst>
                </a:gridCol>
                <a:gridCol w="163503">
                  <a:extLst>
                    <a:ext uri="{9D8B030D-6E8A-4147-A177-3AD203B41FA5}">
                      <a16:colId xmlns:a16="http://schemas.microsoft.com/office/drawing/2014/main" val="290804545"/>
                    </a:ext>
                  </a:extLst>
                </a:gridCol>
                <a:gridCol w="163503">
                  <a:extLst>
                    <a:ext uri="{9D8B030D-6E8A-4147-A177-3AD203B41FA5}">
                      <a16:colId xmlns:a16="http://schemas.microsoft.com/office/drawing/2014/main" val="231208079"/>
                    </a:ext>
                  </a:extLst>
                </a:gridCol>
                <a:gridCol w="163503">
                  <a:extLst>
                    <a:ext uri="{9D8B030D-6E8A-4147-A177-3AD203B41FA5}">
                      <a16:colId xmlns:a16="http://schemas.microsoft.com/office/drawing/2014/main" val="2619041188"/>
                    </a:ext>
                  </a:extLst>
                </a:gridCol>
                <a:gridCol w="163503">
                  <a:extLst>
                    <a:ext uri="{9D8B030D-6E8A-4147-A177-3AD203B41FA5}">
                      <a16:colId xmlns:a16="http://schemas.microsoft.com/office/drawing/2014/main" val="173192262"/>
                    </a:ext>
                  </a:extLst>
                </a:gridCol>
                <a:gridCol w="163503">
                  <a:extLst>
                    <a:ext uri="{9D8B030D-6E8A-4147-A177-3AD203B41FA5}">
                      <a16:colId xmlns:a16="http://schemas.microsoft.com/office/drawing/2014/main" val="1077127577"/>
                    </a:ext>
                  </a:extLst>
                </a:gridCol>
                <a:gridCol w="163503">
                  <a:extLst>
                    <a:ext uri="{9D8B030D-6E8A-4147-A177-3AD203B41FA5}">
                      <a16:colId xmlns:a16="http://schemas.microsoft.com/office/drawing/2014/main" val="620125520"/>
                    </a:ext>
                  </a:extLst>
                </a:gridCol>
                <a:gridCol w="163503">
                  <a:extLst>
                    <a:ext uri="{9D8B030D-6E8A-4147-A177-3AD203B41FA5}">
                      <a16:colId xmlns:a16="http://schemas.microsoft.com/office/drawing/2014/main" val="2390182016"/>
                    </a:ext>
                  </a:extLst>
                </a:gridCol>
                <a:gridCol w="163503">
                  <a:extLst>
                    <a:ext uri="{9D8B030D-6E8A-4147-A177-3AD203B41FA5}">
                      <a16:colId xmlns:a16="http://schemas.microsoft.com/office/drawing/2014/main" val="1787182718"/>
                    </a:ext>
                  </a:extLst>
                </a:gridCol>
                <a:gridCol w="163503">
                  <a:extLst>
                    <a:ext uri="{9D8B030D-6E8A-4147-A177-3AD203B41FA5}">
                      <a16:colId xmlns:a16="http://schemas.microsoft.com/office/drawing/2014/main" val="2804050440"/>
                    </a:ext>
                  </a:extLst>
                </a:gridCol>
                <a:gridCol w="163503">
                  <a:extLst>
                    <a:ext uri="{9D8B030D-6E8A-4147-A177-3AD203B41FA5}">
                      <a16:colId xmlns:a16="http://schemas.microsoft.com/office/drawing/2014/main" val="1661670970"/>
                    </a:ext>
                  </a:extLst>
                </a:gridCol>
                <a:gridCol w="163503">
                  <a:extLst>
                    <a:ext uri="{9D8B030D-6E8A-4147-A177-3AD203B41FA5}">
                      <a16:colId xmlns:a16="http://schemas.microsoft.com/office/drawing/2014/main" val="3608487791"/>
                    </a:ext>
                  </a:extLst>
                </a:gridCol>
              </a:tblGrid>
              <a:tr h="27867">
                <a:tc>
                  <a:txBody>
                    <a:bodyPr/>
                    <a:lstStyle/>
                    <a:p>
                      <a:endParaRPr lang="de-DE" sz="700" b="0" dirty="0"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tx1"/>
                          </a:solidFill>
                          <a:latin typeface="+mn-lt"/>
                        </a:rPr>
                        <a:t>0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tx1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tx1"/>
                          </a:solidFill>
                          <a:latin typeface="+mn-lt"/>
                        </a:rPr>
                        <a:t>8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tx1"/>
                          </a:solidFill>
                          <a:latin typeface="+mn-lt"/>
                        </a:rPr>
                        <a:t>12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tx1"/>
                          </a:solidFill>
                          <a:latin typeface="+mn-lt"/>
                        </a:rPr>
                        <a:t>16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tx1"/>
                          </a:solidFill>
                          <a:latin typeface="+mn-lt"/>
                        </a:rPr>
                        <a:t>20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tx1"/>
                          </a:solidFill>
                          <a:latin typeface="+mn-lt"/>
                        </a:rPr>
                        <a:t>24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tx1"/>
                          </a:solidFill>
                          <a:latin typeface="+mn-lt"/>
                        </a:rPr>
                        <a:t>28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tx1"/>
                          </a:solidFill>
                          <a:latin typeface="+mn-lt"/>
                        </a:rPr>
                        <a:t>32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tx1"/>
                          </a:solidFill>
                          <a:latin typeface="+mn-lt"/>
                        </a:rPr>
                        <a:t>36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tx1"/>
                          </a:solidFill>
                          <a:latin typeface="+mn-lt"/>
                        </a:rPr>
                        <a:t>40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tx1"/>
                          </a:solidFill>
                          <a:latin typeface="+mn-lt"/>
                        </a:rPr>
                        <a:t>44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tx1"/>
                          </a:solidFill>
                          <a:latin typeface="+mn-lt"/>
                        </a:rPr>
                        <a:t>48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tx1"/>
                          </a:solidFill>
                          <a:latin typeface="+mn-lt"/>
                        </a:rPr>
                        <a:t>52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tx1"/>
                          </a:solidFill>
                          <a:latin typeface="+mn-lt"/>
                        </a:rPr>
                        <a:t>56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tx1"/>
                          </a:solidFill>
                          <a:latin typeface="+mn-lt"/>
                        </a:rPr>
                        <a:t>60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tx1"/>
                          </a:solidFill>
                          <a:latin typeface="+mn-lt"/>
                        </a:rPr>
                        <a:t>64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chemeClr val="tx1"/>
                          </a:solidFill>
                          <a:latin typeface="+mn-lt"/>
                        </a:rPr>
                        <a:t>68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7486014"/>
                  </a:ext>
                </a:extLst>
              </a:tr>
              <a:tr h="81000">
                <a:tc>
                  <a:txBody>
                    <a:bodyPr/>
                    <a:lstStyle/>
                    <a:p>
                      <a:endParaRPr lang="de-DE" sz="700" b="0" dirty="0"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1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dirty="0">
                          <a:solidFill>
                            <a:schemeClr val="tx1"/>
                          </a:solidFill>
                          <a:latin typeface="+mn-lt"/>
                        </a:rPr>
                        <a:t>Zeit in Monaten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65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65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65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65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65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65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5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5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5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5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65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6296696"/>
                  </a:ext>
                </a:extLst>
              </a:tr>
              <a:tr h="81000">
                <a:tc>
                  <a:txBody>
                    <a:bodyPr/>
                    <a:lstStyle/>
                    <a:p>
                      <a:pPr algn="r"/>
                      <a:r>
                        <a:rPr lang="de-DE" sz="700" b="0" dirty="0">
                          <a:solidFill>
                            <a:srgbClr val="0460A9"/>
                          </a:solidFill>
                          <a:latin typeface="+mn-lt"/>
                        </a:rPr>
                        <a:t>Adjuvant</a:t>
                      </a:r>
                    </a:p>
                  </a:txBody>
                  <a:tcPr marL="0" marR="3600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spc="-28" dirty="0">
                          <a:solidFill>
                            <a:srgbClr val="0460A9"/>
                          </a:solidFill>
                          <a:latin typeface="+mn-lt"/>
                        </a:rPr>
                        <a:t>42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  <a:latin typeface="+mn-lt"/>
                        </a:rPr>
                        <a:t>36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  <a:latin typeface="+mn-lt"/>
                        </a:rPr>
                        <a:t>28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  <a:latin typeface="+mn-lt"/>
                        </a:rPr>
                        <a:t>21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  <a:latin typeface="+mn-lt"/>
                        </a:rPr>
                        <a:t>15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  <a:latin typeface="+mn-lt"/>
                        </a:rPr>
                        <a:t>9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  <a:latin typeface="+mn-lt"/>
                        </a:rPr>
                        <a:t>8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0460A9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dirty="0">
                        <a:solidFill>
                          <a:srgbClr val="0460A9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dirty="0">
                        <a:solidFill>
                          <a:srgbClr val="0460A9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dirty="0">
                        <a:solidFill>
                          <a:srgbClr val="0460A9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dirty="0">
                        <a:solidFill>
                          <a:srgbClr val="0460A9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5088315"/>
                  </a:ext>
                </a:extLst>
              </a:tr>
              <a:tr h="81000">
                <a:tc>
                  <a:txBody>
                    <a:bodyPr/>
                    <a:lstStyle/>
                    <a:p>
                      <a:pPr algn="r"/>
                      <a:r>
                        <a:rPr lang="de-DE" sz="700" b="0">
                          <a:solidFill>
                            <a:srgbClr val="FF585D"/>
                          </a:solidFill>
                          <a:latin typeface="+mn-lt"/>
                        </a:rPr>
                        <a:t>Nicht adjuvant</a:t>
                      </a:r>
                      <a:endParaRPr lang="de-DE" sz="700" b="0" dirty="0">
                        <a:solidFill>
                          <a:srgbClr val="FF585D"/>
                        </a:solidFill>
                        <a:latin typeface="+mn-lt"/>
                      </a:endParaRPr>
                    </a:p>
                  </a:txBody>
                  <a:tcPr marL="0" marR="3600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585D"/>
                          </a:solidFill>
                          <a:latin typeface="+mn-lt"/>
                        </a:rPr>
                        <a:t>152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585D"/>
                          </a:solidFill>
                          <a:latin typeface="+mn-lt"/>
                        </a:rPr>
                        <a:t>119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585D"/>
                          </a:solidFill>
                          <a:latin typeface="+mn-lt"/>
                        </a:rPr>
                        <a:t>79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585D"/>
                          </a:solidFill>
                          <a:latin typeface="+mn-lt"/>
                        </a:rPr>
                        <a:t>59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585D"/>
                          </a:solidFill>
                          <a:latin typeface="+mn-lt"/>
                        </a:rPr>
                        <a:t>44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585D"/>
                          </a:solidFill>
                          <a:latin typeface="+mn-lt"/>
                        </a:rPr>
                        <a:t>31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585D"/>
                          </a:solidFill>
                          <a:latin typeface="+mn-lt"/>
                        </a:rPr>
                        <a:t>25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585D"/>
                          </a:solidFill>
                          <a:latin typeface="+mn-lt"/>
                        </a:rPr>
                        <a:t>20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585D"/>
                          </a:solidFill>
                          <a:latin typeface="+mn-lt"/>
                        </a:rPr>
                        <a:t>17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585D"/>
                          </a:solidFill>
                          <a:latin typeface="+mn-lt"/>
                        </a:rPr>
                        <a:t>14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585D"/>
                          </a:solidFill>
                          <a:latin typeface="+mn-lt"/>
                        </a:rPr>
                        <a:t>13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585D"/>
                          </a:solidFill>
                          <a:latin typeface="+mn-lt"/>
                        </a:rPr>
                        <a:t>12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585D"/>
                          </a:solidFill>
                          <a:latin typeface="+mn-lt"/>
                        </a:rPr>
                        <a:t>9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585D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585D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585D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585D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0" dirty="0">
                          <a:solidFill>
                            <a:srgbClr val="FF585D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8755460"/>
                  </a:ext>
                </a:extLst>
              </a:tr>
            </a:tbl>
          </a:graphicData>
        </a:graphic>
      </p:graphicFrame>
      <p:sp>
        <p:nvSpPr>
          <p:cNvPr id="46" name="Textfeld 45">
            <a:extLst>
              <a:ext uri="{FF2B5EF4-FFF2-40B4-BE49-F238E27FC236}">
                <a16:creationId xmlns:a16="http://schemas.microsoft.com/office/drawing/2014/main" id="{4C5EF10C-D8B3-6386-1ACD-5334CE777658}"/>
              </a:ext>
            </a:extLst>
          </p:cNvPr>
          <p:cNvSpPr txBox="1"/>
          <p:nvPr/>
        </p:nvSpPr>
        <p:spPr>
          <a:xfrm>
            <a:off x="4972911" y="4080527"/>
            <a:ext cx="10572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900" dirty="0"/>
              <a:t>p-Wert: 0,0336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EDE9C635-27F2-FD1C-E205-9DAE64DBAE4C}"/>
              </a:ext>
            </a:extLst>
          </p:cNvPr>
          <p:cNvSpPr txBox="1"/>
          <p:nvPr/>
        </p:nvSpPr>
        <p:spPr>
          <a:xfrm>
            <a:off x="7239861" y="4080527"/>
            <a:ext cx="10572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900" dirty="0"/>
              <a:t>+ Zensiert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2A7B7FF7-D52A-7AE4-2BF6-BC41CB34873F}"/>
              </a:ext>
            </a:extLst>
          </p:cNvPr>
          <p:cNvSpPr txBox="1"/>
          <p:nvPr/>
        </p:nvSpPr>
        <p:spPr>
          <a:xfrm>
            <a:off x="1251030" y="4099204"/>
            <a:ext cx="10572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900" dirty="0"/>
              <a:t>p-Wert: 0,2223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38B7BB2E-ABB8-9A6B-5B1E-3E9B1946A969}"/>
              </a:ext>
            </a:extLst>
          </p:cNvPr>
          <p:cNvSpPr txBox="1"/>
          <p:nvPr/>
        </p:nvSpPr>
        <p:spPr>
          <a:xfrm>
            <a:off x="3336283" y="4099204"/>
            <a:ext cx="10572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900" dirty="0"/>
              <a:t>+ Zensiert</a:t>
            </a:r>
          </a:p>
        </p:txBody>
      </p:sp>
      <p:graphicFrame>
        <p:nvGraphicFramePr>
          <p:cNvPr id="50" name="Tabelle 49">
            <a:extLst>
              <a:ext uri="{FF2B5EF4-FFF2-40B4-BE49-F238E27FC236}">
                <a16:creationId xmlns:a16="http://schemas.microsoft.com/office/drawing/2014/main" id="{5A2178B7-8A50-1CCE-5250-9B6FB963AA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1571029"/>
              </p:ext>
            </p:extLst>
          </p:nvPr>
        </p:nvGraphicFramePr>
        <p:xfrm>
          <a:off x="2581275" y="2342489"/>
          <a:ext cx="1792864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8000">
                  <a:extLst>
                    <a:ext uri="{9D8B030D-6E8A-4147-A177-3AD203B41FA5}">
                      <a16:colId xmlns:a16="http://schemas.microsoft.com/office/drawing/2014/main" val="542809258"/>
                    </a:ext>
                  </a:extLst>
                </a:gridCol>
                <a:gridCol w="497432">
                  <a:extLst>
                    <a:ext uri="{9D8B030D-6E8A-4147-A177-3AD203B41FA5}">
                      <a16:colId xmlns:a16="http://schemas.microsoft.com/office/drawing/2014/main" val="1946081736"/>
                    </a:ext>
                  </a:extLst>
                </a:gridCol>
                <a:gridCol w="497432">
                  <a:extLst>
                    <a:ext uri="{9D8B030D-6E8A-4147-A177-3AD203B41FA5}">
                      <a16:colId xmlns:a16="http://schemas.microsoft.com/office/drawing/2014/main" val="1177282969"/>
                    </a:ext>
                  </a:extLst>
                </a:gridCol>
              </a:tblGrid>
              <a:tr h="81000">
                <a:tc>
                  <a:txBody>
                    <a:bodyPr/>
                    <a:lstStyle/>
                    <a:p>
                      <a:pPr algn="l"/>
                      <a:endParaRPr lang="de-DE" sz="9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3600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1" spc="-28" dirty="0">
                          <a:solidFill>
                            <a:schemeClr val="tx1"/>
                          </a:solidFill>
                          <a:latin typeface="+mn-lt"/>
                        </a:rPr>
                        <a:t>Median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1" dirty="0">
                          <a:solidFill>
                            <a:schemeClr val="tx1"/>
                          </a:solidFill>
                          <a:latin typeface="+mn-lt"/>
                        </a:rPr>
                        <a:t>95%-KI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5178315"/>
                  </a:ext>
                </a:extLst>
              </a:tr>
              <a:tr h="81000">
                <a:tc>
                  <a:txBody>
                    <a:bodyPr/>
                    <a:lstStyle/>
                    <a:p>
                      <a:pPr algn="l"/>
                      <a:r>
                        <a:rPr lang="de-DE" sz="900" b="0" dirty="0">
                          <a:solidFill>
                            <a:schemeClr val="tx1"/>
                          </a:solidFill>
                          <a:latin typeface="+mn-lt"/>
                        </a:rPr>
                        <a:t>Adjuvant</a:t>
                      </a:r>
                    </a:p>
                  </a:txBody>
                  <a:tcPr marL="0" marR="3600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 spc="-28" dirty="0">
                          <a:solidFill>
                            <a:schemeClr val="tx1"/>
                          </a:solidFill>
                          <a:latin typeface="+mn-lt"/>
                        </a:rPr>
                        <a:t>8,4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 dirty="0">
                          <a:solidFill>
                            <a:schemeClr val="tx1"/>
                          </a:solidFill>
                          <a:latin typeface="+mn-lt"/>
                        </a:rPr>
                        <a:t>4,4</a:t>
                      </a:r>
                      <a:r>
                        <a:rPr lang="de-DE" sz="900" b="0" dirty="0">
                          <a:solidFill>
                            <a:schemeClr val="tx1"/>
                          </a:solidFill>
                        </a:rPr>
                        <a:t>–9,7</a:t>
                      </a:r>
                      <a:endParaRPr lang="de-DE" sz="9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5088315"/>
                  </a:ext>
                </a:extLst>
              </a:tr>
              <a:tr h="81000">
                <a:tc>
                  <a:txBody>
                    <a:bodyPr/>
                    <a:lstStyle/>
                    <a:p>
                      <a:pPr algn="l"/>
                      <a:r>
                        <a:rPr lang="de-DE" sz="900" b="0">
                          <a:latin typeface="+mn-lt"/>
                        </a:rPr>
                        <a:t>Nicht adjuvant</a:t>
                      </a:r>
                      <a:endParaRPr lang="de-DE" sz="900" b="0" dirty="0">
                        <a:latin typeface="+mn-lt"/>
                      </a:endParaRPr>
                    </a:p>
                  </a:txBody>
                  <a:tcPr marL="0" marR="3600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 dirty="0">
                          <a:solidFill>
                            <a:schemeClr val="tx1"/>
                          </a:solidFill>
                          <a:latin typeface="+mn-lt"/>
                        </a:rPr>
                        <a:t>5,1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 dirty="0">
                          <a:solidFill>
                            <a:schemeClr val="tx1"/>
                          </a:solidFill>
                          <a:latin typeface="+mn-lt"/>
                        </a:rPr>
                        <a:t>4,4</a:t>
                      </a:r>
                      <a:r>
                        <a:rPr lang="de-DE" sz="900" b="0" dirty="0">
                          <a:solidFill>
                            <a:schemeClr val="tx1"/>
                          </a:solidFill>
                        </a:rPr>
                        <a:t>–</a:t>
                      </a:r>
                      <a:r>
                        <a:rPr lang="de-DE" sz="900" b="0" dirty="0">
                          <a:solidFill>
                            <a:schemeClr val="tx1"/>
                          </a:solidFill>
                          <a:latin typeface="+mn-lt"/>
                        </a:rPr>
                        <a:t>5,9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8755460"/>
                  </a:ext>
                </a:extLst>
              </a:tr>
            </a:tbl>
          </a:graphicData>
        </a:graphic>
      </p:graphicFrame>
      <p:graphicFrame>
        <p:nvGraphicFramePr>
          <p:cNvPr id="51" name="Tabelle 50">
            <a:extLst>
              <a:ext uri="{FF2B5EF4-FFF2-40B4-BE49-F238E27FC236}">
                <a16:creationId xmlns:a16="http://schemas.microsoft.com/office/drawing/2014/main" id="{0CC1F0E5-9F30-ACA5-8032-A7099894F6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3453168"/>
              </p:ext>
            </p:extLst>
          </p:nvPr>
        </p:nvGraphicFramePr>
        <p:xfrm>
          <a:off x="6329363" y="2342489"/>
          <a:ext cx="176059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5339">
                  <a:extLst>
                    <a:ext uri="{9D8B030D-6E8A-4147-A177-3AD203B41FA5}">
                      <a16:colId xmlns:a16="http://schemas.microsoft.com/office/drawing/2014/main" val="542809258"/>
                    </a:ext>
                  </a:extLst>
                </a:gridCol>
                <a:gridCol w="457627">
                  <a:extLst>
                    <a:ext uri="{9D8B030D-6E8A-4147-A177-3AD203B41FA5}">
                      <a16:colId xmlns:a16="http://schemas.microsoft.com/office/drawing/2014/main" val="1946081736"/>
                    </a:ext>
                  </a:extLst>
                </a:gridCol>
                <a:gridCol w="457627">
                  <a:extLst>
                    <a:ext uri="{9D8B030D-6E8A-4147-A177-3AD203B41FA5}">
                      <a16:colId xmlns:a16="http://schemas.microsoft.com/office/drawing/2014/main" val="1177282969"/>
                    </a:ext>
                  </a:extLst>
                </a:gridCol>
              </a:tblGrid>
              <a:tr h="81000">
                <a:tc>
                  <a:txBody>
                    <a:bodyPr/>
                    <a:lstStyle/>
                    <a:p>
                      <a:pPr algn="l"/>
                      <a:endParaRPr lang="de-DE" sz="9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3600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1" spc="-28" dirty="0">
                          <a:solidFill>
                            <a:schemeClr val="tx1"/>
                          </a:solidFill>
                          <a:latin typeface="+mn-lt"/>
                        </a:rPr>
                        <a:t>Median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1" dirty="0">
                          <a:solidFill>
                            <a:schemeClr val="tx1"/>
                          </a:solidFill>
                          <a:latin typeface="+mn-lt"/>
                        </a:rPr>
                        <a:t>95%-KI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5178315"/>
                  </a:ext>
                </a:extLst>
              </a:tr>
              <a:tr h="118262">
                <a:tc>
                  <a:txBody>
                    <a:bodyPr/>
                    <a:lstStyle/>
                    <a:p>
                      <a:pPr algn="l"/>
                      <a:r>
                        <a:rPr lang="de-DE" sz="900" b="0" dirty="0">
                          <a:solidFill>
                            <a:schemeClr val="tx1"/>
                          </a:solidFill>
                          <a:latin typeface="+mn-lt"/>
                        </a:rPr>
                        <a:t>Adjuvant</a:t>
                      </a:r>
                    </a:p>
                  </a:txBody>
                  <a:tcPr marL="0" marR="3600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 spc="-28" dirty="0">
                          <a:solidFill>
                            <a:schemeClr val="tx1"/>
                          </a:solidFill>
                          <a:latin typeface="+mn-lt"/>
                        </a:rPr>
                        <a:t>13,8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tx1"/>
                          </a:solidFill>
                          <a:latin typeface="+mn-lt"/>
                        </a:rPr>
                        <a:t>9,6</a:t>
                      </a:r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–</a:t>
                      </a:r>
                      <a:r>
                        <a:rPr lang="de-DE" sz="900" b="0">
                          <a:solidFill>
                            <a:schemeClr val="tx1"/>
                          </a:solidFill>
                          <a:latin typeface="+mn-lt"/>
                        </a:rPr>
                        <a:t>NR</a:t>
                      </a:r>
                      <a:endParaRPr lang="de-DE" sz="9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5088315"/>
                  </a:ext>
                </a:extLst>
              </a:tr>
              <a:tr h="81000">
                <a:tc>
                  <a:txBody>
                    <a:bodyPr/>
                    <a:lstStyle/>
                    <a:p>
                      <a:pPr algn="l"/>
                      <a:r>
                        <a:rPr lang="de-DE" sz="900" b="0">
                          <a:latin typeface="+mn-lt"/>
                        </a:rPr>
                        <a:t>Nicht adjuvant</a:t>
                      </a:r>
                      <a:endParaRPr lang="de-DE" sz="900" b="0" dirty="0">
                        <a:latin typeface="+mn-lt"/>
                      </a:endParaRPr>
                    </a:p>
                  </a:txBody>
                  <a:tcPr marL="0" marR="3600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 dirty="0">
                          <a:solidFill>
                            <a:schemeClr val="tx1"/>
                          </a:solidFill>
                          <a:latin typeface="+mn-lt"/>
                        </a:rPr>
                        <a:t>8,6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tx1"/>
                          </a:solidFill>
                          <a:latin typeface="+mn-lt"/>
                        </a:rPr>
                        <a:t>6,9</a:t>
                      </a:r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–</a:t>
                      </a:r>
                      <a:r>
                        <a:rPr lang="de-DE" sz="900" b="0">
                          <a:solidFill>
                            <a:schemeClr val="tx1"/>
                          </a:solidFill>
                          <a:latin typeface="+mn-lt"/>
                        </a:rPr>
                        <a:t>11,1</a:t>
                      </a:r>
                      <a:endParaRPr lang="de-DE" sz="9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8755460"/>
                  </a:ext>
                </a:extLst>
              </a:tr>
            </a:tbl>
          </a:graphicData>
        </a:graphic>
      </p:graphicFrame>
      <p:sp>
        <p:nvSpPr>
          <p:cNvPr id="53" name="Textfeld 52">
            <a:extLst>
              <a:ext uri="{FF2B5EF4-FFF2-40B4-BE49-F238E27FC236}">
                <a16:creationId xmlns:a16="http://schemas.microsoft.com/office/drawing/2014/main" id="{34D76793-7080-2835-68FB-3827304239F8}"/>
              </a:ext>
            </a:extLst>
          </p:cNvPr>
          <p:cNvSpPr txBox="1"/>
          <p:nvPr/>
        </p:nvSpPr>
        <p:spPr>
          <a:xfrm>
            <a:off x="604838" y="1826777"/>
            <a:ext cx="4138167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de-DE" sz="1400" b="1" i="0" u="none" strike="noStrike" baseline="0" dirty="0"/>
              <a:t> PFS  </a:t>
            </a:r>
            <a:endParaRPr lang="de-DE" sz="1400" dirty="0"/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CF4969B4-53FD-C198-7ACA-82FE414A0E2F}"/>
              </a:ext>
            </a:extLst>
          </p:cNvPr>
          <p:cNvSpPr txBox="1"/>
          <p:nvPr/>
        </p:nvSpPr>
        <p:spPr>
          <a:xfrm>
            <a:off x="4466624" y="1826777"/>
            <a:ext cx="4138167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de-DE" sz="1400" b="1" i="0" u="none" strike="noStrike" baseline="0" dirty="0"/>
              <a:t> OS</a:t>
            </a:r>
            <a:endParaRPr lang="de-DE" sz="1400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91BFEED9-FE08-3E08-0C48-9458D13F7403}"/>
              </a:ext>
            </a:extLst>
          </p:cNvPr>
          <p:cNvGrpSpPr/>
          <p:nvPr/>
        </p:nvGrpSpPr>
        <p:grpSpPr>
          <a:xfrm>
            <a:off x="698456" y="2200390"/>
            <a:ext cx="355167" cy="2096791"/>
            <a:chOff x="5203402" y="2559966"/>
            <a:chExt cx="355167" cy="1930828"/>
          </a:xfrm>
        </p:grpSpPr>
        <p:sp>
          <p:nvSpPr>
            <p:cNvPr id="8" name="object 34">
              <a:extLst>
                <a:ext uri="{FF2B5EF4-FFF2-40B4-BE49-F238E27FC236}">
                  <a16:creationId xmlns:a16="http://schemas.microsoft.com/office/drawing/2014/main" id="{46938739-09EF-845A-327B-6CB54523593A}"/>
                </a:ext>
              </a:extLst>
            </p:cNvPr>
            <p:cNvSpPr txBox="1"/>
            <p:nvPr/>
          </p:nvSpPr>
          <p:spPr>
            <a:xfrm>
              <a:off x="5352786" y="4383072"/>
              <a:ext cx="205783" cy="107722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r">
                <a:lnSpc>
                  <a:spcPct val="100000"/>
                </a:lnSpc>
                <a:spcBef>
                  <a:spcPts val="115"/>
                </a:spcBef>
              </a:pPr>
              <a:r>
                <a:rPr sz="700" spc="-25" dirty="0">
                  <a:latin typeface="Arial"/>
                  <a:cs typeface="Arial"/>
                </a:rPr>
                <a:t>0</a:t>
              </a:r>
              <a:r>
                <a:rPr lang="de-DE" sz="700" spc="-25" dirty="0">
                  <a:latin typeface="Arial"/>
                  <a:cs typeface="Arial"/>
                </a:rPr>
                <a:t>,</a:t>
              </a:r>
              <a:r>
                <a:rPr sz="700" spc="-25" dirty="0">
                  <a:latin typeface="Arial"/>
                  <a:cs typeface="Arial"/>
                </a:rPr>
                <a:t>0</a:t>
              </a:r>
              <a:endParaRPr sz="700" dirty="0">
                <a:latin typeface="Arial"/>
                <a:cs typeface="Arial"/>
              </a:endParaRPr>
            </a:p>
          </p:txBody>
        </p:sp>
        <p:sp>
          <p:nvSpPr>
            <p:cNvPr id="14" name="object 35">
              <a:extLst>
                <a:ext uri="{FF2B5EF4-FFF2-40B4-BE49-F238E27FC236}">
                  <a16:creationId xmlns:a16="http://schemas.microsoft.com/office/drawing/2014/main" id="{69DAD7C9-B3B6-45D5-DC1C-AF1C584A54FE}"/>
                </a:ext>
              </a:extLst>
            </p:cNvPr>
            <p:cNvSpPr txBox="1"/>
            <p:nvPr/>
          </p:nvSpPr>
          <p:spPr>
            <a:xfrm>
              <a:off x="5352786" y="4200765"/>
              <a:ext cx="205783" cy="107722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r">
                <a:lnSpc>
                  <a:spcPct val="100000"/>
                </a:lnSpc>
                <a:spcBef>
                  <a:spcPts val="115"/>
                </a:spcBef>
              </a:pPr>
              <a:r>
                <a:rPr sz="700" spc="-25" dirty="0">
                  <a:latin typeface="Arial"/>
                  <a:cs typeface="Arial"/>
                </a:rPr>
                <a:t>0</a:t>
              </a:r>
              <a:r>
                <a:rPr lang="de-DE" sz="700" spc="-25" dirty="0">
                  <a:latin typeface="Arial"/>
                  <a:cs typeface="Arial"/>
                </a:rPr>
                <a:t>,</a:t>
              </a:r>
              <a:r>
                <a:rPr sz="700" spc="-25" dirty="0">
                  <a:latin typeface="Arial"/>
                  <a:cs typeface="Arial"/>
                </a:rPr>
                <a:t>1</a:t>
              </a:r>
              <a:endParaRPr sz="700" dirty="0">
                <a:latin typeface="Arial"/>
                <a:cs typeface="Arial"/>
              </a:endParaRPr>
            </a:p>
          </p:txBody>
        </p:sp>
        <p:sp>
          <p:nvSpPr>
            <p:cNvPr id="52" name="object 36">
              <a:extLst>
                <a:ext uri="{FF2B5EF4-FFF2-40B4-BE49-F238E27FC236}">
                  <a16:creationId xmlns:a16="http://schemas.microsoft.com/office/drawing/2014/main" id="{98FD795C-9E3B-84A7-2900-64E2B2606A45}"/>
                </a:ext>
              </a:extLst>
            </p:cNvPr>
            <p:cNvSpPr txBox="1"/>
            <p:nvPr/>
          </p:nvSpPr>
          <p:spPr>
            <a:xfrm>
              <a:off x="5352786" y="4018454"/>
              <a:ext cx="205783" cy="107722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r">
                <a:lnSpc>
                  <a:spcPct val="100000"/>
                </a:lnSpc>
                <a:spcBef>
                  <a:spcPts val="115"/>
                </a:spcBef>
              </a:pPr>
              <a:r>
                <a:rPr sz="700" spc="-25" dirty="0">
                  <a:latin typeface="Arial"/>
                  <a:cs typeface="Arial"/>
                </a:rPr>
                <a:t>0</a:t>
              </a:r>
              <a:r>
                <a:rPr lang="de-DE" sz="700" spc="-25" dirty="0">
                  <a:latin typeface="Arial"/>
                  <a:cs typeface="Arial"/>
                </a:rPr>
                <a:t>,</a:t>
              </a:r>
              <a:r>
                <a:rPr sz="700" spc="-25" dirty="0">
                  <a:latin typeface="Arial"/>
                  <a:cs typeface="Arial"/>
                </a:rPr>
                <a:t>2</a:t>
              </a:r>
              <a:endParaRPr sz="700" dirty="0">
                <a:latin typeface="Arial"/>
                <a:cs typeface="Arial"/>
              </a:endParaRPr>
            </a:p>
          </p:txBody>
        </p:sp>
        <p:sp>
          <p:nvSpPr>
            <p:cNvPr id="55" name="object 37">
              <a:extLst>
                <a:ext uri="{FF2B5EF4-FFF2-40B4-BE49-F238E27FC236}">
                  <a16:creationId xmlns:a16="http://schemas.microsoft.com/office/drawing/2014/main" id="{27E99D1E-27B3-AFFF-D0F8-C1D5F9ECDD07}"/>
                </a:ext>
              </a:extLst>
            </p:cNvPr>
            <p:cNvSpPr txBox="1"/>
            <p:nvPr/>
          </p:nvSpPr>
          <p:spPr>
            <a:xfrm>
              <a:off x="5352786" y="3836143"/>
              <a:ext cx="205783" cy="107722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r">
                <a:lnSpc>
                  <a:spcPct val="100000"/>
                </a:lnSpc>
                <a:spcBef>
                  <a:spcPts val="115"/>
                </a:spcBef>
              </a:pPr>
              <a:r>
                <a:rPr sz="700" spc="-25" dirty="0">
                  <a:latin typeface="Arial"/>
                  <a:cs typeface="Arial"/>
                </a:rPr>
                <a:t>0</a:t>
              </a:r>
              <a:r>
                <a:rPr lang="de-DE" sz="700" spc="-25" dirty="0">
                  <a:latin typeface="Arial"/>
                  <a:cs typeface="Arial"/>
                </a:rPr>
                <a:t>,</a:t>
              </a:r>
              <a:r>
                <a:rPr sz="700" spc="-25" dirty="0">
                  <a:latin typeface="Arial"/>
                  <a:cs typeface="Arial"/>
                </a:rPr>
                <a:t>3</a:t>
              </a:r>
              <a:endParaRPr sz="700" dirty="0">
                <a:latin typeface="Arial"/>
                <a:cs typeface="Arial"/>
              </a:endParaRPr>
            </a:p>
          </p:txBody>
        </p:sp>
        <p:sp>
          <p:nvSpPr>
            <p:cNvPr id="56" name="object 38">
              <a:extLst>
                <a:ext uri="{FF2B5EF4-FFF2-40B4-BE49-F238E27FC236}">
                  <a16:creationId xmlns:a16="http://schemas.microsoft.com/office/drawing/2014/main" id="{7587E2D2-397A-6026-05A8-88DEEAB6F1A2}"/>
                </a:ext>
              </a:extLst>
            </p:cNvPr>
            <p:cNvSpPr txBox="1"/>
            <p:nvPr/>
          </p:nvSpPr>
          <p:spPr>
            <a:xfrm>
              <a:off x="5352786" y="3653832"/>
              <a:ext cx="205783" cy="107722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r">
                <a:lnSpc>
                  <a:spcPct val="100000"/>
                </a:lnSpc>
                <a:spcBef>
                  <a:spcPts val="115"/>
                </a:spcBef>
              </a:pPr>
              <a:r>
                <a:rPr sz="700" spc="-25" dirty="0">
                  <a:latin typeface="Arial"/>
                  <a:cs typeface="Arial"/>
                </a:rPr>
                <a:t>0</a:t>
              </a:r>
              <a:r>
                <a:rPr lang="de-DE" sz="700" spc="-25" dirty="0">
                  <a:latin typeface="Arial"/>
                  <a:cs typeface="Arial"/>
                </a:rPr>
                <a:t>,</a:t>
              </a:r>
              <a:r>
                <a:rPr sz="700" spc="-25" dirty="0">
                  <a:latin typeface="Arial"/>
                  <a:cs typeface="Arial"/>
                </a:rPr>
                <a:t>4</a:t>
              </a:r>
              <a:endParaRPr sz="700" dirty="0">
                <a:latin typeface="Arial"/>
                <a:cs typeface="Arial"/>
              </a:endParaRPr>
            </a:p>
          </p:txBody>
        </p:sp>
        <p:sp>
          <p:nvSpPr>
            <p:cNvPr id="57" name="object 39">
              <a:extLst>
                <a:ext uri="{FF2B5EF4-FFF2-40B4-BE49-F238E27FC236}">
                  <a16:creationId xmlns:a16="http://schemas.microsoft.com/office/drawing/2014/main" id="{46C1FD83-4083-DE98-0B91-4E84875E72E4}"/>
                </a:ext>
              </a:extLst>
            </p:cNvPr>
            <p:cNvSpPr txBox="1"/>
            <p:nvPr/>
          </p:nvSpPr>
          <p:spPr>
            <a:xfrm>
              <a:off x="5352786" y="3471521"/>
              <a:ext cx="205783" cy="107722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r">
                <a:lnSpc>
                  <a:spcPct val="100000"/>
                </a:lnSpc>
                <a:spcBef>
                  <a:spcPts val="115"/>
                </a:spcBef>
              </a:pPr>
              <a:r>
                <a:rPr sz="700" spc="-25" dirty="0">
                  <a:latin typeface="Arial"/>
                  <a:cs typeface="Arial"/>
                </a:rPr>
                <a:t>0</a:t>
              </a:r>
              <a:r>
                <a:rPr lang="de-DE" sz="700" spc="-25" dirty="0">
                  <a:latin typeface="Arial"/>
                  <a:cs typeface="Arial"/>
                </a:rPr>
                <a:t>,</a:t>
              </a:r>
              <a:r>
                <a:rPr sz="700" spc="-25" dirty="0">
                  <a:latin typeface="Arial"/>
                  <a:cs typeface="Arial"/>
                </a:rPr>
                <a:t>5</a:t>
              </a:r>
              <a:endParaRPr sz="700" dirty="0">
                <a:latin typeface="Arial"/>
                <a:cs typeface="Arial"/>
              </a:endParaRPr>
            </a:p>
          </p:txBody>
        </p:sp>
        <p:sp>
          <p:nvSpPr>
            <p:cNvPr id="58" name="object 40">
              <a:extLst>
                <a:ext uri="{FF2B5EF4-FFF2-40B4-BE49-F238E27FC236}">
                  <a16:creationId xmlns:a16="http://schemas.microsoft.com/office/drawing/2014/main" id="{1940543B-082E-D73D-B4E8-94BC5189C80C}"/>
                </a:ext>
              </a:extLst>
            </p:cNvPr>
            <p:cNvSpPr txBox="1"/>
            <p:nvPr/>
          </p:nvSpPr>
          <p:spPr>
            <a:xfrm>
              <a:off x="5352786" y="3289210"/>
              <a:ext cx="205783" cy="107722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r">
                <a:lnSpc>
                  <a:spcPct val="100000"/>
                </a:lnSpc>
                <a:spcBef>
                  <a:spcPts val="115"/>
                </a:spcBef>
              </a:pPr>
              <a:r>
                <a:rPr sz="700" spc="-25" dirty="0">
                  <a:latin typeface="Arial"/>
                  <a:cs typeface="Arial"/>
                </a:rPr>
                <a:t>0</a:t>
              </a:r>
              <a:r>
                <a:rPr lang="de-DE" sz="700" spc="-25" dirty="0">
                  <a:latin typeface="Arial"/>
                  <a:cs typeface="Arial"/>
                </a:rPr>
                <a:t>,</a:t>
              </a:r>
              <a:r>
                <a:rPr sz="700" spc="-25" dirty="0">
                  <a:latin typeface="Arial"/>
                  <a:cs typeface="Arial"/>
                </a:rPr>
                <a:t>6</a:t>
              </a:r>
              <a:endParaRPr sz="700" dirty="0">
                <a:latin typeface="Arial"/>
                <a:cs typeface="Arial"/>
              </a:endParaRPr>
            </a:p>
          </p:txBody>
        </p:sp>
        <p:sp>
          <p:nvSpPr>
            <p:cNvPr id="59" name="object 41">
              <a:extLst>
                <a:ext uri="{FF2B5EF4-FFF2-40B4-BE49-F238E27FC236}">
                  <a16:creationId xmlns:a16="http://schemas.microsoft.com/office/drawing/2014/main" id="{822EFE0E-0FBA-D1BA-A1A1-EFF1C8370A82}"/>
                </a:ext>
              </a:extLst>
            </p:cNvPr>
            <p:cNvSpPr txBox="1"/>
            <p:nvPr/>
          </p:nvSpPr>
          <p:spPr>
            <a:xfrm>
              <a:off x="5352786" y="3106899"/>
              <a:ext cx="205783" cy="107722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r">
                <a:lnSpc>
                  <a:spcPct val="100000"/>
                </a:lnSpc>
                <a:spcBef>
                  <a:spcPts val="115"/>
                </a:spcBef>
              </a:pPr>
              <a:r>
                <a:rPr sz="700" spc="-25" dirty="0">
                  <a:latin typeface="Arial"/>
                  <a:cs typeface="Arial"/>
                </a:rPr>
                <a:t>0</a:t>
              </a:r>
              <a:r>
                <a:rPr lang="de-DE" sz="700" spc="-25" dirty="0">
                  <a:latin typeface="Arial"/>
                  <a:cs typeface="Arial"/>
                </a:rPr>
                <a:t>,</a:t>
              </a:r>
              <a:r>
                <a:rPr sz="700" spc="-25" dirty="0">
                  <a:latin typeface="Arial"/>
                  <a:cs typeface="Arial"/>
                </a:rPr>
                <a:t>7</a:t>
              </a:r>
              <a:endParaRPr sz="700" dirty="0">
                <a:latin typeface="Arial"/>
                <a:cs typeface="Arial"/>
              </a:endParaRPr>
            </a:p>
          </p:txBody>
        </p:sp>
        <p:sp>
          <p:nvSpPr>
            <p:cNvPr id="60" name="object 42">
              <a:extLst>
                <a:ext uri="{FF2B5EF4-FFF2-40B4-BE49-F238E27FC236}">
                  <a16:creationId xmlns:a16="http://schemas.microsoft.com/office/drawing/2014/main" id="{35C99F1E-7B8D-C44F-3716-BAC82BB36DD6}"/>
                </a:ext>
              </a:extLst>
            </p:cNvPr>
            <p:cNvSpPr txBox="1"/>
            <p:nvPr/>
          </p:nvSpPr>
          <p:spPr>
            <a:xfrm>
              <a:off x="5352786" y="2924588"/>
              <a:ext cx="205783" cy="107722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r">
                <a:lnSpc>
                  <a:spcPct val="100000"/>
                </a:lnSpc>
                <a:spcBef>
                  <a:spcPts val="115"/>
                </a:spcBef>
              </a:pPr>
              <a:r>
                <a:rPr sz="700" spc="-25" dirty="0">
                  <a:latin typeface="Arial"/>
                  <a:cs typeface="Arial"/>
                </a:rPr>
                <a:t>0</a:t>
              </a:r>
              <a:r>
                <a:rPr lang="de-DE" sz="700" spc="-25" dirty="0">
                  <a:latin typeface="Arial"/>
                  <a:cs typeface="Arial"/>
                </a:rPr>
                <a:t>,</a:t>
              </a:r>
              <a:r>
                <a:rPr sz="700" spc="-25" dirty="0">
                  <a:latin typeface="Arial"/>
                  <a:cs typeface="Arial"/>
                </a:rPr>
                <a:t>8</a:t>
              </a:r>
              <a:endParaRPr sz="700" dirty="0">
                <a:latin typeface="Arial"/>
                <a:cs typeface="Arial"/>
              </a:endParaRPr>
            </a:p>
          </p:txBody>
        </p:sp>
        <p:sp>
          <p:nvSpPr>
            <p:cNvPr id="61" name="object 43">
              <a:extLst>
                <a:ext uri="{FF2B5EF4-FFF2-40B4-BE49-F238E27FC236}">
                  <a16:creationId xmlns:a16="http://schemas.microsoft.com/office/drawing/2014/main" id="{4BB2B0BE-7C43-F6E6-65C4-AA79C112BE55}"/>
                </a:ext>
              </a:extLst>
            </p:cNvPr>
            <p:cNvSpPr txBox="1"/>
            <p:nvPr/>
          </p:nvSpPr>
          <p:spPr>
            <a:xfrm>
              <a:off x="5352786" y="2742277"/>
              <a:ext cx="205783" cy="107722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r">
                <a:lnSpc>
                  <a:spcPct val="100000"/>
                </a:lnSpc>
                <a:spcBef>
                  <a:spcPts val="115"/>
                </a:spcBef>
              </a:pPr>
              <a:r>
                <a:rPr sz="700" spc="-25" dirty="0">
                  <a:latin typeface="Arial"/>
                  <a:cs typeface="Arial"/>
                </a:rPr>
                <a:t>0</a:t>
              </a:r>
              <a:r>
                <a:rPr lang="de-DE" sz="700" spc="-25" dirty="0">
                  <a:latin typeface="Arial"/>
                  <a:cs typeface="Arial"/>
                </a:rPr>
                <a:t>,</a:t>
              </a:r>
              <a:r>
                <a:rPr sz="700" spc="-25" dirty="0">
                  <a:latin typeface="Arial"/>
                  <a:cs typeface="Arial"/>
                </a:rPr>
                <a:t>9</a:t>
              </a:r>
              <a:endParaRPr sz="700" dirty="0">
                <a:latin typeface="Arial"/>
                <a:cs typeface="Arial"/>
              </a:endParaRPr>
            </a:p>
          </p:txBody>
        </p:sp>
        <p:sp>
          <p:nvSpPr>
            <p:cNvPr id="62" name="object 44">
              <a:extLst>
                <a:ext uri="{FF2B5EF4-FFF2-40B4-BE49-F238E27FC236}">
                  <a16:creationId xmlns:a16="http://schemas.microsoft.com/office/drawing/2014/main" id="{503C761F-1E6C-023E-F49D-94BB35FB972D}"/>
                </a:ext>
              </a:extLst>
            </p:cNvPr>
            <p:cNvSpPr txBox="1"/>
            <p:nvPr/>
          </p:nvSpPr>
          <p:spPr>
            <a:xfrm>
              <a:off x="5352786" y="2559966"/>
              <a:ext cx="205783" cy="107722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r">
                <a:lnSpc>
                  <a:spcPct val="100000"/>
                </a:lnSpc>
                <a:spcBef>
                  <a:spcPts val="115"/>
                </a:spcBef>
              </a:pPr>
              <a:r>
                <a:rPr sz="700" spc="-25" dirty="0">
                  <a:latin typeface="Arial"/>
                  <a:cs typeface="Arial"/>
                </a:rPr>
                <a:t>1</a:t>
              </a:r>
              <a:r>
                <a:rPr lang="de-DE" sz="700" spc="-25" dirty="0">
                  <a:latin typeface="Arial"/>
                  <a:cs typeface="Arial"/>
                </a:rPr>
                <a:t>,</a:t>
              </a:r>
              <a:r>
                <a:rPr sz="700" spc="-25" dirty="0">
                  <a:latin typeface="Arial"/>
                  <a:cs typeface="Arial"/>
                </a:rPr>
                <a:t>0</a:t>
              </a:r>
              <a:endParaRPr sz="700" dirty="0">
                <a:latin typeface="Arial"/>
                <a:cs typeface="Arial"/>
              </a:endParaRPr>
            </a:p>
          </p:txBody>
        </p:sp>
        <p:sp>
          <p:nvSpPr>
            <p:cNvPr id="63" name="object 24">
              <a:extLst>
                <a:ext uri="{FF2B5EF4-FFF2-40B4-BE49-F238E27FC236}">
                  <a16:creationId xmlns:a16="http://schemas.microsoft.com/office/drawing/2014/main" id="{731FC8DD-45E8-3062-A2EB-217F7596CC91}"/>
                </a:ext>
              </a:extLst>
            </p:cNvPr>
            <p:cNvSpPr txBox="1"/>
            <p:nvPr/>
          </p:nvSpPr>
          <p:spPr>
            <a:xfrm>
              <a:off x="5203402" y="2732533"/>
              <a:ext cx="138499" cy="1636820"/>
            </a:xfrm>
            <a:prstGeom prst="rect">
              <a:avLst/>
            </a:prstGeom>
          </p:spPr>
          <p:txBody>
            <a:bodyPr vert="vert270" wrap="square" lIns="0" tIns="5715" rIns="0" bIns="0" rtlCol="0">
              <a:sp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45"/>
                </a:spcBef>
              </a:pPr>
              <a:r>
                <a:rPr lang="de-DE" sz="900" b="1" dirty="0">
                  <a:latin typeface="Arial"/>
                  <a:cs typeface="Arial"/>
                </a:rPr>
                <a:t>Wahrscheinlichkeit für </a:t>
              </a:r>
              <a:r>
                <a:rPr sz="900" b="1" dirty="0">
                  <a:latin typeface="Arial"/>
                  <a:cs typeface="Arial"/>
                </a:rPr>
                <a:t>PFS</a:t>
              </a:r>
            </a:p>
          </p:txBody>
        </p:sp>
      </p:grp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4FF44C77-0F9C-11BD-4AF0-C89006FB62A5}"/>
              </a:ext>
            </a:extLst>
          </p:cNvPr>
          <p:cNvGrpSpPr/>
          <p:nvPr/>
        </p:nvGrpSpPr>
        <p:grpSpPr>
          <a:xfrm>
            <a:off x="4447464" y="2219605"/>
            <a:ext cx="338662" cy="2077575"/>
            <a:chOff x="5219907" y="2559966"/>
            <a:chExt cx="338662" cy="1930828"/>
          </a:xfrm>
        </p:grpSpPr>
        <p:sp>
          <p:nvSpPr>
            <p:cNvPr id="65" name="object 34">
              <a:extLst>
                <a:ext uri="{FF2B5EF4-FFF2-40B4-BE49-F238E27FC236}">
                  <a16:creationId xmlns:a16="http://schemas.microsoft.com/office/drawing/2014/main" id="{3D88FED3-0223-4E82-A0EB-7B7C9E4EC36C}"/>
                </a:ext>
              </a:extLst>
            </p:cNvPr>
            <p:cNvSpPr txBox="1"/>
            <p:nvPr/>
          </p:nvSpPr>
          <p:spPr>
            <a:xfrm>
              <a:off x="5352786" y="4383072"/>
              <a:ext cx="205783" cy="107722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r">
                <a:lnSpc>
                  <a:spcPct val="100000"/>
                </a:lnSpc>
                <a:spcBef>
                  <a:spcPts val="115"/>
                </a:spcBef>
              </a:pPr>
              <a:r>
                <a:rPr sz="700" spc="-25" dirty="0">
                  <a:latin typeface="Arial"/>
                  <a:cs typeface="Arial"/>
                </a:rPr>
                <a:t>0</a:t>
              </a:r>
              <a:r>
                <a:rPr lang="de-DE" sz="700" spc="-25" dirty="0">
                  <a:latin typeface="Arial"/>
                  <a:cs typeface="Arial"/>
                </a:rPr>
                <a:t>,</a:t>
              </a:r>
              <a:r>
                <a:rPr sz="700" spc="-25" dirty="0">
                  <a:latin typeface="Arial"/>
                  <a:cs typeface="Arial"/>
                </a:rPr>
                <a:t>0</a:t>
              </a:r>
              <a:endParaRPr sz="700" dirty="0">
                <a:latin typeface="Arial"/>
                <a:cs typeface="Arial"/>
              </a:endParaRPr>
            </a:p>
          </p:txBody>
        </p:sp>
        <p:sp>
          <p:nvSpPr>
            <p:cNvPr id="66" name="object 35">
              <a:extLst>
                <a:ext uri="{FF2B5EF4-FFF2-40B4-BE49-F238E27FC236}">
                  <a16:creationId xmlns:a16="http://schemas.microsoft.com/office/drawing/2014/main" id="{9F62FB2A-874B-DCAA-6E55-81F8DA966A00}"/>
                </a:ext>
              </a:extLst>
            </p:cNvPr>
            <p:cNvSpPr txBox="1"/>
            <p:nvPr/>
          </p:nvSpPr>
          <p:spPr>
            <a:xfrm>
              <a:off x="5352786" y="4200765"/>
              <a:ext cx="205783" cy="107722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r">
                <a:lnSpc>
                  <a:spcPct val="100000"/>
                </a:lnSpc>
                <a:spcBef>
                  <a:spcPts val="115"/>
                </a:spcBef>
              </a:pPr>
              <a:r>
                <a:rPr sz="700" spc="-25" dirty="0">
                  <a:latin typeface="Arial"/>
                  <a:cs typeface="Arial"/>
                </a:rPr>
                <a:t>0</a:t>
              </a:r>
              <a:r>
                <a:rPr lang="de-DE" sz="700" spc="-25" dirty="0">
                  <a:latin typeface="Arial"/>
                  <a:cs typeface="Arial"/>
                </a:rPr>
                <a:t>,</a:t>
              </a:r>
              <a:r>
                <a:rPr sz="700" spc="-25" dirty="0">
                  <a:latin typeface="Arial"/>
                  <a:cs typeface="Arial"/>
                </a:rPr>
                <a:t>1</a:t>
              </a:r>
              <a:endParaRPr sz="700" dirty="0">
                <a:latin typeface="Arial"/>
                <a:cs typeface="Arial"/>
              </a:endParaRPr>
            </a:p>
          </p:txBody>
        </p:sp>
        <p:sp>
          <p:nvSpPr>
            <p:cNvPr id="67" name="object 36">
              <a:extLst>
                <a:ext uri="{FF2B5EF4-FFF2-40B4-BE49-F238E27FC236}">
                  <a16:creationId xmlns:a16="http://schemas.microsoft.com/office/drawing/2014/main" id="{FA9D8B6F-C828-B83E-3A48-C6DDC142AE0A}"/>
                </a:ext>
              </a:extLst>
            </p:cNvPr>
            <p:cNvSpPr txBox="1"/>
            <p:nvPr/>
          </p:nvSpPr>
          <p:spPr>
            <a:xfrm>
              <a:off x="5352786" y="4018454"/>
              <a:ext cx="205783" cy="107722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r">
                <a:lnSpc>
                  <a:spcPct val="100000"/>
                </a:lnSpc>
                <a:spcBef>
                  <a:spcPts val="115"/>
                </a:spcBef>
              </a:pPr>
              <a:r>
                <a:rPr sz="700" spc="-25" dirty="0">
                  <a:latin typeface="Arial"/>
                  <a:cs typeface="Arial"/>
                </a:rPr>
                <a:t>0</a:t>
              </a:r>
              <a:r>
                <a:rPr lang="de-DE" sz="700" spc="-25" dirty="0">
                  <a:latin typeface="Arial"/>
                  <a:cs typeface="Arial"/>
                </a:rPr>
                <a:t>,</a:t>
              </a:r>
              <a:r>
                <a:rPr sz="700" spc="-25" dirty="0">
                  <a:latin typeface="Arial"/>
                  <a:cs typeface="Arial"/>
                </a:rPr>
                <a:t>2</a:t>
              </a:r>
              <a:endParaRPr sz="700" dirty="0">
                <a:latin typeface="Arial"/>
                <a:cs typeface="Arial"/>
              </a:endParaRPr>
            </a:p>
          </p:txBody>
        </p:sp>
        <p:sp>
          <p:nvSpPr>
            <p:cNvPr id="68" name="object 37">
              <a:extLst>
                <a:ext uri="{FF2B5EF4-FFF2-40B4-BE49-F238E27FC236}">
                  <a16:creationId xmlns:a16="http://schemas.microsoft.com/office/drawing/2014/main" id="{A854DF92-8CAA-D56F-1138-3246558FF2AD}"/>
                </a:ext>
              </a:extLst>
            </p:cNvPr>
            <p:cNvSpPr txBox="1"/>
            <p:nvPr/>
          </p:nvSpPr>
          <p:spPr>
            <a:xfrm>
              <a:off x="5352786" y="3836143"/>
              <a:ext cx="205783" cy="107722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r">
                <a:lnSpc>
                  <a:spcPct val="100000"/>
                </a:lnSpc>
                <a:spcBef>
                  <a:spcPts val="115"/>
                </a:spcBef>
              </a:pPr>
              <a:r>
                <a:rPr sz="700" spc="-25" dirty="0">
                  <a:latin typeface="Arial"/>
                  <a:cs typeface="Arial"/>
                </a:rPr>
                <a:t>0</a:t>
              </a:r>
              <a:r>
                <a:rPr lang="de-DE" sz="700" spc="-25" dirty="0">
                  <a:latin typeface="Arial"/>
                  <a:cs typeface="Arial"/>
                </a:rPr>
                <a:t>,</a:t>
              </a:r>
              <a:r>
                <a:rPr sz="700" spc="-25" dirty="0">
                  <a:latin typeface="Arial"/>
                  <a:cs typeface="Arial"/>
                </a:rPr>
                <a:t>3</a:t>
              </a:r>
              <a:endParaRPr sz="700" dirty="0">
                <a:latin typeface="Arial"/>
                <a:cs typeface="Arial"/>
              </a:endParaRPr>
            </a:p>
          </p:txBody>
        </p:sp>
        <p:sp>
          <p:nvSpPr>
            <p:cNvPr id="69" name="object 38">
              <a:extLst>
                <a:ext uri="{FF2B5EF4-FFF2-40B4-BE49-F238E27FC236}">
                  <a16:creationId xmlns:a16="http://schemas.microsoft.com/office/drawing/2014/main" id="{F0E71EC0-86E8-B661-DF11-A82A1846D421}"/>
                </a:ext>
              </a:extLst>
            </p:cNvPr>
            <p:cNvSpPr txBox="1"/>
            <p:nvPr/>
          </p:nvSpPr>
          <p:spPr>
            <a:xfrm>
              <a:off x="5352786" y="3653832"/>
              <a:ext cx="205783" cy="107722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r">
                <a:lnSpc>
                  <a:spcPct val="100000"/>
                </a:lnSpc>
                <a:spcBef>
                  <a:spcPts val="115"/>
                </a:spcBef>
              </a:pPr>
              <a:r>
                <a:rPr sz="700" spc="-25" dirty="0">
                  <a:latin typeface="Arial"/>
                  <a:cs typeface="Arial"/>
                </a:rPr>
                <a:t>0</a:t>
              </a:r>
              <a:r>
                <a:rPr lang="de-DE" sz="700" spc="-25" dirty="0">
                  <a:latin typeface="Arial"/>
                  <a:cs typeface="Arial"/>
                </a:rPr>
                <a:t>,</a:t>
              </a:r>
              <a:r>
                <a:rPr sz="700" spc="-25" dirty="0">
                  <a:latin typeface="Arial"/>
                  <a:cs typeface="Arial"/>
                </a:rPr>
                <a:t>4</a:t>
              </a:r>
              <a:endParaRPr sz="700" dirty="0">
                <a:latin typeface="Arial"/>
                <a:cs typeface="Arial"/>
              </a:endParaRPr>
            </a:p>
          </p:txBody>
        </p:sp>
        <p:sp>
          <p:nvSpPr>
            <p:cNvPr id="70" name="object 39">
              <a:extLst>
                <a:ext uri="{FF2B5EF4-FFF2-40B4-BE49-F238E27FC236}">
                  <a16:creationId xmlns:a16="http://schemas.microsoft.com/office/drawing/2014/main" id="{8354289A-821E-289C-9C1B-8CDAA6A53F26}"/>
                </a:ext>
              </a:extLst>
            </p:cNvPr>
            <p:cNvSpPr txBox="1"/>
            <p:nvPr/>
          </p:nvSpPr>
          <p:spPr>
            <a:xfrm>
              <a:off x="5352786" y="3471521"/>
              <a:ext cx="205783" cy="107722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r">
                <a:lnSpc>
                  <a:spcPct val="100000"/>
                </a:lnSpc>
                <a:spcBef>
                  <a:spcPts val="115"/>
                </a:spcBef>
              </a:pPr>
              <a:r>
                <a:rPr sz="700" spc="-25" dirty="0">
                  <a:latin typeface="Arial"/>
                  <a:cs typeface="Arial"/>
                </a:rPr>
                <a:t>0</a:t>
              </a:r>
              <a:r>
                <a:rPr lang="de-DE" sz="700" spc="-25" dirty="0">
                  <a:latin typeface="Arial"/>
                  <a:cs typeface="Arial"/>
                </a:rPr>
                <a:t>,</a:t>
              </a:r>
              <a:r>
                <a:rPr sz="700" spc="-25" dirty="0">
                  <a:latin typeface="Arial"/>
                  <a:cs typeface="Arial"/>
                </a:rPr>
                <a:t>5</a:t>
              </a:r>
              <a:endParaRPr sz="700" dirty="0">
                <a:latin typeface="Arial"/>
                <a:cs typeface="Arial"/>
              </a:endParaRPr>
            </a:p>
          </p:txBody>
        </p:sp>
        <p:sp>
          <p:nvSpPr>
            <p:cNvPr id="71" name="object 40">
              <a:extLst>
                <a:ext uri="{FF2B5EF4-FFF2-40B4-BE49-F238E27FC236}">
                  <a16:creationId xmlns:a16="http://schemas.microsoft.com/office/drawing/2014/main" id="{CC893B5E-8025-1AC9-6D9D-EC173E45E207}"/>
                </a:ext>
              </a:extLst>
            </p:cNvPr>
            <p:cNvSpPr txBox="1"/>
            <p:nvPr/>
          </p:nvSpPr>
          <p:spPr>
            <a:xfrm>
              <a:off x="5352786" y="3289210"/>
              <a:ext cx="205783" cy="107722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r">
                <a:lnSpc>
                  <a:spcPct val="100000"/>
                </a:lnSpc>
                <a:spcBef>
                  <a:spcPts val="115"/>
                </a:spcBef>
              </a:pPr>
              <a:r>
                <a:rPr sz="700" spc="-25" dirty="0">
                  <a:latin typeface="Arial"/>
                  <a:cs typeface="Arial"/>
                </a:rPr>
                <a:t>0</a:t>
              </a:r>
              <a:r>
                <a:rPr lang="de-DE" sz="700" spc="-25" dirty="0">
                  <a:latin typeface="Arial"/>
                  <a:cs typeface="Arial"/>
                </a:rPr>
                <a:t>,</a:t>
              </a:r>
              <a:r>
                <a:rPr sz="700" spc="-25" dirty="0">
                  <a:latin typeface="Arial"/>
                  <a:cs typeface="Arial"/>
                </a:rPr>
                <a:t>6</a:t>
              </a:r>
              <a:endParaRPr sz="700" dirty="0">
                <a:latin typeface="Arial"/>
                <a:cs typeface="Arial"/>
              </a:endParaRPr>
            </a:p>
          </p:txBody>
        </p:sp>
        <p:sp>
          <p:nvSpPr>
            <p:cNvPr id="72" name="object 41">
              <a:extLst>
                <a:ext uri="{FF2B5EF4-FFF2-40B4-BE49-F238E27FC236}">
                  <a16:creationId xmlns:a16="http://schemas.microsoft.com/office/drawing/2014/main" id="{321AC9D7-77D3-D49E-9215-91EBE0606715}"/>
                </a:ext>
              </a:extLst>
            </p:cNvPr>
            <p:cNvSpPr txBox="1"/>
            <p:nvPr/>
          </p:nvSpPr>
          <p:spPr>
            <a:xfrm>
              <a:off x="5352786" y="3106899"/>
              <a:ext cx="205783" cy="107722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r">
                <a:lnSpc>
                  <a:spcPct val="100000"/>
                </a:lnSpc>
                <a:spcBef>
                  <a:spcPts val="115"/>
                </a:spcBef>
              </a:pPr>
              <a:r>
                <a:rPr sz="700" spc="-25" dirty="0">
                  <a:latin typeface="Arial"/>
                  <a:cs typeface="Arial"/>
                </a:rPr>
                <a:t>0</a:t>
              </a:r>
              <a:r>
                <a:rPr lang="de-DE" sz="700" spc="-25" dirty="0">
                  <a:latin typeface="Arial"/>
                  <a:cs typeface="Arial"/>
                </a:rPr>
                <a:t>,</a:t>
              </a:r>
              <a:r>
                <a:rPr sz="700" spc="-25" dirty="0">
                  <a:latin typeface="Arial"/>
                  <a:cs typeface="Arial"/>
                </a:rPr>
                <a:t>7</a:t>
              </a:r>
              <a:endParaRPr sz="700" dirty="0">
                <a:latin typeface="Arial"/>
                <a:cs typeface="Arial"/>
              </a:endParaRPr>
            </a:p>
          </p:txBody>
        </p:sp>
        <p:sp>
          <p:nvSpPr>
            <p:cNvPr id="73" name="object 42">
              <a:extLst>
                <a:ext uri="{FF2B5EF4-FFF2-40B4-BE49-F238E27FC236}">
                  <a16:creationId xmlns:a16="http://schemas.microsoft.com/office/drawing/2014/main" id="{65C303F3-538A-BB9E-94D6-6BD1AEA8F0B0}"/>
                </a:ext>
              </a:extLst>
            </p:cNvPr>
            <p:cNvSpPr txBox="1"/>
            <p:nvPr/>
          </p:nvSpPr>
          <p:spPr>
            <a:xfrm>
              <a:off x="5352786" y="2924588"/>
              <a:ext cx="205783" cy="107722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r">
                <a:lnSpc>
                  <a:spcPct val="100000"/>
                </a:lnSpc>
                <a:spcBef>
                  <a:spcPts val="115"/>
                </a:spcBef>
              </a:pPr>
              <a:r>
                <a:rPr sz="700" spc="-25" dirty="0">
                  <a:latin typeface="Arial"/>
                  <a:cs typeface="Arial"/>
                </a:rPr>
                <a:t>0</a:t>
              </a:r>
              <a:r>
                <a:rPr lang="de-DE" sz="700" spc="-25" dirty="0">
                  <a:latin typeface="Arial"/>
                  <a:cs typeface="Arial"/>
                </a:rPr>
                <a:t>,</a:t>
              </a:r>
              <a:r>
                <a:rPr sz="700" spc="-25" dirty="0">
                  <a:latin typeface="Arial"/>
                  <a:cs typeface="Arial"/>
                </a:rPr>
                <a:t>8</a:t>
              </a:r>
              <a:endParaRPr sz="700" dirty="0">
                <a:latin typeface="Arial"/>
                <a:cs typeface="Arial"/>
              </a:endParaRPr>
            </a:p>
          </p:txBody>
        </p:sp>
        <p:sp>
          <p:nvSpPr>
            <p:cNvPr id="74" name="object 43">
              <a:extLst>
                <a:ext uri="{FF2B5EF4-FFF2-40B4-BE49-F238E27FC236}">
                  <a16:creationId xmlns:a16="http://schemas.microsoft.com/office/drawing/2014/main" id="{C8C863A2-FB8E-E1D2-9480-F3FD8DC6D9C5}"/>
                </a:ext>
              </a:extLst>
            </p:cNvPr>
            <p:cNvSpPr txBox="1"/>
            <p:nvPr/>
          </p:nvSpPr>
          <p:spPr>
            <a:xfrm>
              <a:off x="5352786" y="2742277"/>
              <a:ext cx="205783" cy="107722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r">
                <a:lnSpc>
                  <a:spcPct val="100000"/>
                </a:lnSpc>
                <a:spcBef>
                  <a:spcPts val="115"/>
                </a:spcBef>
              </a:pPr>
              <a:r>
                <a:rPr sz="700" spc="-25" dirty="0">
                  <a:latin typeface="Arial"/>
                  <a:cs typeface="Arial"/>
                </a:rPr>
                <a:t>0</a:t>
              </a:r>
              <a:r>
                <a:rPr lang="de-DE" sz="700" spc="-25" dirty="0">
                  <a:latin typeface="Arial"/>
                  <a:cs typeface="Arial"/>
                </a:rPr>
                <a:t>,</a:t>
              </a:r>
              <a:r>
                <a:rPr sz="700" spc="-25" dirty="0">
                  <a:latin typeface="Arial"/>
                  <a:cs typeface="Arial"/>
                </a:rPr>
                <a:t>9</a:t>
              </a:r>
              <a:endParaRPr sz="700" dirty="0">
                <a:latin typeface="Arial"/>
                <a:cs typeface="Arial"/>
              </a:endParaRPr>
            </a:p>
          </p:txBody>
        </p:sp>
        <p:sp>
          <p:nvSpPr>
            <p:cNvPr id="75" name="object 44">
              <a:extLst>
                <a:ext uri="{FF2B5EF4-FFF2-40B4-BE49-F238E27FC236}">
                  <a16:creationId xmlns:a16="http://schemas.microsoft.com/office/drawing/2014/main" id="{45D65E4E-8C28-9CDC-AB43-EB05875C98E5}"/>
                </a:ext>
              </a:extLst>
            </p:cNvPr>
            <p:cNvSpPr txBox="1"/>
            <p:nvPr/>
          </p:nvSpPr>
          <p:spPr>
            <a:xfrm>
              <a:off x="5352786" y="2559966"/>
              <a:ext cx="205783" cy="107722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r">
                <a:lnSpc>
                  <a:spcPct val="100000"/>
                </a:lnSpc>
                <a:spcBef>
                  <a:spcPts val="115"/>
                </a:spcBef>
              </a:pPr>
              <a:r>
                <a:rPr sz="700" spc="-25" dirty="0">
                  <a:latin typeface="Arial"/>
                  <a:cs typeface="Arial"/>
                </a:rPr>
                <a:t>1</a:t>
              </a:r>
              <a:r>
                <a:rPr lang="de-DE" sz="700" spc="-25" dirty="0">
                  <a:latin typeface="Arial"/>
                  <a:cs typeface="Arial"/>
                </a:rPr>
                <a:t>,</a:t>
              </a:r>
              <a:r>
                <a:rPr sz="700" spc="-25" dirty="0">
                  <a:latin typeface="Arial"/>
                  <a:cs typeface="Arial"/>
                </a:rPr>
                <a:t>0</a:t>
              </a:r>
              <a:endParaRPr sz="700" dirty="0">
                <a:latin typeface="Arial"/>
                <a:cs typeface="Arial"/>
              </a:endParaRPr>
            </a:p>
          </p:txBody>
        </p:sp>
        <p:sp>
          <p:nvSpPr>
            <p:cNvPr id="76" name="object 24">
              <a:extLst>
                <a:ext uri="{FF2B5EF4-FFF2-40B4-BE49-F238E27FC236}">
                  <a16:creationId xmlns:a16="http://schemas.microsoft.com/office/drawing/2014/main" id="{0DFE9261-C043-61EA-4C88-0A85E79489FD}"/>
                </a:ext>
              </a:extLst>
            </p:cNvPr>
            <p:cNvSpPr txBox="1"/>
            <p:nvPr/>
          </p:nvSpPr>
          <p:spPr>
            <a:xfrm>
              <a:off x="5219907" y="2738950"/>
              <a:ext cx="138499" cy="1636820"/>
            </a:xfrm>
            <a:prstGeom prst="rect">
              <a:avLst/>
            </a:prstGeom>
          </p:spPr>
          <p:txBody>
            <a:bodyPr vert="vert270" wrap="square" lIns="0" tIns="5715" rIns="0" bIns="0" rtlCol="0">
              <a:sp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45"/>
                </a:spcBef>
              </a:pPr>
              <a:r>
                <a:rPr lang="de-DE" sz="900" b="1" dirty="0">
                  <a:latin typeface="Arial"/>
                  <a:cs typeface="Arial"/>
                </a:rPr>
                <a:t>Wahrscheinlichkeit für O</a:t>
              </a:r>
              <a:r>
                <a:rPr sz="900" b="1" dirty="0">
                  <a:latin typeface="Arial"/>
                  <a:cs typeface="Arial"/>
                </a:rPr>
                <a:t>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79470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ovartis | Reimagining Medicine">
  <a:themeElements>
    <a:clrScheme name="Novartis RM">
      <a:dk1>
        <a:srgbClr val="000000"/>
      </a:dk1>
      <a:lt1>
        <a:srgbClr val="FFFFFF"/>
      </a:lt1>
      <a:dk2>
        <a:srgbClr val="002068"/>
      </a:dk2>
      <a:lt2>
        <a:srgbClr val="FFFFFF"/>
      </a:lt2>
      <a:accent1>
        <a:srgbClr val="002068"/>
      </a:accent1>
      <a:accent2>
        <a:srgbClr val="FF585D"/>
      </a:accent2>
      <a:accent3>
        <a:srgbClr val="FFC100"/>
      </a:accent3>
      <a:accent4>
        <a:srgbClr val="A7A8AA"/>
      </a:accent4>
      <a:accent5>
        <a:srgbClr val="D0D0D0"/>
      </a:accent5>
      <a:accent6>
        <a:srgbClr val="0460A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2700">
          <a:solidFill>
            <a:srgbClr val="0460A9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vartis_PPT_16x9_Novartis_RMLogo" id="{C76F9B20-1BBC-C442-B890-D454BDE65356}" vid="{AC1AA6F3-C969-A54D-9C38-3DDAFD142B7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B88DFA984CC8D4D970F27E3B7A19A22" ma:contentTypeVersion="18" ma:contentTypeDescription="Ein neues Dokument erstellen." ma:contentTypeScope="" ma:versionID="4e2509abcbd8b75fd891cc9a343f9393">
  <xsd:schema xmlns:xsd="http://www.w3.org/2001/XMLSchema" xmlns:xs="http://www.w3.org/2001/XMLSchema" xmlns:p="http://schemas.microsoft.com/office/2006/metadata/properties" xmlns:ns1="http://schemas.microsoft.com/sharepoint/v3" xmlns:ns2="8765a40b-f084-498f-b24f-37d590220da5" xmlns:ns3="9a2d18e2-57c2-4645-9977-553537026fde" targetNamespace="http://schemas.microsoft.com/office/2006/metadata/properties" ma:root="true" ma:fieldsID="8917fe46874495d0069144e37fcfbdbd" ns1:_="" ns2:_="" ns3:_="">
    <xsd:import namespace="http://schemas.microsoft.com/sharepoint/v3"/>
    <xsd:import namespace="8765a40b-f084-498f-b24f-37d590220da5"/>
    <xsd:import namespace="9a2d18e2-57c2-4645-9977-553537026fde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lcf76f155ced4ddcb4097134ff3c332f" minOccurs="0"/>
                <xsd:element ref="ns2:TaxCatchAll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LengthInSeconds" minOccurs="0"/>
                <xsd:element ref="ns3:MediaServiceLocation" minOccurs="0"/>
                <xsd:element ref="ns3:MediaServiceBillingMetadata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4" nillable="true" ma:displayName="Eigenschaften der einheitlichen Compliancerichtlinie" ma:hidden="true" ma:internalName="_ip_UnifiedCompliancePolicyProperties">
      <xsd:simpleType>
        <xsd:restriction base="dms:Note"/>
      </xsd:simpleType>
    </xsd:element>
    <xsd:element name="_ip_UnifiedCompliancePolicyUIAction" ma:index="25" nillable="true" ma:displayName="UI-Aktion der einheitlichen Compliancerichtlinie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65a40b-f084-498f-b24f-37d590220da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c0cf50e0-7893-487b-961d-a899d54f2a9e}" ma:internalName="TaxCatchAll" ma:showField="CatchAllData" ma:web="8765a40b-f084-498f-b24f-37d590220da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2d18e2-57c2-4645-9977-553537026fd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Bildmarkierungen" ma:readOnly="false" ma:fieldId="{5cf76f15-5ced-4ddc-b409-7134ff3c332f}" ma:taxonomyMulti="true" ma:sspId="737bc47b-3997-4ccb-824d-08e9c3bde3a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a2d18e2-57c2-4645-9977-553537026fde">
      <Terms xmlns="http://schemas.microsoft.com/office/infopath/2007/PartnerControls"/>
    </lcf76f155ced4ddcb4097134ff3c332f>
    <TaxCatchAll xmlns="8765a40b-f084-498f-b24f-37d590220da5" xsi:nil="true"/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A040492B-BE09-43DA-8432-018744B1171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789A509-46AE-4C2D-9F03-E0B60C11AE6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765a40b-f084-498f-b24f-37d590220da5"/>
    <ds:schemaRef ds:uri="9a2d18e2-57c2-4645-9977-553537026fd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1D59ACC-9A8F-4C47-9F40-A86A6538FAAC}">
  <ds:schemaRefs>
    <ds:schemaRef ds:uri="http://purl.org/dc/dcmitype/"/>
    <ds:schemaRef ds:uri="http://schemas.microsoft.com/office/2006/documentManagement/types"/>
    <ds:schemaRef ds:uri="http://purl.org/dc/terms/"/>
    <ds:schemaRef ds:uri="http://purl.org/dc/elements/1.1/"/>
    <ds:schemaRef ds:uri="http://www.w3.org/XML/1998/namespace"/>
    <ds:schemaRef ds:uri="http://schemas.openxmlformats.org/package/2006/metadata/core-properties"/>
    <ds:schemaRef ds:uri="http://schemas.microsoft.com/office/2006/metadata/properties"/>
    <ds:schemaRef ds:uri="http://schemas.microsoft.com/office/infopath/2007/PartnerControls"/>
    <ds:schemaRef ds:uri="fff0f7d4-3120-4cc8-bc0f-abb32822f13d"/>
    <ds:schemaRef ds:uri="5d21ea6c-4d9c-45bb-9193-24ecb6c2c61d"/>
    <ds:schemaRef ds:uri="9a2d18e2-57c2-4645-9977-553537026fde"/>
    <ds:schemaRef ds:uri="8765a40b-f084-498f-b24f-37d590220da5"/>
    <ds:schemaRef ds:uri="http://schemas.microsoft.com/sharepoint/v3"/>
  </ds:schemaRefs>
</ds:datastoreItem>
</file>

<file path=docMetadata/LabelInfo.xml><?xml version="1.0" encoding="utf-8"?>
<clbl:labelList xmlns:clbl="http://schemas.microsoft.com/office/2020/mipLabelMetadata">
  <clbl:label id="{3c9bec58-8084-492e-8360-0e1cfe36408c}" enabled="1" method="Standard" siteId="{f35a6974-607f-47d4-82d7-ff31d7dc53a5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225</Words>
  <Application>Microsoft Office PowerPoint</Application>
  <PresentationFormat>Breitbild</PresentationFormat>
  <Paragraphs>615</Paragraphs>
  <Slides>13</Slides>
  <Notes>1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19" baseType="lpstr">
      <vt:lpstr>MS PGothic</vt:lpstr>
      <vt:lpstr>Arial</vt:lpstr>
      <vt:lpstr>Calibri</vt:lpstr>
      <vt:lpstr>Ping LCG Medium</vt:lpstr>
      <vt:lpstr>Novartis | Reimagining Medicine</vt:lpstr>
      <vt:lpstr>think-cell Folie</vt:lpstr>
      <vt:lpstr>PowerPoint-Präsentation</vt:lpstr>
      <vt:lpstr>Efficiency of second-line BRAF/MEK inhibitors in BRAFV600 mutated metastatic melanoma patients after first-line immunotherapy failure.  A EUMelaReg real-world study</vt:lpstr>
      <vt:lpstr>Hintergrund, Studienziel und Methoden</vt:lpstr>
      <vt:lpstr>PFS unter BRAF/MEKi in der Erst- oder Zweitlinie</vt:lpstr>
      <vt:lpstr>The role of BRAF/MEKi rechallenge in BRAFV600 mutated melanoma patients. Insights from a EUMelaReg real-world study</vt:lpstr>
      <vt:lpstr>Hintergrund, Studienziel und Methoden</vt:lpstr>
      <vt:lpstr>Hintergrund, Studienziel und Methoden</vt:lpstr>
      <vt:lpstr>Ansprechen und Überleben nach BRAF/MEKi-Rechallenge</vt:lpstr>
      <vt:lpstr>Überlebensendpunkte nach adjuvanter und  nicht adjuvanter BRAF/MEKi-Vortherapie </vt:lpstr>
      <vt:lpstr>Impact of switching from BRAF/MEK inhibition to immune checkpoint inhibition before secondary resistance in metastatic melanoma.  A EUMelaReg real-world study.</vt:lpstr>
      <vt:lpstr>Hintergrund, Studienziel und Methoden</vt:lpstr>
      <vt:lpstr>Überlebensvorteil bei geplantem Switch </vt:lpstr>
      <vt:lpstr>Fazit aus den EUMelaReg-Analyse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riefing Science Snippet: Lodde et al 4 Jahresdaten</dc:title>
  <dc:creator>Tagari, Eleni</dc:creator>
  <cp:lastModifiedBy>Tagari, Eleni</cp:lastModifiedBy>
  <cp:revision>106</cp:revision>
  <cp:lastPrinted>2025-10-31T15:26:26Z</cp:lastPrinted>
  <dcterms:created xsi:type="dcterms:W3CDTF">2024-10-22T16:53:22Z</dcterms:created>
  <dcterms:modified xsi:type="dcterms:W3CDTF">2025-11-06T09:51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c9bec58-8084-492e-8360-0e1cfe36408c_Enabled">
    <vt:lpwstr>true</vt:lpwstr>
  </property>
  <property fmtid="{D5CDD505-2E9C-101B-9397-08002B2CF9AE}" pid="3" name="MSIP_Label_3c9bec58-8084-492e-8360-0e1cfe36408c_SetDate">
    <vt:lpwstr>2023-10-12T11:34:02Z</vt:lpwstr>
  </property>
  <property fmtid="{D5CDD505-2E9C-101B-9397-08002B2CF9AE}" pid="4" name="MSIP_Label_3c9bec58-8084-492e-8360-0e1cfe36408c_Method">
    <vt:lpwstr>Standard</vt:lpwstr>
  </property>
  <property fmtid="{D5CDD505-2E9C-101B-9397-08002B2CF9AE}" pid="5" name="MSIP_Label_3c9bec58-8084-492e-8360-0e1cfe36408c_Name">
    <vt:lpwstr>Not Protected -Pilot</vt:lpwstr>
  </property>
  <property fmtid="{D5CDD505-2E9C-101B-9397-08002B2CF9AE}" pid="6" name="MSIP_Label_3c9bec58-8084-492e-8360-0e1cfe36408c_SiteId">
    <vt:lpwstr>f35a6974-607f-47d4-82d7-ff31d7dc53a5</vt:lpwstr>
  </property>
  <property fmtid="{D5CDD505-2E9C-101B-9397-08002B2CF9AE}" pid="7" name="MSIP_Label_3c9bec58-8084-492e-8360-0e1cfe36408c_ActionId">
    <vt:lpwstr>9929b886-7866-4465-9bf7-3a0ab3cdd5a5</vt:lpwstr>
  </property>
  <property fmtid="{D5CDD505-2E9C-101B-9397-08002B2CF9AE}" pid="8" name="MSIP_Label_3c9bec58-8084-492e-8360-0e1cfe36408c_ContentBits">
    <vt:lpwstr>0</vt:lpwstr>
  </property>
  <property fmtid="{D5CDD505-2E9C-101B-9397-08002B2CF9AE}" pid="9" name="MSIP_Label_8e19d756-792e-42a1-bcad-4cb9051ddd2d_Enabled">
    <vt:lpwstr>true</vt:lpwstr>
  </property>
  <property fmtid="{D5CDD505-2E9C-101B-9397-08002B2CF9AE}" pid="10" name="MSIP_Label_8e19d756-792e-42a1-bcad-4cb9051ddd2d_SetDate">
    <vt:lpwstr>2024-09-09T16:18:40Z</vt:lpwstr>
  </property>
  <property fmtid="{D5CDD505-2E9C-101B-9397-08002B2CF9AE}" pid="11" name="MSIP_Label_8e19d756-792e-42a1-bcad-4cb9051ddd2d_Method">
    <vt:lpwstr>Standard</vt:lpwstr>
  </property>
  <property fmtid="{D5CDD505-2E9C-101B-9397-08002B2CF9AE}" pid="12" name="MSIP_Label_8e19d756-792e-42a1-bcad-4cb9051ddd2d_Name">
    <vt:lpwstr>Confidential</vt:lpwstr>
  </property>
  <property fmtid="{D5CDD505-2E9C-101B-9397-08002B2CF9AE}" pid="13" name="MSIP_Label_8e19d756-792e-42a1-bcad-4cb9051ddd2d_SiteId">
    <vt:lpwstr>41eb501a-f671-4ce0-a5bf-b64168c3705f</vt:lpwstr>
  </property>
  <property fmtid="{D5CDD505-2E9C-101B-9397-08002B2CF9AE}" pid="14" name="MSIP_Label_8e19d756-792e-42a1-bcad-4cb9051ddd2d_ActionId">
    <vt:lpwstr>d58f9b7f-cfa6-497f-99fd-0229cc3642c4</vt:lpwstr>
  </property>
  <property fmtid="{D5CDD505-2E9C-101B-9397-08002B2CF9AE}" pid="15" name="MSIP_Label_8e19d756-792e-42a1-bcad-4cb9051ddd2d_ContentBits">
    <vt:lpwstr>2</vt:lpwstr>
  </property>
  <property fmtid="{D5CDD505-2E9C-101B-9397-08002B2CF9AE}" pid="16" name="ClassificationContentMarkingFooterLocations">
    <vt:lpwstr>Novartis | Reimagining Medicine:7</vt:lpwstr>
  </property>
  <property fmtid="{D5CDD505-2E9C-101B-9397-08002B2CF9AE}" pid="17" name="ClassificationContentMarkingFooterText">
    <vt:lpwstr>Confidential - Not for Public Consumption or Distribution</vt:lpwstr>
  </property>
  <property fmtid="{D5CDD505-2E9C-101B-9397-08002B2CF9AE}" pid="18" name="ContentTypeId">
    <vt:lpwstr>0x0101004B88DFA984CC8D4D970F27E3B7A19A22</vt:lpwstr>
  </property>
  <property fmtid="{D5CDD505-2E9C-101B-9397-08002B2CF9AE}" pid="19" name="MediaServiceImageTags">
    <vt:lpwstr/>
  </property>
</Properties>
</file>